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xlsx" ContentType="application/vnd.openxmlformats-officedocument.spreadsheetml.sheet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4.xml" ContentType="application/vnd.openxmlformats-officedocument.them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5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6.xml" ContentType="application/vnd.openxmlformats-officedocument.them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7.xml" ContentType="application/vnd.openxmlformats-officedocument.them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8.xml" ContentType="application/vnd.openxmlformats-officedocument.them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9.xml" ContentType="application/vnd.openxmlformats-officedocument.them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10.xml" ContentType="application/vnd.openxmlformats-officedocument.them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11.xml" ContentType="application/vnd.openxmlformats-officedocument.theme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12.xml" ContentType="application/vnd.openxmlformats-officedocument.theme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13.xml" ContentType="application/vnd.openxmlformats-officedocument.theme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14.xml" ContentType="application/vnd.openxmlformats-officedocument.theme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15.xml" ContentType="application/vnd.openxmlformats-officedocument.theme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16.xml" ContentType="application/vnd.openxmlformats-officedocument.theme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17.xml" ContentType="application/vnd.openxmlformats-officedocument.theme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18.xml" ContentType="application/vnd.openxmlformats-officedocument.theme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19.xml" ContentType="application/vnd.openxmlformats-officedocument.theme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20.xml" ContentType="application/vnd.openxmlformats-officedocument.theme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21.xml" ContentType="application/vnd.openxmlformats-officedocument.theme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heme/theme22.xml" ContentType="application/vnd.openxmlformats-officedocument.theme+xml"/>
  <Override PartName="/ppt/theme/theme23.xml" ContentType="application/vnd.openxmlformats-officedocument.theme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notesSlides/notesSlide1.xml" ContentType="application/vnd.openxmlformats-officedocument.presentationml.notesSlide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notesSlides/notesSlide2.xml" ContentType="application/vnd.openxmlformats-officedocument.presentationml.notesSlide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  <p:sldMasterId id="2147483702" r:id="rId2"/>
    <p:sldMasterId id="2147483706" r:id="rId3"/>
    <p:sldMasterId id="2147483711" r:id="rId4"/>
    <p:sldMasterId id="2147483716" r:id="rId5"/>
    <p:sldMasterId id="2147483720" r:id="rId6"/>
    <p:sldMasterId id="2147483725" r:id="rId7"/>
    <p:sldMasterId id="2147483729" r:id="rId8"/>
    <p:sldMasterId id="2147483734" r:id="rId9"/>
    <p:sldMasterId id="2147483739" r:id="rId10"/>
    <p:sldMasterId id="2147483744" r:id="rId11"/>
    <p:sldMasterId id="2147483749" r:id="rId12"/>
    <p:sldMasterId id="2147483754" r:id="rId13"/>
    <p:sldMasterId id="2147483759" r:id="rId14"/>
    <p:sldMasterId id="2147483764" r:id="rId15"/>
    <p:sldMasterId id="2147483769" r:id="rId16"/>
    <p:sldMasterId id="2147483774" r:id="rId17"/>
    <p:sldMasterId id="2147483779" r:id="rId18"/>
    <p:sldMasterId id="2147483783" r:id="rId19"/>
    <p:sldMasterId id="2147483788" r:id="rId20"/>
    <p:sldMasterId id="2147483793" r:id="rId21"/>
  </p:sldMasterIdLst>
  <p:notesMasterIdLst>
    <p:notesMasterId r:id="rId28"/>
  </p:notesMasterIdLst>
  <p:handoutMasterIdLst>
    <p:handoutMasterId r:id="rId29"/>
  </p:handoutMasterIdLst>
  <p:sldIdLst>
    <p:sldId id="681" r:id="rId22"/>
    <p:sldId id="682" r:id="rId23"/>
    <p:sldId id="683" r:id="rId24"/>
    <p:sldId id="684" r:id="rId25"/>
    <p:sldId id="685" r:id="rId26"/>
    <p:sldId id="686" r:id="rId27"/>
  </p:sldIdLst>
  <p:sldSz cx="11949113" cy="6721475"/>
  <p:notesSz cx="9236075" cy="6954838"/>
  <p:custDataLst>
    <p:tags r:id="rId3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37" userDrawn="1">
          <p15:clr>
            <a:srgbClr val="A4A3A4"/>
          </p15:clr>
        </p15:guide>
        <p15:guide id="2" pos="836" userDrawn="1">
          <p15:clr>
            <a:srgbClr val="A4A3A4"/>
          </p15:clr>
        </p15:guide>
        <p15:guide id="3" pos="2948" userDrawn="1">
          <p15:clr>
            <a:srgbClr val="A4A3A4"/>
          </p15:clr>
        </p15:guide>
        <p15:guide id="4" orient="horz" pos="221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91" userDrawn="1">
          <p15:clr>
            <a:srgbClr val="A4A3A4"/>
          </p15:clr>
        </p15:guide>
        <p15:guide id="2" pos="290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FF9933"/>
    <a:srgbClr val="0065BD"/>
    <a:srgbClr val="FFFFFF"/>
    <a:srgbClr val="E2E2E2"/>
    <a:srgbClr val="C5C5C5"/>
    <a:srgbClr val="F0A1A6"/>
    <a:srgbClr val="E9717A"/>
    <a:srgbClr val="B3B3B3"/>
    <a:srgbClr val="7188FB"/>
    <a:srgbClr val="CD20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811" autoAdjust="0"/>
    <p:restoredTop sz="96699" autoAdjust="0"/>
  </p:normalViewPr>
  <p:slideViewPr>
    <p:cSldViewPr snapToGrid="0" snapToObjects="1">
      <p:cViewPr>
        <p:scale>
          <a:sx n="130" d="100"/>
          <a:sy n="130" d="100"/>
        </p:scale>
        <p:origin x="760" y="368"/>
      </p:cViewPr>
      <p:guideLst>
        <p:guide orient="horz" pos="1637"/>
        <p:guide pos="836"/>
        <p:guide pos="2948"/>
        <p:guide orient="horz" pos="221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1530" y="102"/>
      </p:cViewPr>
      <p:guideLst>
        <p:guide orient="horz" pos="2191"/>
        <p:guide pos="29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Master" Target="slideMasters/slideMaster20.xml"/><Relationship Id="rId21" Type="http://schemas.openxmlformats.org/officeDocument/2006/relationships/slideMaster" Target="slideMasters/slideMaster21.xml"/><Relationship Id="rId22" Type="http://schemas.openxmlformats.org/officeDocument/2006/relationships/slide" Target="slides/slide1.xml"/><Relationship Id="rId23" Type="http://schemas.openxmlformats.org/officeDocument/2006/relationships/slide" Target="slides/slide2.xml"/><Relationship Id="rId24" Type="http://schemas.openxmlformats.org/officeDocument/2006/relationships/slide" Target="slides/slide3.xml"/><Relationship Id="rId25" Type="http://schemas.openxmlformats.org/officeDocument/2006/relationships/slide" Target="slides/slide4.xml"/><Relationship Id="rId26" Type="http://schemas.openxmlformats.org/officeDocument/2006/relationships/slide" Target="slides/slide5.xml"/><Relationship Id="rId27" Type="http://schemas.openxmlformats.org/officeDocument/2006/relationships/slide" Target="slides/slide6.xml"/><Relationship Id="rId28" Type="http://schemas.openxmlformats.org/officeDocument/2006/relationships/notesMaster" Target="notesMasters/notesMaster1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30" Type="http://schemas.openxmlformats.org/officeDocument/2006/relationships/tags" Target="tags/tag1.xml"/><Relationship Id="rId31" Type="http://schemas.openxmlformats.org/officeDocument/2006/relationships/commentAuthors" Target="commentAuthors.xml"/><Relationship Id="rId32" Type="http://schemas.openxmlformats.org/officeDocument/2006/relationships/presProps" Target="presProps.xml"/><Relationship Id="rId9" Type="http://schemas.openxmlformats.org/officeDocument/2006/relationships/slideMaster" Target="slideMasters/slideMaster9.xml"/><Relationship Id="rId6" Type="http://schemas.openxmlformats.org/officeDocument/2006/relationships/slideMaster" Target="slideMasters/slideMaster6.xml"/><Relationship Id="rId7" Type="http://schemas.openxmlformats.org/officeDocument/2006/relationships/slideMaster" Target="slideMasters/slideMaster7.xml"/><Relationship Id="rId8" Type="http://schemas.openxmlformats.org/officeDocument/2006/relationships/slideMaster" Target="slideMasters/slideMaster8.xml"/><Relationship Id="rId33" Type="http://schemas.openxmlformats.org/officeDocument/2006/relationships/viewProps" Target="viewProps.xml"/><Relationship Id="rId34" Type="http://schemas.openxmlformats.org/officeDocument/2006/relationships/theme" Target="theme/theme1.xml"/><Relationship Id="rId35" Type="http://schemas.openxmlformats.org/officeDocument/2006/relationships/tableStyles" Target="tableStyles.xml"/><Relationship Id="rId37" Type="http://schemas.microsoft.com/office/2015/10/relationships/revisionInfo" Target="revisionInfo.xml"/><Relationship Id="rId10" Type="http://schemas.openxmlformats.org/officeDocument/2006/relationships/slideMaster" Target="slideMasters/slideMaster10.xml"/><Relationship Id="rId11" Type="http://schemas.openxmlformats.org/officeDocument/2006/relationships/slideMaster" Target="slideMasters/slideMaster11.xml"/><Relationship Id="rId12" Type="http://schemas.openxmlformats.org/officeDocument/2006/relationships/slideMaster" Target="slideMasters/slideMaster12.xml"/><Relationship Id="rId13" Type="http://schemas.openxmlformats.org/officeDocument/2006/relationships/slideMaster" Target="slideMasters/slideMaster13.xml"/><Relationship Id="rId14" Type="http://schemas.openxmlformats.org/officeDocument/2006/relationships/slideMaster" Target="slideMasters/slideMaster14.xml"/><Relationship Id="rId15" Type="http://schemas.openxmlformats.org/officeDocument/2006/relationships/slideMaster" Target="slideMasters/slideMaster15.xml"/><Relationship Id="rId16" Type="http://schemas.openxmlformats.org/officeDocument/2006/relationships/slideMaster" Target="slideMasters/slideMaster16.xml"/><Relationship Id="rId17" Type="http://schemas.openxmlformats.org/officeDocument/2006/relationships/slideMaster" Target="slideMasters/slideMaster17.xml"/><Relationship Id="rId18" Type="http://schemas.openxmlformats.org/officeDocument/2006/relationships/slideMaster" Target="slideMasters/slideMaster18.xml"/><Relationship Id="rId19" Type="http://schemas.openxmlformats.org/officeDocument/2006/relationships/slideMaster" Target="slideMasters/slideMaster19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555555555555555"/>
          <c:y val="0.02"/>
          <c:w val="0.888888888888889"/>
          <c:h val="0.96"/>
        </c:manualLayout>
      </c:layout>
      <c:barChart>
        <c:barDir val="bar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9525">
                <a:solidFill>
                  <a:schemeClr val="bg1"/>
                </a:solidFill>
                <a:prstDash val="solid"/>
              </a:ln>
            </c:spPr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 w="9525">
                <a:solidFill>
                  <a:schemeClr val="bg1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0.208496732026144"/>
                  <c:y val="0.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200.0</c:v>
                </c:pt>
                <c:pt idx="1">
                  <c:v>200.0</c:v>
                </c:pt>
                <c:pt idx="2">
                  <c:v>325.0</c:v>
                </c:pt>
                <c:pt idx="3">
                  <c:v>427.9812606473594</c:v>
                </c:pt>
                <c:pt idx="4">
                  <c:v>752.9812606473596</c:v>
                </c:pt>
              </c:numCache>
            </c:numRef>
          </c:val>
        </c:ser>
        <c:ser>
          <c:idx val="1"/>
          <c:order val="1"/>
          <c:spPr>
            <a:solidFill>
              <a:schemeClr val="accent1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 w="9525">
                <a:solidFill>
                  <a:schemeClr val="bg1"/>
                </a:solidFill>
                <a:prstDash val="solid"/>
              </a:ln>
            </c:spPr>
          </c:dPt>
          <c:dLbls>
            <c:dLbl>
              <c:idx val="1"/>
              <c:layout>
                <c:manualLayout>
                  <c:x val="0.0"/>
                  <c:y val="0.0"/>
                </c:manualLayout>
              </c:layout>
              <c:numFmt formatCode="#,##0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3"/>
              <c:layout>
                <c:manualLayout>
                  <c:x val="0.0"/>
                  <c:y val="0.0"/>
                </c:manualLayout>
              </c:layout>
              <c:numFmt formatCode="#,##0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1">
                  <c:v>125.0</c:v>
                </c:pt>
                <c:pt idx="2">
                  <c:v>102.9812606473595</c:v>
                </c:pt>
                <c:pt idx="3">
                  <c:v>325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-156417728"/>
        <c:axId val="-156413584"/>
      </c:barChart>
      <c:catAx>
        <c:axId val="-15641772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>
            <a:solidFill>
              <a:schemeClr val="accent6"/>
            </a:solidFill>
            <a:prstDash val="solid"/>
          </a:ln>
        </c:spPr>
        <c:crossAx val="-156413584"/>
        <c:crosses val="min"/>
        <c:auto val="0"/>
        <c:lblAlgn val="ctr"/>
        <c:lblOffset val="100"/>
        <c:noMultiLvlLbl val="0"/>
      </c:catAx>
      <c:valAx>
        <c:axId val="-156413584"/>
        <c:scaling>
          <c:orientation val="minMax"/>
          <c:max val="752.9812606473596"/>
          <c:min val="0.0"/>
        </c:scaling>
        <c:delete val="1"/>
        <c:axPos val="t"/>
        <c:numFmt formatCode="General" sourceLinked="1"/>
        <c:majorTickMark val="out"/>
        <c:minorTickMark val="none"/>
        <c:tickLblPos val="nextTo"/>
        <c:crossAx val="-15641772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199539524174981"/>
          <c:y val="0.02"/>
          <c:w val="0.960092095165004"/>
          <c:h val="0.96"/>
        </c:manualLayout>
      </c:layout>
      <c:barChart>
        <c:barDir val="bar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 w="9525">
                <a:solidFill>
                  <a:schemeClr val="bg1"/>
                </a:solidFill>
                <a:prstDash val="solid"/>
              </a:ln>
            </c:spPr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 w="9525">
                <a:solidFill>
                  <a:schemeClr val="bg1"/>
                </a:solidFill>
                <a:prstDash val="solid"/>
              </a:ln>
            </c:spPr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 w="9525">
                <a:solidFill>
                  <a:schemeClr val="bg1"/>
                </a:solidFill>
                <a:prstDash val="solid"/>
              </a:ln>
            </c:spPr>
          </c:dPt>
          <c:val>
            <c:numRef>
              <c:f>Sheet1!$A$1:$F$1</c:f>
              <c:numCache>
                <c:formatCode>General</c:formatCode>
                <c:ptCount val="6"/>
                <c:pt idx="0">
                  <c:v>325.0</c:v>
                </c:pt>
                <c:pt idx="1">
                  <c:v>325.0</c:v>
                </c:pt>
                <c:pt idx="2">
                  <c:v>725.0</c:v>
                </c:pt>
                <c:pt idx="3">
                  <c:v>875.0</c:v>
                </c:pt>
                <c:pt idx="4">
                  <c:v>125.0</c:v>
                </c:pt>
                <c:pt idx="5">
                  <c:v>125.0</c:v>
                </c:pt>
              </c:numCache>
            </c:numRef>
          </c:val>
        </c:ser>
        <c:ser>
          <c:idx val="1"/>
          <c:order val="1"/>
          <c:spPr>
            <a:solidFill>
              <a:schemeClr val="accent3"/>
            </a:solidFill>
            <a:ln w="9525">
              <a:solidFill>
                <a:schemeClr val="bg2"/>
              </a:solidFill>
              <a:prstDash val="solid"/>
            </a:ln>
          </c:spPr>
          <c:invertIfNegative val="0"/>
          <c:dPt>
            <c:idx val="4"/>
            <c:invertIfNegative val="0"/>
            <c:bubble3D val="0"/>
            <c:spPr>
              <a:solidFill>
                <a:schemeClr val="accent2"/>
              </a:solidFill>
              <a:ln w="9525">
                <a:solidFill>
                  <a:schemeClr val="bg1"/>
                </a:solidFill>
                <a:prstDash val="solid"/>
              </a:ln>
            </c:spPr>
          </c:dPt>
          <c:dLbls>
            <c:dLbl>
              <c:idx val="2"/>
              <c:layout>
                <c:manualLayout>
                  <c:x val="0.0"/>
                  <c:y val="0.0"/>
                </c:manualLayout>
              </c:layout>
              <c:numFmt formatCode="#,##0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1">
                  <c:v>400.0</c:v>
                </c:pt>
                <c:pt idx="2">
                  <c:v>150.0</c:v>
                </c:pt>
                <c:pt idx="4">
                  <c:v>750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-156451184"/>
        <c:axId val="-156600304"/>
      </c:barChart>
      <c:catAx>
        <c:axId val="-15645118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>
            <a:solidFill>
              <a:schemeClr val="accent6"/>
            </a:solidFill>
            <a:prstDash val="solid"/>
          </a:ln>
        </c:spPr>
        <c:crossAx val="-156600304"/>
        <c:crosses val="min"/>
        <c:auto val="0"/>
        <c:lblAlgn val="ctr"/>
        <c:lblOffset val="100"/>
        <c:noMultiLvlLbl val="0"/>
      </c:catAx>
      <c:valAx>
        <c:axId val="-156600304"/>
        <c:scaling>
          <c:orientation val="minMax"/>
          <c:max val="875.0"/>
          <c:min val="0.0"/>
        </c:scaling>
        <c:delete val="1"/>
        <c:axPos val="t"/>
        <c:numFmt formatCode="General" sourceLinked="1"/>
        <c:majorTickMark val="out"/>
        <c:minorTickMark val="none"/>
        <c:tickLblPos val="nextTo"/>
        <c:crossAx val="-1564511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392363" y="373063"/>
            <a:ext cx="4518025" cy="25431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47932" y="3737112"/>
            <a:ext cx="7870666" cy="12484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8242460" y="6646084"/>
            <a:ext cx="732710" cy="1716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8975107" y="54598"/>
            <a:ext cx="65" cy="1092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7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548C587-12DE-4951-A0CB-D5398567468D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1208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76225" y="536575"/>
            <a:ext cx="6727825" cy="3784600"/>
          </a:xfrm>
          <a:ln/>
        </p:spPr>
      </p:sp>
      <p:sp>
        <p:nvSpPr>
          <p:cNvPr id="12083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89641" y="4619502"/>
            <a:ext cx="6197107" cy="244988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52791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5617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527801" y="9224644"/>
            <a:ext cx="581024" cy="187644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fld id="{0EC39B05-4651-49F8-A809-B1A1BE2BC5F8}" type="slidenum">
              <a:rPr lang="en-GB" smtClean="0">
                <a:cs typeface="Arial" charset="0"/>
              </a:rPr>
              <a:pPr/>
              <a:t>4</a:t>
            </a:fld>
            <a:endParaRPr lang="en-GB" dirty="0">
              <a:cs typeface="Arial" charset="0"/>
            </a:endParaRPr>
          </a:p>
        </p:txBody>
      </p:sp>
      <p:sp>
        <p:nvSpPr>
          <p:cNvPr id="495618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929378" y="100330"/>
            <a:ext cx="1179448" cy="125097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cs-CZ" dirty="0">
                <a:cs typeface="Arial" charset="0"/>
              </a:rPr>
              <a:t>TOR-AAA123-20100608-</a:t>
            </a:r>
          </a:p>
        </p:txBody>
      </p:sp>
      <p:sp>
        <p:nvSpPr>
          <p:cNvPr id="495619" name="Rectangle 7"/>
          <p:cNvSpPr txBox="1">
            <a:spLocks noGrp="1" noChangeArrowheads="1"/>
          </p:cNvSpPr>
          <p:nvPr/>
        </p:nvSpPr>
        <p:spPr bwMode="auto">
          <a:xfrm>
            <a:off x="6527801" y="9224644"/>
            <a:ext cx="581024" cy="187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 defTabSz="911917"/>
            <a:fld id="{A9107F18-55BA-4C9D-94C1-ADC319893CFE}" type="slidenum">
              <a:rPr lang="en-US" sz="1200"/>
              <a:pPr algn="r" defTabSz="911917"/>
              <a:t>4</a:t>
            </a:fld>
            <a:endParaRPr lang="en-US" sz="1200" dirty="0"/>
          </a:p>
        </p:txBody>
      </p:sp>
      <p:sp>
        <p:nvSpPr>
          <p:cNvPr id="49562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263775" y="2274888"/>
            <a:ext cx="12569825" cy="7072312"/>
          </a:xfrm>
          <a:ln/>
        </p:spPr>
      </p:sp>
      <p:sp>
        <p:nvSpPr>
          <p:cNvPr id="49562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417638" y="641352"/>
            <a:ext cx="4433887" cy="250192"/>
          </a:xfrm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25457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32569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36271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2.vml"/><Relationship Id="rId2" Type="http://schemas.openxmlformats.org/officeDocument/2006/relationships/tags" Target="../tags/tag19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3.bin"/><Relationship Id="rId6" Type="http://schemas.openxmlformats.org/officeDocument/2006/relationships/image" Target="../media/image11.emf"/><Relationship Id="rId1" Type="http://schemas.openxmlformats.org/officeDocument/2006/relationships/vmlDrawing" Target="../drawings/vmlDrawing13.vml"/><Relationship Id="rId2" Type="http://schemas.openxmlformats.org/officeDocument/2006/relationships/tags" Target="../tags/tag6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4.bin"/><Relationship Id="rId5" Type="http://schemas.openxmlformats.org/officeDocument/2006/relationships/image" Target="../media/image12.emf"/><Relationship Id="rId1" Type="http://schemas.openxmlformats.org/officeDocument/2006/relationships/vmlDrawing" Target="../drawings/vmlDrawing14.vml"/><Relationship Id="rId2" Type="http://schemas.openxmlformats.org/officeDocument/2006/relationships/tags" Target="../tags/tag67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6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16.vml"/><Relationship Id="rId2" Type="http://schemas.openxmlformats.org/officeDocument/2006/relationships/tags" Target="../tags/tag8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7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17.vml"/><Relationship Id="rId2" Type="http://schemas.openxmlformats.org/officeDocument/2006/relationships/tags" Target="../tags/tag8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8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18.vml"/><Relationship Id="rId2" Type="http://schemas.openxmlformats.org/officeDocument/2006/relationships/tags" Target="../tags/tag87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9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19.vml"/><Relationship Id="rId2" Type="http://schemas.openxmlformats.org/officeDocument/2006/relationships/tags" Target="../tags/tag8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4" Type="http://schemas.openxmlformats.org/officeDocument/2006/relationships/slideMaster" Target="../slideMasters/slideMaster5.xml"/><Relationship Id="rId5" Type="http://schemas.openxmlformats.org/officeDocument/2006/relationships/oleObject" Target="../embeddings/oleObject21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21.vml"/><Relationship Id="rId2" Type="http://schemas.openxmlformats.org/officeDocument/2006/relationships/tags" Target="../tags/tag10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22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22.vml"/><Relationship Id="rId2" Type="http://schemas.openxmlformats.org/officeDocument/2006/relationships/tags" Target="../tags/tag10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4" Type="http://schemas.openxmlformats.org/officeDocument/2006/relationships/slideMaster" Target="../slideMasters/slideMaster5.xml"/><Relationship Id="rId5" Type="http://schemas.openxmlformats.org/officeDocument/2006/relationships/oleObject" Target="../embeddings/oleObject23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23.vml"/><Relationship Id="rId2" Type="http://schemas.openxmlformats.org/officeDocument/2006/relationships/tags" Target="../tags/tag10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5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7" Type="http://schemas.openxmlformats.org/officeDocument/2006/relationships/image" Target="../media/image13.png"/><Relationship Id="rId1" Type="http://schemas.openxmlformats.org/officeDocument/2006/relationships/vmlDrawing" Target="../drawings/vmlDrawing25.vml"/><Relationship Id="rId2" Type="http://schemas.openxmlformats.org/officeDocument/2006/relationships/tags" Target="../tags/tag12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4.emf"/><Relationship Id="rId1" Type="http://schemas.openxmlformats.org/officeDocument/2006/relationships/vmlDrawing" Target="../drawings/vmlDrawing3.vml"/><Relationship Id="rId2" Type="http://schemas.openxmlformats.org/officeDocument/2006/relationships/tags" Target="../tags/tag20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6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26.vml"/><Relationship Id="rId2" Type="http://schemas.openxmlformats.org/officeDocument/2006/relationships/tags" Target="../tags/tag129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7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27.vml"/><Relationship Id="rId2" Type="http://schemas.openxmlformats.org/officeDocument/2006/relationships/tags" Target="../tags/tag130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8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28.vml"/><Relationship Id="rId2" Type="http://schemas.openxmlformats.org/officeDocument/2006/relationships/tags" Target="../tags/tag13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4" Type="http://schemas.openxmlformats.org/officeDocument/2006/relationships/oleObject" Target="../embeddings/oleObject30.bin"/><Relationship Id="rId5" Type="http://schemas.openxmlformats.org/officeDocument/2006/relationships/image" Target="../media/image2.emf"/><Relationship Id="rId6" Type="http://schemas.openxmlformats.org/officeDocument/2006/relationships/image" Target="../media/image7.jpg"/><Relationship Id="rId7" Type="http://schemas.openxmlformats.org/officeDocument/2006/relationships/image" Target="../media/image8.png"/><Relationship Id="rId1" Type="http://schemas.openxmlformats.org/officeDocument/2006/relationships/vmlDrawing" Target="../drawings/vmlDrawing30.vml"/><Relationship Id="rId2" Type="http://schemas.openxmlformats.org/officeDocument/2006/relationships/tags" Target="../tags/tag149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4" Type="http://schemas.openxmlformats.org/officeDocument/2006/relationships/slideMaster" Target="../slideMasters/slideMaster7.xml"/><Relationship Id="rId5" Type="http://schemas.openxmlformats.org/officeDocument/2006/relationships/oleObject" Target="../embeddings/oleObject31.bin"/><Relationship Id="rId6" Type="http://schemas.openxmlformats.org/officeDocument/2006/relationships/image" Target="../media/image4.emf"/><Relationship Id="rId7" Type="http://schemas.openxmlformats.org/officeDocument/2006/relationships/image" Target="../media/image9.png"/><Relationship Id="rId1" Type="http://schemas.openxmlformats.org/officeDocument/2006/relationships/vmlDrawing" Target="../drawings/vmlDrawing31.vml"/><Relationship Id="rId2" Type="http://schemas.openxmlformats.org/officeDocument/2006/relationships/tags" Target="../tags/tag150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4" Type="http://schemas.openxmlformats.org/officeDocument/2006/relationships/slideMaster" Target="../slideMasters/slideMaster7.xml"/><Relationship Id="rId5" Type="http://schemas.openxmlformats.org/officeDocument/2006/relationships/oleObject" Target="../embeddings/oleObject32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32.vml"/><Relationship Id="rId2" Type="http://schemas.openxmlformats.org/officeDocument/2006/relationships/tags" Target="../tags/tag15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34.vml"/><Relationship Id="rId2" Type="http://schemas.openxmlformats.org/officeDocument/2006/relationships/tags" Target="../tags/tag17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35.vml"/><Relationship Id="rId2" Type="http://schemas.openxmlformats.org/officeDocument/2006/relationships/tags" Target="../tags/tag17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36.vml"/><Relationship Id="rId2" Type="http://schemas.openxmlformats.org/officeDocument/2006/relationships/tags" Target="../tags/tag17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37.vml"/><Relationship Id="rId2" Type="http://schemas.openxmlformats.org/officeDocument/2006/relationships/tags" Target="../tags/tag17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.vml"/><Relationship Id="rId2" Type="http://schemas.openxmlformats.org/officeDocument/2006/relationships/tags" Target="../tags/tag2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3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39.vml"/><Relationship Id="rId2" Type="http://schemas.openxmlformats.org/officeDocument/2006/relationships/tags" Target="../tags/tag19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40.vml"/><Relationship Id="rId2" Type="http://schemas.openxmlformats.org/officeDocument/2006/relationships/tags" Target="../tags/tag19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1.vml"/><Relationship Id="rId2" Type="http://schemas.openxmlformats.org/officeDocument/2006/relationships/tags" Target="../tags/tag19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42.vml"/><Relationship Id="rId2" Type="http://schemas.openxmlformats.org/officeDocument/2006/relationships/tags" Target="../tags/tag19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44.vml"/><Relationship Id="rId2" Type="http://schemas.openxmlformats.org/officeDocument/2006/relationships/tags" Target="../tags/tag21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45.vml"/><Relationship Id="rId2" Type="http://schemas.openxmlformats.org/officeDocument/2006/relationships/tags" Target="../tags/tag21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6.vml"/><Relationship Id="rId2" Type="http://schemas.openxmlformats.org/officeDocument/2006/relationships/tags" Target="../tags/tag21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47.vml"/><Relationship Id="rId2" Type="http://schemas.openxmlformats.org/officeDocument/2006/relationships/tags" Target="../tags/tag21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4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49.vml"/><Relationship Id="rId2" Type="http://schemas.openxmlformats.org/officeDocument/2006/relationships/tags" Target="../tags/tag23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50.vml"/><Relationship Id="rId2" Type="http://schemas.openxmlformats.org/officeDocument/2006/relationships/tags" Target="../tags/tag23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.vml"/><Relationship Id="rId2" Type="http://schemas.openxmlformats.org/officeDocument/2006/relationships/tags" Target="../tags/tag2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51.vml"/><Relationship Id="rId2" Type="http://schemas.openxmlformats.org/officeDocument/2006/relationships/tags" Target="../tags/tag23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2.vml"/><Relationship Id="rId2" Type="http://schemas.openxmlformats.org/officeDocument/2006/relationships/tags" Target="../tags/tag237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54.vml"/><Relationship Id="rId2" Type="http://schemas.openxmlformats.org/officeDocument/2006/relationships/tags" Target="../tags/tag25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55.vml"/><Relationship Id="rId2" Type="http://schemas.openxmlformats.org/officeDocument/2006/relationships/tags" Target="../tags/tag25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56.vml"/><Relationship Id="rId2" Type="http://schemas.openxmlformats.org/officeDocument/2006/relationships/tags" Target="../tags/tag257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7.vml"/><Relationship Id="rId2" Type="http://schemas.openxmlformats.org/officeDocument/2006/relationships/tags" Target="../tags/tag258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5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59.vml"/><Relationship Id="rId2" Type="http://schemas.openxmlformats.org/officeDocument/2006/relationships/tags" Target="../tags/tag27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60.vml"/><Relationship Id="rId2" Type="http://schemas.openxmlformats.org/officeDocument/2006/relationships/tags" Target="../tags/tag277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61.vml"/><Relationship Id="rId2" Type="http://schemas.openxmlformats.org/officeDocument/2006/relationships/tags" Target="../tags/tag278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62.vml"/><Relationship Id="rId2" Type="http://schemas.openxmlformats.org/officeDocument/2006/relationships/tags" Target="../tags/tag27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2.emf"/><Relationship Id="rId6" Type="http://schemas.openxmlformats.org/officeDocument/2006/relationships/image" Target="../media/image7.jpg"/><Relationship Id="rId7" Type="http://schemas.openxmlformats.org/officeDocument/2006/relationships/image" Target="../media/image8.png"/><Relationship Id="rId1" Type="http://schemas.openxmlformats.org/officeDocument/2006/relationships/vmlDrawing" Target="../drawings/vmlDrawing7.vml"/><Relationship Id="rId2" Type="http://schemas.openxmlformats.org/officeDocument/2006/relationships/tags" Target="../tags/tag40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64.vml"/><Relationship Id="rId2" Type="http://schemas.openxmlformats.org/officeDocument/2006/relationships/tags" Target="../tags/tag29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65.vml"/><Relationship Id="rId2" Type="http://schemas.openxmlformats.org/officeDocument/2006/relationships/tags" Target="../tags/tag298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66.vml"/><Relationship Id="rId2" Type="http://schemas.openxmlformats.org/officeDocument/2006/relationships/tags" Target="../tags/tag299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67.vml"/><Relationship Id="rId2" Type="http://schemas.openxmlformats.org/officeDocument/2006/relationships/tags" Target="../tags/tag300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6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69.vml"/><Relationship Id="rId2" Type="http://schemas.openxmlformats.org/officeDocument/2006/relationships/tags" Target="../tags/tag318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70.vml"/><Relationship Id="rId2" Type="http://schemas.openxmlformats.org/officeDocument/2006/relationships/tags" Target="../tags/tag319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71.vml"/><Relationship Id="rId2" Type="http://schemas.openxmlformats.org/officeDocument/2006/relationships/tags" Target="../tags/tag320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72.vml"/><Relationship Id="rId2" Type="http://schemas.openxmlformats.org/officeDocument/2006/relationships/tags" Target="../tags/tag32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74.vml"/><Relationship Id="rId2" Type="http://schemas.openxmlformats.org/officeDocument/2006/relationships/tags" Target="../tags/tag339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75.vml"/><Relationship Id="rId2" Type="http://schemas.openxmlformats.org/officeDocument/2006/relationships/tags" Target="../tags/tag34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8.bin"/><Relationship Id="rId6" Type="http://schemas.openxmlformats.org/officeDocument/2006/relationships/image" Target="../media/image4.emf"/><Relationship Id="rId7" Type="http://schemas.openxmlformats.org/officeDocument/2006/relationships/image" Target="../media/image9.png"/><Relationship Id="rId1" Type="http://schemas.openxmlformats.org/officeDocument/2006/relationships/vmlDrawing" Target="../drawings/vmlDrawing8.vml"/><Relationship Id="rId2" Type="http://schemas.openxmlformats.org/officeDocument/2006/relationships/tags" Target="../tags/tag4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76.vml"/><Relationship Id="rId2" Type="http://schemas.openxmlformats.org/officeDocument/2006/relationships/tags" Target="../tags/tag34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77.vml"/><Relationship Id="rId2" Type="http://schemas.openxmlformats.org/officeDocument/2006/relationships/tags" Target="../tags/tag34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7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79.vml"/><Relationship Id="rId2" Type="http://schemas.openxmlformats.org/officeDocument/2006/relationships/tags" Target="../tags/tag360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80.vml"/><Relationship Id="rId2" Type="http://schemas.openxmlformats.org/officeDocument/2006/relationships/tags" Target="../tags/tag36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81.vml"/><Relationship Id="rId2" Type="http://schemas.openxmlformats.org/officeDocument/2006/relationships/tags" Target="../tags/tag36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82.vml"/><Relationship Id="rId2" Type="http://schemas.openxmlformats.org/officeDocument/2006/relationships/tags" Target="../tags/tag36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84.vml"/><Relationship Id="rId2" Type="http://schemas.openxmlformats.org/officeDocument/2006/relationships/tags" Target="../tags/tag38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85.vml"/><Relationship Id="rId2" Type="http://schemas.openxmlformats.org/officeDocument/2006/relationships/tags" Target="../tags/tag38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86.vml"/><Relationship Id="rId2" Type="http://schemas.openxmlformats.org/officeDocument/2006/relationships/tags" Target="../tags/tag38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88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88.vml"/><Relationship Id="rId2" Type="http://schemas.openxmlformats.org/officeDocument/2006/relationships/tags" Target="../tags/tag40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9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9.vml"/><Relationship Id="rId2" Type="http://schemas.openxmlformats.org/officeDocument/2006/relationships/tags" Target="../tags/tag43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89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89.vml"/><Relationship Id="rId2" Type="http://schemas.openxmlformats.org/officeDocument/2006/relationships/tags" Target="../tags/tag40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90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90.vml"/><Relationship Id="rId2" Type="http://schemas.openxmlformats.org/officeDocument/2006/relationships/tags" Target="../tags/tag40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91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91.vml"/><Relationship Id="rId2" Type="http://schemas.openxmlformats.org/officeDocument/2006/relationships/tags" Target="../tags/tag40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4" Type="http://schemas.openxmlformats.org/officeDocument/2006/relationships/image" Target="../media/image10.jpg"/><Relationship Id="rId5" Type="http://schemas.openxmlformats.org/officeDocument/2006/relationships/oleObject" Target="../embeddings/oleObject94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93.vml"/><Relationship Id="rId2" Type="http://schemas.openxmlformats.org/officeDocument/2006/relationships/tags" Target="../tags/tag439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441.xml"/><Relationship Id="rId4" Type="http://schemas.openxmlformats.org/officeDocument/2006/relationships/tags" Target="../tags/tag442.xml"/><Relationship Id="rId5" Type="http://schemas.openxmlformats.org/officeDocument/2006/relationships/slideMaster" Target="../slideMasters/slideMaster20.xml"/><Relationship Id="rId6" Type="http://schemas.openxmlformats.org/officeDocument/2006/relationships/oleObject" Target="../embeddings/oleObject95.bin"/><Relationship Id="rId7" Type="http://schemas.openxmlformats.org/officeDocument/2006/relationships/image" Target="../media/image4.emf"/><Relationship Id="rId1" Type="http://schemas.openxmlformats.org/officeDocument/2006/relationships/vmlDrawing" Target="../drawings/vmlDrawing94.vml"/><Relationship Id="rId2" Type="http://schemas.openxmlformats.org/officeDocument/2006/relationships/tags" Target="../tags/tag440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444.xml"/><Relationship Id="rId4" Type="http://schemas.openxmlformats.org/officeDocument/2006/relationships/tags" Target="../tags/tag445.xml"/><Relationship Id="rId5" Type="http://schemas.openxmlformats.org/officeDocument/2006/relationships/slideMaster" Target="../slideMasters/slideMaster20.xml"/><Relationship Id="rId6" Type="http://schemas.openxmlformats.org/officeDocument/2006/relationships/oleObject" Target="../embeddings/oleObject96.bin"/><Relationship Id="rId7" Type="http://schemas.openxmlformats.org/officeDocument/2006/relationships/image" Target="../media/image4.emf"/><Relationship Id="rId8" Type="http://schemas.openxmlformats.org/officeDocument/2006/relationships/image" Target="../media/image5.jpg"/><Relationship Id="rId1" Type="http://schemas.openxmlformats.org/officeDocument/2006/relationships/vmlDrawing" Target="../drawings/vmlDrawing95.vml"/><Relationship Id="rId2" Type="http://schemas.openxmlformats.org/officeDocument/2006/relationships/tags" Target="../tags/tag44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4" Type="http://schemas.openxmlformats.org/officeDocument/2006/relationships/image" Target="../media/image14.jpg"/><Relationship Id="rId5" Type="http://schemas.openxmlformats.org/officeDocument/2006/relationships/oleObject" Target="../embeddings/oleObject98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97.vml"/><Relationship Id="rId2" Type="http://schemas.openxmlformats.org/officeDocument/2006/relationships/tags" Target="../tags/tag47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tags" Target="../tags/tag479.xml"/><Relationship Id="rId2" Type="http://schemas.openxmlformats.org/officeDocument/2006/relationships/slideMaster" Target="../slideMasters/slideMaster2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tags" Target="../tags/tag480.xml"/><Relationship Id="rId2" Type="http://schemas.openxmlformats.org/officeDocument/2006/relationships/slideMaster" Target="../slideMasters/slideMaster2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image" Target="../media/image10.jpg"/><Relationship Id="rId5" Type="http://schemas.openxmlformats.org/officeDocument/2006/relationships/oleObject" Target="../embeddings/oleObject11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11.vml"/><Relationship Id="rId2" Type="http://schemas.openxmlformats.org/officeDocument/2006/relationships/tags" Target="../tags/tag6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2.bin"/><Relationship Id="rId6" Type="http://schemas.openxmlformats.org/officeDocument/2006/relationships/image" Target="../media/image11.emf"/><Relationship Id="rId1" Type="http://schemas.openxmlformats.org/officeDocument/2006/relationships/vmlDrawing" Target="../drawings/vmlDrawing12.vml"/><Relationship Id="rId2" Type="http://schemas.openxmlformats.org/officeDocument/2006/relationships/tags" Target="../tags/tag6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89374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1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29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543F2BD7-B1BB-459F-B5BD-F3673250FE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908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543F2BD7-B1BB-459F-B5BD-F3673250FE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180207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Inner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932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775508" y="6016520"/>
            <a:ext cx="2786675" cy="426584"/>
          </a:xfrm>
          <a:prstGeom prst="rect">
            <a:avLst/>
          </a:prstGeom>
        </p:spPr>
        <p:txBody>
          <a:bodyPr/>
          <a:lstStyle/>
          <a:p>
            <a:fld id="{F5FF2FB9-B594-4DEC-BD0E-93C68DC777C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9419726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1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29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049591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6412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06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226363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08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608339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10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2864610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24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078076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57981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1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9341463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0262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22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945542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4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29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8F2420E4-0252-48E4-B525-8A2F6D6C6ED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3164" y="5218905"/>
            <a:ext cx="2569024" cy="1107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7006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80733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92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688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37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970436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40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404303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42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8395697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6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7/2018 5:29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5529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55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0849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58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58817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8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29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22096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77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825761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80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38505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82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5772306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67508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10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005526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9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29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443079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04774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92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7634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94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610816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96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1644795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0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29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5648208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76291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06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144343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08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201722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10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97287842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2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29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1838965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9611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20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491592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74609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89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03762134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22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158058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25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8012078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3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29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92499353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31867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34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098439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7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665007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39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932041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5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29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554555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48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87307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51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89267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53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68869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7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7/2018 5:29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51332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7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29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4577549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70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35193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73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033011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75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72267072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9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29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9122657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89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027761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92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140001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94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2469583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1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29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19659180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16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619276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4459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65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6129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19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350513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21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57191982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3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29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65532303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28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389051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31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862770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33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0814149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6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29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24396902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03756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66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8F4190F4-4F1F-4413-A569-3F1E9E8CC46F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395711" y="6509464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849263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68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935440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8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29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44351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67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26760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86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6936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88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662692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91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8898767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03441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24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  <p:hf hdr="0" ftr="0" dt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58760" y="230189"/>
            <a:ext cx="9997964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242430" y="-13134"/>
            <a:ext cx="1701610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67100" y="-495300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20262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7297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13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273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8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12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49"/>
            <a:ext cx="11949113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03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779713" y="3392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105867" y="6377191"/>
            <a:ext cx="38432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35808" y="192024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9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7/2018 5:29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6E353F0F-0D7E-485D-8B3C-F2F28EFDDA4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197391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B14A227-CD36-494A-A575-B6306C0482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884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DB14A227-CD36-494A-A575-B6306C0482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848889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ags" Target="../tags/tag4.xml"/><Relationship Id="rId20" Type="http://schemas.openxmlformats.org/officeDocument/2006/relationships/tags" Target="../tags/tag15.xml"/><Relationship Id="rId21" Type="http://schemas.openxmlformats.org/officeDocument/2006/relationships/tags" Target="../tags/tag16.xml"/><Relationship Id="rId22" Type="http://schemas.openxmlformats.org/officeDocument/2006/relationships/tags" Target="../tags/tag17.xml"/><Relationship Id="rId23" Type="http://schemas.openxmlformats.org/officeDocument/2006/relationships/tags" Target="../tags/tag18.xml"/><Relationship Id="rId24" Type="http://schemas.openxmlformats.org/officeDocument/2006/relationships/oleObject" Target="../embeddings/oleObject1.bin"/><Relationship Id="rId25" Type="http://schemas.openxmlformats.org/officeDocument/2006/relationships/image" Target="../media/image1.emf"/><Relationship Id="rId10" Type="http://schemas.openxmlformats.org/officeDocument/2006/relationships/tags" Target="../tags/tag5.xml"/><Relationship Id="rId11" Type="http://schemas.openxmlformats.org/officeDocument/2006/relationships/tags" Target="../tags/tag6.xml"/><Relationship Id="rId12" Type="http://schemas.openxmlformats.org/officeDocument/2006/relationships/tags" Target="../tags/tag7.xml"/><Relationship Id="rId13" Type="http://schemas.openxmlformats.org/officeDocument/2006/relationships/tags" Target="../tags/tag8.xml"/><Relationship Id="rId14" Type="http://schemas.openxmlformats.org/officeDocument/2006/relationships/tags" Target="../tags/tag9.xml"/><Relationship Id="rId15" Type="http://schemas.openxmlformats.org/officeDocument/2006/relationships/tags" Target="../tags/tag10.xml"/><Relationship Id="rId16" Type="http://schemas.openxmlformats.org/officeDocument/2006/relationships/tags" Target="../tags/tag11.xml"/><Relationship Id="rId17" Type="http://schemas.openxmlformats.org/officeDocument/2006/relationships/tags" Target="../tags/tag12.xml"/><Relationship Id="rId18" Type="http://schemas.openxmlformats.org/officeDocument/2006/relationships/tags" Target="../tags/tag13.xml"/><Relationship Id="rId19" Type="http://schemas.openxmlformats.org/officeDocument/2006/relationships/tags" Target="../tags/tag14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6" Type="http://schemas.openxmlformats.org/officeDocument/2006/relationships/vmlDrawing" Target="../drawings/vmlDrawing1.vml"/><Relationship Id="rId7" Type="http://schemas.openxmlformats.org/officeDocument/2006/relationships/tags" Target="../tags/tag2.xml"/><Relationship Id="rId8" Type="http://schemas.openxmlformats.org/officeDocument/2006/relationships/tags" Target="../tags/tag3.xml"/></Relationships>
</file>

<file path=ppt/slideMasters/_rels/slideMaster10.xml.rels><?xml version="1.0" encoding="UTF-8" standalone="yes"?>
<Relationships xmlns="http://schemas.openxmlformats.org/package/2006/relationships"><Relationship Id="rId9" Type="http://schemas.openxmlformats.org/officeDocument/2006/relationships/tags" Target="../tags/tag198.xml"/><Relationship Id="rId20" Type="http://schemas.openxmlformats.org/officeDocument/2006/relationships/tags" Target="../tags/tag209.xml"/><Relationship Id="rId21" Type="http://schemas.openxmlformats.org/officeDocument/2006/relationships/tags" Target="../tags/tag210.xml"/><Relationship Id="rId22" Type="http://schemas.openxmlformats.org/officeDocument/2006/relationships/tags" Target="../tags/tag211.xml"/><Relationship Id="rId23" Type="http://schemas.openxmlformats.org/officeDocument/2006/relationships/tags" Target="../tags/tag212.xml"/><Relationship Id="rId24" Type="http://schemas.openxmlformats.org/officeDocument/2006/relationships/oleObject" Target="../embeddings/oleObject43.bin"/><Relationship Id="rId25" Type="http://schemas.openxmlformats.org/officeDocument/2006/relationships/image" Target="../media/image1.emf"/><Relationship Id="rId10" Type="http://schemas.openxmlformats.org/officeDocument/2006/relationships/tags" Target="../tags/tag199.xml"/><Relationship Id="rId11" Type="http://schemas.openxmlformats.org/officeDocument/2006/relationships/tags" Target="../tags/tag200.xml"/><Relationship Id="rId12" Type="http://schemas.openxmlformats.org/officeDocument/2006/relationships/tags" Target="../tags/tag201.xml"/><Relationship Id="rId13" Type="http://schemas.openxmlformats.org/officeDocument/2006/relationships/tags" Target="../tags/tag202.xml"/><Relationship Id="rId14" Type="http://schemas.openxmlformats.org/officeDocument/2006/relationships/tags" Target="../tags/tag203.xml"/><Relationship Id="rId15" Type="http://schemas.openxmlformats.org/officeDocument/2006/relationships/tags" Target="../tags/tag204.xml"/><Relationship Id="rId16" Type="http://schemas.openxmlformats.org/officeDocument/2006/relationships/tags" Target="../tags/tag205.xml"/><Relationship Id="rId17" Type="http://schemas.openxmlformats.org/officeDocument/2006/relationships/tags" Target="../tags/tag206.xml"/><Relationship Id="rId18" Type="http://schemas.openxmlformats.org/officeDocument/2006/relationships/tags" Target="../tags/tag207.xml"/><Relationship Id="rId19" Type="http://schemas.openxmlformats.org/officeDocument/2006/relationships/tags" Target="../tags/tag208.xml"/><Relationship Id="rId1" Type="http://schemas.openxmlformats.org/officeDocument/2006/relationships/slideLayout" Target="../slideLayouts/slideLayout34.xml"/><Relationship Id="rId2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7.xml"/><Relationship Id="rId5" Type="http://schemas.openxmlformats.org/officeDocument/2006/relationships/theme" Target="../theme/theme10.xml"/><Relationship Id="rId6" Type="http://schemas.openxmlformats.org/officeDocument/2006/relationships/vmlDrawing" Target="../drawings/vmlDrawing43.vml"/><Relationship Id="rId7" Type="http://schemas.openxmlformats.org/officeDocument/2006/relationships/tags" Target="../tags/tag196.xml"/><Relationship Id="rId8" Type="http://schemas.openxmlformats.org/officeDocument/2006/relationships/tags" Target="../tags/tag197.xml"/></Relationships>
</file>

<file path=ppt/slideMasters/_rels/slideMaster11.xml.rels><?xml version="1.0" encoding="UTF-8" standalone="yes"?>
<Relationships xmlns="http://schemas.openxmlformats.org/package/2006/relationships"><Relationship Id="rId9" Type="http://schemas.openxmlformats.org/officeDocument/2006/relationships/tags" Target="../tags/tag219.xml"/><Relationship Id="rId20" Type="http://schemas.openxmlformats.org/officeDocument/2006/relationships/tags" Target="../tags/tag230.xml"/><Relationship Id="rId21" Type="http://schemas.openxmlformats.org/officeDocument/2006/relationships/tags" Target="../tags/tag231.xml"/><Relationship Id="rId22" Type="http://schemas.openxmlformats.org/officeDocument/2006/relationships/tags" Target="../tags/tag232.xml"/><Relationship Id="rId23" Type="http://schemas.openxmlformats.org/officeDocument/2006/relationships/tags" Target="../tags/tag233.xml"/><Relationship Id="rId24" Type="http://schemas.openxmlformats.org/officeDocument/2006/relationships/oleObject" Target="../embeddings/oleObject48.bin"/><Relationship Id="rId25" Type="http://schemas.openxmlformats.org/officeDocument/2006/relationships/image" Target="../media/image1.emf"/><Relationship Id="rId10" Type="http://schemas.openxmlformats.org/officeDocument/2006/relationships/tags" Target="../tags/tag220.xml"/><Relationship Id="rId11" Type="http://schemas.openxmlformats.org/officeDocument/2006/relationships/tags" Target="../tags/tag221.xml"/><Relationship Id="rId12" Type="http://schemas.openxmlformats.org/officeDocument/2006/relationships/tags" Target="../tags/tag222.xml"/><Relationship Id="rId13" Type="http://schemas.openxmlformats.org/officeDocument/2006/relationships/tags" Target="../tags/tag223.xml"/><Relationship Id="rId14" Type="http://schemas.openxmlformats.org/officeDocument/2006/relationships/tags" Target="../tags/tag224.xml"/><Relationship Id="rId15" Type="http://schemas.openxmlformats.org/officeDocument/2006/relationships/tags" Target="../tags/tag225.xml"/><Relationship Id="rId16" Type="http://schemas.openxmlformats.org/officeDocument/2006/relationships/tags" Target="../tags/tag226.xml"/><Relationship Id="rId17" Type="http://schemas.openxmlformats.org/officeDocument/2006/relationships/tags" Target="../tags/tag227.xml"/><Relationship Id="rId18" Type="http://schemas.openxmlformats.org/officeDocument/2006/relationships/tags" Target="../tags/tag228.xml"/><Relationship Id="rId19" Type="http://schemas.openxmlformats.org/officeDocument/2006/relationships/tags" Target="../tags/tag229.xml"/><Relationship Id="rId1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9.xml"/><Relationship Id="rId3" Type="http://schemas.openxmlformats.org/officeDocument/2006/relationships/slideLayout" Target="../slideLayouts/slideLayout40.xml"/><Relationship Id="rId4" Type="http://schemas.openxmlformats.org/officeDocument/2006/relationships/slideLayout" Target="../slideLayouts/slideLayout41.xml"/><Relationship Id="rId5" Type="http://schemas.openxmlformats.org/officeDocument/2006/relationships/theme" Target="../theme/theme11.xml"/><Relationship Id="rId6" Type="http://schemas.openxmlformats.org/officeDocument/2006/relationships/vmlDrawing" Target="../drawings/vmlDrawing48.vml"/><Relationship Id="rId7" Type="http://schemas.openxmlformats.org/officeDocument/2006/relationships/tags" Target="../tags/tag217.xml"/><Relationship Id="rId8" Type="http://schemas.openxmlformats.org/officeDocument/2006/relationships/tags" Target="../tags/tag218.xml"/></Relationships>
</file>

<file path=ppt/slideMasters/_rels/slideMaster12.xml.rels><?xml version="1.0" encoding="UTF-8" standalone="yes"?>
<Relationships xmlns="http://schemas.openxmlformats.org/package/2006/relationships"><Relationship Id="rId9" Type="http://schemas.openxmlformats.org/officeDocument/2006/relationships/tags" Target="../tags/tag240.xml"/><Relationship Id="rId20" Type="http://schemas.openxmlformats.org/officeDocument/2006/relationships/tags" Target="../tags/tag251.xml"/><Relationship Id="rId21" Type="http://schemas.openxmlformats.org/officeDocument/2006/relationships/tags" Target="../tags/tag252.xml"/><Relationship Id="rId22" Type="http://schemas.openxmlformats.org/officeDocument/2006/relationships/tags" Target="../tags/tag253.xml"/><Relationship Id="rId23" Type="http://schemas.openxmlformats.org/officeDocument/2006/relationships/tags" Target="../tags/tag254.xml"/><Relationship Id="rId24" Type="http://schemas.openxmlformats.org/officeDocument/2006/relationships/oleObject" Target="../embeddings/oleObject53.bin"/><Relationship Id="rId25" Type="http://schemas.openxmlformats.org/officeDocument/2006/relationships/image" Target="../media/image1.emf"/><Relationship Id="rId10" Type="http://schemas.openxmlformats.org/officeDocument/2006/relationships/tags" Target="../tags/tag241.xml"/><Relationship Id="rId11" Type="http://schemas.openxmlformats.org/officeDocument/2006/relationships/tags" Target="../tags/tag242.xml"/><Relationship Id="rId12" Type="http://schemas.openxmlformats.org/officeDocument/2006/relationships/tags" Target="../tags/tag243.xml"/><Relationship Id="rId13" Type="http://schemas.openxmlformats.org/officeDocument/2006/relationships/tags" Target="../tags/tag244.xml"/><Relationship Id="rId14" Type="http://schemas.openxmlformats.org/officeDocument/2006/relationships/tags" Target="../tags/tag245.xml"/><Relationship Id="rId15" Type="http://schemas.openxmlformats.org/officeDocument/2006/relationships/tags" Target="../tags/tag246.xml"/><Relationship Id="rId16" Type="http://schemas.openxmlformats.org/officeDocument/2006/relationships/tags" Target="../tags/tag247.xml"/><Relationship Id="rId17" Type="http://schemas.openxmlformats.org/officeDocument/2006/relationships/tags" Target="../tags/tag248.xml"/><Relationship Id="rId18" Type="http://schemas.openxmlformats.org/officeDocument/2006/relationships/tags" Target="../tags/tag249.xml"/><Relationship Id="rId19" Type="http://schemas.openxmlformats.org/officeDocument/2006/relationships/tags" Target="../tags/tag250.xml"/><Relationship Id="rId1" Type="http://schemas.openxmlformats.org/officeDocument/2006/relationships/slideLayout" Target="../slideLayouts/slideLayout42.xml"/><Relationship Id="rId2" Type="http://schemas.openxmlformats.org/officeDocument/2006/relationships/slideLayout" Target="../slideLayouts/slideLayout43.xml"/><Relationship Id="rId3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5.xml"/><Relationship Id="rId5" Type="http://schemas.openxmlformats.org/officeDocument/2006/relationships/theme" Target="../theme/theme12.xml"/><Relationship Id="rId6" Type="http://schemas.openxmlformats.org/officeDocument/2006/relationships/vmlDrawing" Target="../drawings/vmlDrawing53.vml"/><Relationship Id="rId7" Type="http://schemas.openxmlformats.org/officeDocument/2006/relationships/tags" Target="../tags/tag238.xml"/><Relationship Id="rId8" Type="http://schemas.openxmlformats.org/officeDocument/2006/relationships/tags" Target="../tags/tag239.xml"/></Relationships>
</file>

<file path=ppt/slideMasters/_rels/slideMaster13.xml.rels><?xml version="1.0" encoding="UTF-8" standalone="yes"?>
<Relationships xmlns="http://schemas.openxmlformats.org/package/2006/relationships"><Relationship Id="rId9" Type="http://schemas.openxmlformats.org/officeDocument/2006/relationships/tags" Target="../tags/tag261.xml"/><Relationship Id="rId20" Type="http://schemas.openxmlformats.org/officeDocument/2006/relationships/tags" Target="../tags/tag272.xml"/><Relationship Id="rId21" Type="http://schemas.openxmlformats.org/officeDocument/2006/relationships/tags" Target="../tags/tag273.xml"/><Relationship Id="rId22" Type="http://schemas.openxmlformats.org/officeDocument/2006/relationships/tags" Target="../tags/tag274.xml"/><Relationship Id="rId23" Type="http://schemas.openxmlformats.org/officeDocument/2006/relationships/tags" Target="../tags/tag275.xml"/><Relationship Id="rId24" Type="http://schemas.openxmlformats.org/officeDocument/2006/relationships/oleObject" Target="../embeddings/oleObject58.bin"/><Relationship Id="rId25" Type="http://schemas.openxmlformats.org/officeDocument/2006/relationships/image" Target="../media/image1.emf"/><Relationship Id="rId10" Type="http://schemas.openxmlformats.org/officeDocument/2006/relationships/tags" Target="../tags/tag262.xml"/><Relationship Id="rId11" Type="http://schemas.openxmlformats.org/officeDocument/2006/relationships/tags" Target="../tags/tag263.xml"/><Relationship Id="rId12" Type="http://schemas.openxmlformats.org/officeDocument/2006/relationships/tags" Target="../tags/tag264.xml"/><Relationship Id="rId13" Type="http://schemas.openxmlformats.org/officeDocument/2006/relationships/tags" Target="../tags/tag265.xml"/><Relationship Id="rId14" Type="http://schemas.openxmlformats.org/officeDocument/2006/relationships/tags" Target="../tags/tag266.xml"/><Relationship Id="rId15" Type="http://schemas.openxmlformats.org/officeDocument/2006/relationships/tags" Target="../tags/tag267.xml"/><Relationship Id="rId16" Type="http://schemas.openxmlformats.org/officeDocument/2006/relationships/tags" Target="../tags/tag268.xml"/><Relationship Id="rId17" Type="http://schemas.openxmlformats.org/officeDocument/2006/relationships/tags" Target="../tags/tag269.xml"/><Relationship Id="rId18" Type="http://schemas.openxmlformats.org/officeDocument/2006/relationships/tags" Target="../tags/tag270.xml"/><Relationship Id="rId19" Type="http://schemas.openxmlformats.org/officeDocument/2006/relationships/tags" Target="../tags/tag271.xml"/><Relationship Id="rId1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7.xml"/><Relationship Id="rId3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9.xml"/><Relationship Id="rId5" Type="http://schemas.openxmlformats.org/officeDocument/2006/relationships/theme" Target="../theme/theme13.xml"/><Relationship Id="rId6" Type="http://schemas.openxmlformats.org/officeDocument/2006/relationships/vmlDrawing" Target="../drawings/vmlDrawing58.vml"/><Relationship Id="rId7" Type="http://schemas.openxmlformats.org/officeDocument/2006/relationships/tags" Target="../tags/tag259.xml"/><Relationship Id="rId8" Type="http://schemas.openxmlformats.org/officeDocument/2006/relationships/tags" Target="../tags/tag260.xml"/></Relationships>
</file>

<file path=ppt/slideMasters/_rels/slideMaster14.xml.rels><?xml version="1.0" encoding="UTF-8" standalone="yes"?>
<Relationships xmlns="http://schemas.openxmlformats.org/package/2006/relationships"><Relationship Id="rId9" Type="http://schemas.openxmlformats.org/officeDocument/2006/relationships/tags" Target="../tags/tag282.xml"/><Relationship Id="rId20" Type="http://schemas.openxmlformats.org/officeDocument/2006/relationships/tags" Target="../tags/tag293.xml"/><Relationship Id="rId21" Type="http://schemas.openxmlformats.org/officeDocument/2006/relationships/tags" Target="../tags/tag294.xml"/><Relationship Id="rId22" Type="http://schemas.openxmlformats.org/officeDocument/2006/relationships/tags" Target="../tags/tag295.xml"/><Relationship Id="rId23" Type="http://schemas.openxmlformats.org/officeDocument/2006/relationships/tags" Target="../tags/tag296.xml"/><Relationship Id="rId24" Type="http://schemas.openxmlformats.org/officeDocument/2006/relationships/oleObject" Target="../embeddings/oleObject63.bin"/><Relationship Id="rId25" Type="http://schemas.openxmlformats.org/officeDocument/2006/relationships/image" Target="../media/image1.emf"/><Relationship Id="rId10" Type="http://schemas.openxmlformats.org/officeDocument/2006/relationships/tags" Target="../tags/tag283.xml"/><Relationship Id="rId11" Type="http://schemas.openxmlformats.org/officeDocument/2006/relationships/tags" Target="../tags/tag284.xml"/><Relationship Id="rId12" Type="http://schemas.openxmlformats.org/officeDocument/2006/relationships/tags" Target="../tags/tag285.xml"/><Relationship Id="rId13" Type="http://schemas.openxmlformats.org/officeDocument/2006/relationships/tags" Target="../tags/tag286.xml"/><Relationship Id="rId14" Type="http://schemas.openxmlformats.org/officeDocument/2006/relationships/tags" Target="../tags/tag287.xml"/><Relationship Id="rId15" Type="http://schemas.openxmlformats.org/officeDocument/2006/relationships/tags" Target="../tags/tag288.xml"/><Relationship Id="rId16" Type="http://schemas.openxmlformats.org/officeDocument/2006/relationships/tags" Target="../tags/tag289.xml"/><Relationship Id="rId17" Type="http://schemas.openxmlformats.org/officeDocument/2006/relationships/tags" Target="../tags/tag290.xml"/><Relationship Id="rId18" Type="http://schemas.openxmlformats.org/officeDocument/2006/relationships/tags" Target="../tags/tag291.xml"/><Relationship Id="rId19" Type="http://schemas.openxmlformats.org/officeDocument/2006/relationships/tags" Target="../tags/tag292.xml"/><Relationship Id="rId1" Type="http://schemas.openxmlformats.org/officeDocument/2006/relationships/slideLayout" Target="../slideLayouts/slideLayout50.xml"/><Relationship Id="rId2" Type="http://schemas.openxmlformats.org/officeDocument/2006/relationships/slideLayout" Target="../slideLayouts/slideLayout51.xml"/><Relationship Id="rId3" Type="http://schemas.openxmlformats.org/officeDocument/2006/relationships/slideLayout" Target="../slideLayouts/slideLayout52.xml"/><Relationship Id="rId4" Type="http://schemas.openxmlformats.org/officeDocument/2006/relationships/slideLayout" Target="../slideLayouts/slideLayout53.xml"/><Relationship Id="rId5" Type="http://schemas.openxmlformats.org/officeDocument/2006/relationships/theme" Target="../theme/theme14.xml"/><Relationship Id="rId6" Type="http://schemas.openxmlformats.org/officeDocument/2006/relationships/vmlDrawing" Target="../drawings/vmlDrawing63.vml"/><Relationship Id="rId7" Type="http://schemas.openxmlformats.org/officeDocument/2006/relationships/tags" Target="../tags/tag280.xml"/><Relationship Id="rId8" Type="http://schemas.openxmlformats.org/officeDocument/2006/relationships/tags" Target="../tags/tag281.xml"/></Relationships>
</file>

<file path=ppt/slideMasters/_rels/slideMaster15.xml.rels><?xml version="1.0" encoding="UTF-8" standalone="yes"?>
<Relationships xmlns="http://schemas.openxmlformats.org/package/2006/relationships"><Relationship Id="rId9" Type="http://schemas.openxmlformats.org/officeDocument/2006/relationships/tags" Target="../tags/tag303.xml"/><Relationship Id="rId20" Type="http://schemas.openxmlformats.org/officeDocument/2006/relationships/tags" Target="../tags/tag314.xml"/><Relationship Id="rId21" Type="http://schemas.openxmlformats.org/officeDocument/2006/relationships/tags" Target="../tags/tag315.xml"/><Relationship Id="rId22" Type="http://schemas.openxmlformats.org/officeDocument/2006/relationships/tags" Target="../tags/tag316.xml"/><Relationship Id="rId23" Type="http://schemas.openxmlformats.org/officeDocument/2006/relationships/tags" Target="../tags/tag317.xml"/><Relationship Id="rId24" Type="http://schemas.openxmlformats.org/officeDocument/2006/relationships/oleObject" Target="../embeddings/oleObject68.bin"/><Relationship Id="rId25" Type="http://schemas.openxmlformats.org/officeDocument/2006/relationships/image" Target="../media/image1.emf"/><Relationship Id="rId10" Type="http://schemas.openxmlformats.org/officeDocument/2006/relationships/tags" Target="../tags/tag304.xml"/><Relationship Id="rId11" Type="http://schemas.openxmlformats.org/officeDocument/2006/relationships/tags" Target="../tags/tag305.xml"/><Relationship Id="rId12" Type="http://schemas.openxmlformats.org/officeDocument/2006/relationships/tags" Target="../tags/tag306.xml"/><Relationship Id="rId13" Type="http://schemas.openxmlformats.org/officeDocument/2006/relationships/tags" Target="../tags/tag307.xml"/><Relationship Id="rId14" Type="http://schemas.openxmlformats.org/officeDocument/2006/relationships/tags" Target="../tags/tag308.xml"/><Relationship Id="rId15" Type="http://schemas.openxmlformats.org/officeDocument/2006/relationships/tags" Target="../tags/tag309.xml"/><Relationship Id="rId16" Type="http://schemas.openxmlformats.org/officeDocument/2006/relationships/tags" Target="../tags/tag310.xml"/><Relationship Id="rId17" Type="http://schemas.openxmlformats.org/officeDocument/2006/relationships/tags" Target="../tags/tag311.xml"/><Relationship Id="rId18" Type="http://schemas.openxmlformats.org/officeDocument/2006/relationships/tags" Target="../tags/tag312.xml"/><Relationship Id="rId19" Type="http://schemas.openxmlformats.org/officeDocument/2006/relationships/tags" Target="../tags/tag313.xml"/><Relationship Id="rId1" Type="http://schemas.openxmlformats.org/officeDocument/2006/relationships/slideLayout" Target="../slideLayouts/slideLayout54.xml"/><Relationship Id="rId2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7.xml"/><Relationship Id="rId5" Type="http://schemas.openxmlformats.org/officeDocument/2006/relationships/theme" Target="../theme/theme15.xml"/><Relationship Id="rId6" Type="http://schemas.openxmlformats.org/officeDocument/2006/relationships/vmlDrawing" Target="../drawings/vmlDrawing68.vml"/><Relationship Id="rId7" Type="http://schemas.openxmlformats.org/officeDocument/2006/relationships/tags" Target="../tags/tag301.xml"/><Relationship Id="rId8" Type="http://schemas.openxmlformats.org/officeDocument/2006/relationships/tags" Target="../tags/tag302.xml"/></Relationships>
</file>

<file path=ppt/slideMasters/_rels/slideMaster16.xml.rels><?xml version="1.0" encoding="UTF-8" standalone="yes"?>
<Relationships xmlns="http://schemas.openxmlformats.org/package/2006/relationships"><Relationship Id="rId9" Type="http://schemas.openxmlformats.org/officeDocument/2006/relationships/tags" Target="../tags/tag324.xml"/><Relationship Id="rId20" Type="http://schemas.openxmlformats.org/officeDocument/2006/relationships/tags" Target="../tags/tag335.xml"/><Relationship Id="rId21" Type="http://schemas.openxmlformats.org/officeDocument/2006/relationships/tags" Target="../tags/tag336.xml"/><Relationship Id="rId22" Type="http://schemas.openxmlformats.org/officeDocument/2006/relationships/tags" Target="../tags/tag337.xml"/><Relationship Id="rId23" Type="http://schemas.openxmlformats.org/officeDocument/2006/relationships/tags" Target="../tags/tag338.xml"/><Relationship Id="rId24" Type="http://schemas.openxmlformats.org/officeDocument/2006/relationships/oleObject" Target="../embeddings/oleObject73.bin"/><Relationship Id="rId25" Type="http://schemas.openxmlformats.org/officeDocument/2006/relationships/image" Target="../media/image1.emf"/><Relationship Id="rId10" Type="http://schemas.openxmlformats.org/officeDocument/2006/relationships/tags" Target="../tags/tag325.xml"/><Relationship Id="rId11" Type="http://schemas.openxmlformats.org/officeDocument/2006/relationships/tags" Target="../tags/tag326.xml"/><Relationship Id="rId12" Type="http://schemas.openxmlformats.org/officeDocument/2006/relationships/tags" Target="../tags/tag327.xml"/><Relationship Id="rId13" Type="http://schemas.openxmlformats.org/officeDocument/2006/relationships/tags" Target="../tags/tag328.xml"/><Relationship Id="rId14" Type="http://schemas.openxmlformats.org/officeDocument/2006/relationships/tags" Target="../tags/tag329.xml"/><Relationship Id="rId15" Type="http://schemas.openxmlformats.org/officeDocument/2006/relationships/tags" Target="../tags/tag330.xml"/><Relationship Id="rId16" Type="http://schemas.openxmlformats.org/officeDocument/2006/relationships/tags" Target="../tags/tag331.xml"/><Relationship Id="rId17" Type="http://schemas.openxmlformats.org/officeDocument/2006/relationships/tags" Target="../tags/tag332.xml"/><Relationship Id="rId18" Type="http://schemas.openxmlformats.org/officeDocument/2006/relationships/tags" Target="../tags/tag333.xml"/><Relationship Id="rId19" Type="http://schemas.openxmlformats.org/officeDocument/2006/relationships/tags" Target="../tags/tag334.xml"/><Relationship Id="rId1" Type="http://schemas.openxmlformats.org/officeDocument/2006/relationships/slideLayout" Target="../slideLayouts/slideLayout58.xml"/><Relationship Id="rId2" Type="http://schemas.openxmlformats.org/officeDocument/2006/relationships/slideLayout" Target="../slideLayouts/slideLayout59.xml"/><Relationship Id="rId3" Type="http://schemas.openxmlformats.org/officeDocument/2006/relationships/slideLayout" Target="../slideLayouts/slideLayout60.xml"/><Relationship Id="rId4" Type="http://schemas.openxmlformats.org/officeDocument/2006/relationships/slideLayout" Target="../slideLayouts/slideLayout61.xml"/><Relationship Id="rId5" Type="http://schemas.openxmlformats.org/officeDocument/2006/relationships/theme" Target="../theme/theme16.xml"/><Relationship Id="rId6" Type="http://schemas.openxmlformats.org/officeDocument/2006/relationships/vmlDrawing" Target="../drawings/vmlDrawing73.vml"/><Relationship Id="rId7" Type="http://schemas.openxmlformats.org/officeDocument/2006/relationships/tags" Target="../tags/tag322.xml"/><Relationship Id="rId8" Type="http://schemas.openxmlformats.org/officeDocument/2006/relationships/tags" Target="../tags/tag323.xml"/></Relationships>
</file>

<file path=ppt/slideMasters/_rels/slideMaster17.xml.rels><?xml version="1.0" encoding="UTF-8" standalone="yes"?>
<Relationships xmlns="http://schemas.openxmlformats.org/package/2006/relationships"><Relationship Id="rId9" Type="http://schemas.openxmlformats.org/officeDocument/2006/relationships/tags" Target="../tags/tag345.xml"/><Relationship Id="rId20" Type="http://schemas.openxmlformats.org/officeDocument/2006/relationships/tags" Target="../tags/tag356.xml"/><Relationship Id="rId21" Type="http://schemas.openxmlformats.org/officeDocument/2006/relationships/tags" Target="../tags/tag357.xml"/><Relationship Id="rId22" Type="http://schemas.openxmlformats.org/officeDocument/2006/relationships/tags" Target="../tags/tag358.xml"/><Relationship Id="rId23" Type="http://schemas.openxmlformats.org/officeDocument/2006/relationships/tags" Target="../tags/tag359.xml"/><Relationship Id="rId24" Type="http://schemas.openxmlformats.org/officeDocument/2006/relationships/oleObject" Target="../embeddings/oleObject78.bin"/><Relationship Id="rId25" Type="http://schemas.openxmlformats.org/officeDocument/2006/relationships/image" Target="../media/image1.emf"/><Relationship Id="rId10" Type="http://schemas.openxmlformats.org/officeDocument/2006/relationships/tags" Target="../tags/tag346.xml"/><Relationship Id="rId11" Type="http://schemas.openxmlformats.org/officeDocument/2006/relationships/tags" Target="../tags/tag347.xml"/><Relationship Id="rId12" Type="http://schemas.openxmlformats.org/officeDocument/2006/relationships/tags" Target="../tags/tag348.xml"/><Relationship Id="rId13" Type="http://schemas.openxmlformats.org/officeDocument/2006/relationships/tags" Target="../tags/tag349.xml"/><Relationship Id="rId14" Type="http://schemas.openxmlformats.org/officeDocument/2006/relationships/tags" Target="../tags/tag350.xml"/><Relationship Id="rId15" Type="http://schemas.openxmlformats.org/officeDocument/2006/relationships/tags" Target="../tags/tag351.xml"/><Relationship Id="rId16" Type="http://schemas.openxmlformats.org/officeDocument/2006/relationships/tags" Target="../tags/tag352.xml"/><Relationship Id="rId17" Type="http://schemas.openxmlformats.org/officeDocument/2006/relationships/tags" Target="../tags/tag353.xml"/><Relationship Id="rId18" Type="http://schemas.openxmlformats.org/officeDocument/2006/relationships/tags" Target="../tags/tag354.xml"/><Relationship Id="rId19" Type="http://schemas.openxmlformats.org/officeDocument/2006/relationships/tags" Target="../tags/tag355.xml"/><Relationship Id="rId1" Type="http://schemas.openxmlformats.org/officeDocument/2006/relationships/slideLayout" Target="../slideLayouts/slideLayout62.xml"/><Relationship Id="rId2" Type="http://schemas.openxmlformats.org/officeDocument/2006/relationships/slideLayout" Target="../slideLayouts/slideLayout63.xml"/><Relationship Id="rId3" Type="http://schemas.openxmlformats.org/officeDocument/2006/relationships/slideLayout" Target="../slideLayouts/slideLayout64.xml"/><Relationship Id="rId4" Type="http://schemas.openxmlformats.org/officeDocument/2006/relationships/slideLayout" Target="../slideLayouts/slideLayout65.xml"/><Relationship Id="rId5" Type="http://schemas.openxmlformats.org/officeDocument/2006/relationships/theme" Target="../theme/theme17.xml"/><Relationship Id="rId6" Type="http://schemas.openxmlformats.org/officeDocument/2006/relationships/vmlDrawing" Target="../drawings/vmlDrawing78.vml"/><Relationship Id="rId7" Type="http://schemas.openxmlformats.org/officeDocument/2006/relationships/tags" Target="../tags/tag343.xml"/><Relationship Id="rId8" Type="http://schemas.openxmlformats.org/officeDocument/2006/relationships/tags" Target="../tags/tag344.xml"/></Relationships>
</file>

<file path=ppt/slideMasters/_rels/slideMaster18.xml.rels><?xml version="1.0" encoding="UTF-8" standalone="yes"?>
<Relationships xmlns="http://schemas.openxmlformats.org/package/2006/relationships"><Relationship Id="rId9" Type="http://schemas.openxmlformats.org/officeDocument/2006/relationships/tags" Target="../tags/tag367.xml"/><Relationship Id="rId20" Type="http://schemas.openxmlformats.org/officeDocument/2006/relationships/tags" Target="../tags/tag378.xml"/><Relationship Id="rId21" Type="http://schemas.openxmlformats.org/officeDocument/2006/relationships/tags" Target="../tags/tag379.xml"/><Relationship Id="rId22" Type="http://schemas.openxmlformats.org/officeDocument/2006/relationships/tags" Target="../tags/tag380.xml"/><Relationship Id="rId23" Type="http://schemas.openxmlformats.org/officeDocument/2006/relationships/oleObject" Target="../embeddings/oleObject83.bin"/><Relationship Id="rId24" Type="http://schemas.openxmlformats.org/officeDocument/2006/relationships/image" Target="../media/image1.emf"/><Relationship Id="rId10" Type="http://schemas.openxmlformats.org/officeDocument/2006/relationships/tags" Target="../tags/tag368.xml"/><Relationship Id="rId11" Type="http://schemas.openxmlformats.org/officeDocument/2006/relationships/tags" Target="../tags/tag369.xml"/><Relationship Id="rId12" Type="http://schemas.openxmlformats.org/officeDocument/2006/relationships/tags" Target="../tags/tag370.xml"/><Relationship Id="rId13" Type="http://schemas.openxmlformats.org/officeDocument/2006/relationships/tags" Target="../tags/tag371.xml"/><Relationship Id="rId14" Type="http://schemas.openxmlformats.org/officeDocument/2006/relationships/tags" Target="../tags/tag372.xml"/><Relationship Id="rId15" Type="http://schemas.openxmlformats.org/officeDocument/2006/relationships/tags" Target="../tags/tag373.xml"/><Relationship Id="rId16" Type="http://schemas.openxmlformats.org/officeDocument/2006/relationships/tags" Target="../tags/tag374.xml"/><Relationship Id="rId17" Type="http://schemas.openxmlformats.org/officeDocument/2006/relationships/tags" Target="../tags/tag375.xml"/><Relationship Id="rId18" Type="http://schemas.openxmlformats.org/officeDocument/2006/relationships/tags" Target="../tags/tag376.xml"/><Relationship Id="rId19" Type="http://schemas.openxmlformats.org/officeDocument/2006/relationships/tags" Target="../tags/tag377.xml"/><Relationship Id="rId1" Type="http://schemas.openxmlformats.org/officeDocument/2006/relationships/slideLayout" Target="../slideLayouts/slideLayout66.xml"/><Relationship Id="rId2" Type="http://schemas.openxmlformats.org/officeDocument/2006/relationships/slideLayout" Target="../slideLayouts/slideLayout67.xml"/><Relationship Id="rId3" Type="http://schemas.openxmlformats.org/officeDocument/2006/relationships/slideLayout" Target="../slideLayouts/slideLayout68.xml"/><Relationship Id="rId4" Type="http://schemas.openxmlformats.org/officeDocument/2006/relationships/theme" Target="../theme/theme18.xml"/><Relationship Id="rId5" Type="http://schemas.openxmlformats.org/officeDocument/2006/relationships/vmlDrawing" Target="../drawings/vmlDrawing83.vml"/><Relationship Id="rId6" Type="http://schemas.openxmlformats.org/officeDocument/2006/relationships/tags" Target="../tags/tag364.xml"/><Relationship Id="rId7" Type="http://schemas.openxmlformats.org/officeDocument/2006/relationships/tags" Target="../tags/tag365.xml"/><Relationship Id="rId8" Type="http://schemas.openxmlformats.org/officeDocument/2006/relationships/tags" Target="../tags/tag366.xml"/></Relationships>
</file>

<file path=ppt/slideMasters/_rels/slideMaster19.xml.rels><?xml version="1.0" encoding="UTF-8" standalone="yes"?>
<Relationships xmlns="http://schemas.openxmlformats.org/package/2006/relationships"><Relationship Id="rId9" Type="http://schemas.openxmlformats.org/officeDocument/2006/relationships/tags" Target="../tags/tag386.xml"/><Relationship Id="rId20" Type="http://schemas.openxmlformats.org/officeDocument/2006/relationships/tags" Target="../tags/tag397.xml"/><Relationship Id="rId21" Type="http://schemas.openxmlformats.org/officeDocument/2006/relationships/tags" Target="../tags/tag398.xml"/><Relationship Id="rId22" Type="http://schemas.openxmlformats.org/officeDocument/2006/relationships/tags" Target="../tags/tag399.xml"/><Relationship Id="rId23" Type="http://schemas.openxmlformats.org/officeDocument/2006/relationships/tags" Target="../tags/tag400.xml"/><Relationship Id="rId24" Type="http://schemas.openxmlformats.org/officeDocument/2006/relationships/oleObject" Target="../embeddings/oleObject87.bin"/><Relationship Id="rId25" Type="http://schemas.openxmlformats.org/officeDocument/2006/relationships/image" Target="../media/image1.emf"/><Relationship Id="rId10" Type="http://schemas.openxmlformats.org/officeDocument/2006/relationships/tags" Target="../tags/tag387.xml"/><Relationship Id="rId11" Type="http://schemas.openxmlformats.org/officeDocument/2006/relationships/tags" Target="../tags/tag388.xml"/><Relationship Id="rId12" Type="http://schemas.openxmlformats.org/officeDocument/2006/relationships/tags" Target="../tags/tag389.xml"/><Relationship Id="rId13" Type="http://schemas.openxmlformats.org/officeDocument/2006/relationships/tags" Target="../tags/tag390.xml"/><Relationship Id="rId14" Type="http://schemas.openxmlformats.org/officeDocument/2006/relationships/tags" Target="../tags/tag391.xml"/><Relationship Id="rId15" Type="http://schemas.openxmlformats.org/officeDocument/2006/relationships/tags" Target="../tags/tag392.xml"/><Relationship Id="rId16" Type="http://schemas.openxmlformats.org/officeDocument/2006/relationships/tags" Target="../tags/tag393.xml"/><Relationship Id="rId17" Type="http://schemas.openxmlformats.org/officeDocument/2006/relationships/tags" Target="../tags/tag394.xml"/><Relationship Id="rId18" Type="http://schemas.openxmlformats.org/officeDocument/2006/relationships/tags" Target="../tags/tag395.xml"/><Relationship Id="rId19" Type="http://schemas.openxmlformats.org/officeDocument/2006/relationships/tags" Target="../tags/tag396.xml"/><Relationship Id="rId1" Type="http://schemas.openxmlformats.org/officeDocument/2006/relationships/slideLayout" Target="../slideLayouts/slideLayout69.xml"/><Relationship Id="rId2" Type="http://schemas.openxmlformats.org/officeDocument/2006/relationships/slideLayout" Target="../slideLayouts/slideLayout70.xml"/><Relationship Id="rId3" Type="http://schemas.openxmlformats.org/officeDocument/2006/relationships/slideLayout" Target="../slideLayouts/slideLayout71.xml"/><Relationship Id="rId4" Type="http://schemas.openxmlformats.org/officeDocument/2006/relationships/slideLayout" Target="../slideLayouts/slideLayout72.xml"/><Relationship Id="rId5" Type="http://schemas.openxmlformats.org/officeDocument/2006/relationships/theme" Target="../theme/theme19.xml"/><Relationship Id="rId6" Type="http://schemas.openxmlformats.org/officeDocument/2006/relationships/vmlDrawing" Target="../drawings/vmlDrawing87.vml"/><Relationship Id="rId7" Type="http://schemas.openxmlformats.org/officeDocument/2006/relationships/tags" Target="../tags/tag384.xml"/><Relationship Id="rId8" Type="http://schemas.openxmlformats.org/officeDocument/2006/relationships/tags" Target="../tags/tag385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tags" Target="../tags/tag26.xml"/><Relationship Id="rId20" Type="http://schemas.openxmlformats.org/officeDocument/2006/relationships/tags" Target="../tags/tag37.xml"/><Relationship Id="rId21" Type="http://schemas.openxmlformats.org/officeDocument/2006/relationships/tags" Target="../tags/tag38.xml"/><Relationship Id="rId22" Type="http://schemas.openxmlformats.org/officeDocument/2006/relationships/tags" Target="../tags/tag39.xml"/><Relationship Id="rId23" Type="http://schemas.openxmlformats.org/officeDocument/2006/relationships/oleObject" Target="../embeddings/oleObject6.bin"/><Relationship Id="rId24" Type="http://schemas.openxmlformats.org/officeDocument/2006/relationships/image" Target="../media/image1.emf"/><Relationship Id="rId10" Type="http://schemas.openxmlformats.org/officeDocument/2006/relationships/tags" Target="../tags/tag27.xml"/><Relationship Id="rId11" Type="http://schemas.openxmlformats.org/officeDocument/2006/relationships/tags" Target="../tags/tag28.xml"/><Relationship Id="rId12" Type="http://schemas.openxmlformats.org/officeDocument/2006/relationships/tags" Target="../tags/tag29.xml"/><Relationship Id="rId13" Type="http://schemas.openxmlformats.org/officeDocument/2006/relationships/tags" Target="../tags/tag30.xml"/><Relationship Id="rId14" Type="http://schemas.openxmlformats.org/officeDocument/2006/relationships/tags" Target="../tags/tag31.xml"/><Relationship Id="rId15" Type="http://schemas.openxmlformats.org/officeDocument/2006/relationships/tags" Target="../tags/tag32.xml"/><Relationship Id="rId16" Type="http://schemas.openxmlformats.org/officeDocument/2006/relationships/tags" Target="../tags/tag33.xml"/><Relationship Id="rId17" Type="http://schemas.openxmlformats.org/officeDocument/2006/relationships/tags" Target="../tags/tag34.xml"/><Relationship Id="rId18" Type="http://schemas.openxmlformats.org/officeDocument/2006/relationships/tags" Target="../tags/tag35.xml"/><Relationship Id="rId19" Type="http://schemas.openxmlformats.org/officeDocument/2006/relationships/tags" Target="../tags/tag36.xml"/><Relationship Id="rId1" Type="http://schemas.openxmlformats.org/officeDocument/2006/relationships/slideLayout" Target="../slideLayouts/slideLayout5.xml"/><Relationship Id="rId2" Type="http://schemas.openxmlformats.org/officeDocument/2006/relationships/slideLayout" Target="../slideLayouts/slideLayout6.xml"/><Relationship Id="rId3" Type="http://schemas.openxmlformats.org/officeDocument/2006/relationships/slideLayout" Target="../slideLayouts/slideLayout7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6.vml"/><Relationship Id="rId6" Type="http://schemas.openxmlformats.org/officeDocument/2006/relationships/tags" Target="../tags/tag23.xml"/><Relationship Id="rId7" Type="http://schemas.openxmlformats.org/officeDocument/2006/relationships/tags" Target="../tags/tag24.xml"/><Relationship Id="rId8" Type="http://schemas.openxmlformats.org/officeDocument/2006/relationships/tags" Target="../tags/tag25.xml"/></Relationships>
</file>

<file path=ppt/slideMasters/_rels/slideMaster20.xml.rels><?xml version="1.0" encoding="UTF-8" standalone="yes"?>
<Relationships xmlns="http://schemas.openxmlformats.org/package/2006/relationships"><Relationship Id="rId20" Type="http://schemas.openxmlformats.org/officeDocument/2006/relationships/tags" Target="../tags/tag419.xml"/><Relationship Id="rId21" Type="http://schemas.openxmlformats.org/officeDocument/2006/relationships/tags" Target="../tags/tag420.xml"/><Relationship Id="rId22" Type="http://schemas.openxmlformats.org/officeDocument/2006/relationships/tags" Target="../tags/tag421.xml"/><Relationship Id="rId23" Type="http://schemas.openxmlformats.org/officeDocument/2006/relationships/tags" Target="../tags/tag422.xml"/><Relationship Id="rId24" Type="http://schemas.openxmlformats.org/officeDocument/2006/relationships/tags" Target="../tags/tag423.xml"/><Relationship Id="rId25" Type="http://schemas.openxmlformats.org/officeDocument/2006/relationships/tags" Target="../tags/tag424.xml"/><Relationship Id="rId26" Type="http://schemas.openxmlformats.org/officeDocument/2006/relationships/tags" Target="../tags/tag425.xml"/><Relationship Id="rId27" Type="http://schemas.openxmlformats.org/officeDocument/2006/relationships/tags" Target="../tags/tag426.xml"/><Relationship Id="rId28" Type="http://schemas.openxmlformats.org/officeDocument/2006/relationships/tags" Target="../tags/tag427.xml"/><Relationship Id="rId29" Type="http://schemas.openxmlformats.org/officeDocument/2006/relationships/tags" Target="../tags/tag428.xml"/><Relationship Id="rId1" Type="http://schemas.openxmlformats.org/officeDocument/2006/relationships/slideLayout" Target="../slideLayouts/slideLayout73.xml"/><Relationship Id="rId2" Type="http://schemas.openxmlformats.org/officeDocument/2006/relationships/slideLayout" Target="../slideLayouts/slideLayout74.xml"/><Relationship Id="rId3" Type="http://schemas.openxmlformats.org/officeDocument/2006/relationships/slideLayout" Target="../slideLayouts/slideLayout75.xml"/><Relationship Id="rId4" Type="http://schemas.openxmlformats.org/officeDocument/2006/relationships/theme" Target="../theme/theme20.xml"/><Relationship Id="rId5" Type="http://schemas.openxmlformats.org/officeDocument/2006/relationships/vmlDrawing" Target="../drawings/vmlDrawing92.vml"/><Relationship Id="rId30" Type="http://schemas.openxmlformats.org/officeDocument/2006/relationships/tags" Target="../tags/tag429.xml"/><Relationship Id="rId31" Type="http://schemas.openxmlformats.org/officeDocument/2006/relationships/tags" Target="../tags/tag430.xml"/><Relationship Id="rId32" Type="http://schemas.openxmlformats.org/officeDocument/2006/relationships/tags" Target="../tags/tag431.xml"/><Relationship Id="rId9" Type="http://schemas.openxmlformats.org/officeDocument/2006/relationships/tags" Target="../tags/tag408.xml"/><Relationship Id="rId6" Type="http://schemas.openxmlformats.org/officeDocument/2006/relationships/tags" Target="../tags/tag405.xml"/><Relationship Id="rId7" Type="http://schemas.openxmlformats.org/officeDocument/2006/relationships/tags" Target="../tags/tag406.xml"/><Relationship Id="rId8" Type="http://schemas.openxmlformats.org/officeDocument/2006/relationships/tags" Target="../tags/tag407.xml"/><Relationship Id="rId33" Type="http://schemas.openxmlformats.org/officeDocument/2006/relationships/tags" Target="../tags/tag432.xml"/><Relationship Id="rId34" Type="http://schemas.openxmlformats.org/officeDocument/2006/relationships/tags" Target="../tags/tag433.xml"/><Relationship Id="rId35" Type="http://schemas.openxmlformats.org/officeDocument/2006/relationships/tags" Target="../tags/tag434.xml"/><Relationship Id="rId36" Type="http://schemas.openxmlformats.org/officeDocument/2006/relationships/tags" Target="../tags/tag435.xml"/><Relationship Id="rId10" Type="http://schemas.openxmlformats.org/officeDocument/2006/relationships/tags" Target="../tags/tag409.xml"/><Relationship Id="rId11" Type="http://schemas.openxmlformats.org/officeDocument/2006/relationships/tags" Target="../tags/tag410.xml"/><Relationship Id="rId12" Type="http://schemas.openxmlformats.org/officeDocument/2006/relationships/tags" Target="../tags/tag411.xml"/><Relationship Id="rId13" Type="http://schemas.openxmlformats.org/officeDocument/2006/relationships/tags" Target="../tags/tag412.xml"/><Relationship Id="rId14" Type="http://schemas.openxmlformats.org/officeDocument/2006/relationships/tags" Target="../tags/tag413.xml"/><Relationship Id="rId15" Type="http://schemas.openxmlformats.org/officeDocument/2006/relationships/tags" Target="../tags/tag414.xml"/><Relationship Id="rId16" Type="http://schemas.openxmlformats.org/officeDocument/2006/relationships/tags" Target="../tags/tag415.xml"/><Relationship Id="rId17" Type="http://schemas.openxmlformats.org/officeDocument/2006/relationships/tags" Target="../tags/tag416.xml"/><Relationship Id="rId18" Type="http://schemas.openxmlformats.org/officeDocument/2006/relationships/tags" Target="../tags/tag417.xml"/><Relationship Id="rId19" Type="http://schemas.openxmlformats.org/officeDocument/2006/relationships/tags" Target="../tags/tag418.xml"/><Relationship Id="rId37" Type="http://schemas.openxmlformats.org/officeDocument/2006/relationships/tags" Target="../tags/tag436.xml"/><Relationship Id="rId38" Type="http://schemas.openxmlformats.org/officeDocument/2006/relationships/tags" Target="../tags/tag437.xml"/><Relationship Id="rId39" Type="http://schemas.openxmlformats.org/officeDocument/2006/relationships/tags" Target="../tags/tag438.xml"/><Relationship Id="rId40" Type="http://schemas.openxmlformats.org/officeDocument/2006/relationships/oleObject" Target="../embeddings/oleObject92.bin"/><Relationship Id="rId41" Type="http://schemas.openxmlformats.org/officeDocument/2006/relationships/image" Target="../media/image1.emf"/><Relationship Id="rId42" Type="http://schemas.openxmlformats.org/officeDocument/2006/relationships/oleObject" Target="../embeddings/oleObject93.bin"/></Relationships>
</file>

<file path=ppt/slideMasters/_rels/slideMaster21.xml.rels><?xml version="1.0" encoding="UTF-8" standalone="yes"?>
<Relationships xmlns="http://schemas.openxmlformats.org/package/2006/relationships"><Relationship Id="rId20" Type="http://schemas.openxmlformats.org/officeDocument/2006/relationships/tags" Target="../tags/tag460.xml"/><Relationship Id="rId21" Type="http://schemas.openxmlformats.org/officeDocument/2006/relationships/tags" Target="../tags/tag461.xml"/><Relationship Id="rId22" Type="http://schemas.openxmlformats.org/officeDocument/2006/relationships/tags" Target="../tags/tag462.xml"/><Relationship Id="rId23" Type="http://schemas.openxmlformats.org/officeDocument/2006/relationships/tags" Target="../tags/tag463.xml"/><Relationship Id="rId24" Type="http://schemas.openxmlformats.org/officeDocument/2006/relationships/tags" Target="../tags/tag464.xml"/><Relationship Id="rId25" Type="http://schemas.openxmlformats.org/officeDocument/2006/relationships/tags" Target="../tags/tag465.xml"/><Relationship Id="rId26" Type="http://schemas.openxmlformats.org/officeDocument/2006/relationships/tags" Target="../tags/tag466.xml"/><Relationship Id="rId27" Type="http://schemas.openxmlformats.org/officeDocument/2006/relationships/tags" Target="../tags/tag467.xml"/><Relationship Id="rId28" Type="http://schemas.openxmlformats.org/officeDocument/2006/relationships/tags" Target="../tags/tag468.xml"/><Relationship Id="rId29" Type="http://schemas.openxmlformats.org/officeDocument/2006/relationships/tags" Target="../tags/tag469.xml"/><Relationship Id="rId1" Type="http://schemas.openxmlformats.org/officeDocument/2006/relationships/slideLayout" Target="../slideLayouts/slideLayout76.xml"/><Relationship Id="rId2" Type="http://schemas.openxmlformats.org/officeDocument/2006/relationships/slideLayout" Target="../slideLayouts/slideLayout77.xml"/><Relationship Id="rId3" Type="http://schemas.openxmlformats.org/officeDocument/2006/relationships/slideLayout" Target="../slideLayouts/slideLayout78.xml"/><Relationship Id="rId4" Type="http://schemas.openxmlformats.org/officeDocument/2006/relationships/theme" Target="../theme/theme21.xml"/><Relationship Id="rId5" Type="http://schemas.openxmlformats.org/officeDocument/2006/relationships/vmlDrawing" Target="../drawings/vmlDrawing96.vml"/><Relationship Id="rId30" Type="http://schemas.openxmlformats.org/officeDocument/2006/relationships/tags" Target="../tags/tag470.xml"/><Relationship Id="rId31" Type="http://schemas.openxmlformats.org/officeDocument/2006/relationships/tags" Target="../tags/tag471.xml"/><Relationship Id="rId32" Type="http://schemas.openxmlformats.org/officeDocument/2006/relationships/tags" Target="../tags/tag472.xml"/><Relationship Id="rId9" Type="http://schemas.openxmlformats.org/officeDocument/2006/relationships/tags" Target="../tags/tag449.xml"/><Relationship Id="rId6" Type="http://schemas.openxmlformats.org/officeDocument/2006/relationships/tags" Target="../tags/tag446.xml"/><Relationship Id="rId7" Type="http://schemas.openxmlformats.org/officeDocument/2006/relationships/tags" Target="../tags/tag447.xml"/><Relationship Id="rId8" Type="http://schemas.openxmlformats.org/officeDocument/2006/relationships/tags" Target="../tags/tag448.xml"/><Relationship Id="rId33" Type="http://schemas.openxmlformats.org/officeDocument/2006/relationships/tags" Target="../tags/tag473.xml"/><Relationship Id="rId34" Type="http://schemas.openxmlformats.org/officeDocument/2006/relationships/tags" Target="../tags/tag474.xml"/><Relationship Id="rId35" Type="http://schemas.openxmlformats.org/officeDocument/2006/relationships/tags" Target="../tags/tag475.xml"/><Relationship Id="rId36" Type="http://schemas.openxmlformats.org/officeDocument/2006/relationships/tags" Target="../tags/tag476.xml"/><Relationship Id="rId10" Type="http://schemas.openxmlformats.org/officeDocument/2006/relationships/tags" Target="../tags/tag450.xml"/><Relationship Id="rId11" Type="http://schemas.openxmlformats.org/officeDocument/2006/relationships/tags" Target="../tags/tag451.xml"/><Relationship Id="rId12" Type="http://schemas.openxmlformats.org/officeDocument/2006/relationships/tags" Target="../tags/tag452.xml"/><Relationship Id="rId13" Type="http://schemas.openxmlformats.org/officeDocument/2006/relationships/tags" Target="../tags/tag453.xml"/><Relationship Id="rId14" Type="http://schemas.openxmlformats.org/officeDocument/2006/relationships/tags" Target="../tags/tag454.xml"/><Relationship Id="rId15" Type="http://schemas.openxmlformats.org/officeDocument/2006/relationships/tags" Target="../tags/tag455.xml"/><Relationship Id="rId16" Type="http://schemas.openxmlformats.org/officeDocument/2006/relationships/tags" Target="../tags/tag456.xml"/><Relationship Id="rId17" Type="http://schemas.openxmlformats.org/officeDocument/2006/relationships/tags" Target="../tags/tag457.xml"/><Relationship Id="rId18" Type="http://schemas.openxmlformats.org/officeDocument/2006/relationships/tags" Target="../tags/tag458.xml"/><Relationship Id="rId19" Type="http://schemas.openxmlformats.org/officeDocument/2006/relationships/tags" Target="../tags/tag459.xml"/><Relationship Id="rId37" Type="http://schemas.openxmlformats.org/officeDocument/2006/relationships/tags" Target="../tags/tag477.xml"/><Relationship Id="rId38" Type="http://schemas.openxmlformats.org/officeDocument/2006/relationships/oleObject" Target="../embeddings/oleObject97.bin"/><Relationship Id="rId3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tags" Target="../tags/tag47.xml"/><Relationship Id="rId20" Type="http://schemas.openxmlformats.org/officeDocument/2006/relationships/tags" Target="../tags/tag58.xml"/><Relationship Id="rId21" Type="http://schemas.openxmlformats.org/officeDocument/2006/relationships/tags" Target="../tags/tag59.xml"/><Relationship Id="rId22" Type="http://schemas.openxmlformats.org/officeDocument/2006/relationships/tags" Target="../tags/tag60.xml"/><Relationship Id="rId23" Type="http://schemas.openxmlformats.org/officeDocument/2006/relationships/tags" Target="../tags/tag61.xml"/><Relationship Id="rId24" Type="http://schemas.openxmlformats.org/officeDocument/2006/relationships/oleObject" Target="../embeddings/oleObject10.bin"/><Relationship Id="rId25" Type="http://schemas.openxmlformats.org/officeDocument/2006/relationships/image" Target="../media/image1.emf"/><Relationship Id="rId10" Type="http://schemas.openxmlformats.org/officeDocument/2006/relationships/tags" Target="../tags/tag48.xml"/><Relationship Id="rId11" Type="http://schemas.openxmlformats.org/officeDocument/2006/relationships/tags" Target="../tags/tag49.xml"/><Relationship Id="rId12" Type="http://schemas.openxmlformats.org/officeDocument/2006/relationships/tags" Target="../tags/tag50.xml"/><Relationship Id="rId13" Type="http://schemas.openxmlformats.org/officeDocument/2006/relationships/tags" Target="../tags/tag51.xml"/><Relationship Id="rId14" Type="http://schemas.openxmlformats.org/officeDocument/2006/relationships/tags" Target="../tags/tag52.xml"/><Relationship Id="rId15" Type="http://schemas.openxmlformats.org/officeDocument/2006/relationships/tags" Target="../tags/tag53.xml"/><Relationship Id="rId16" Type="http://schemas.openxmlformats.org/officeDocument/2006/relationships/tags" Target="../tags/tag54.xml"/><Relationship Id="rId17" Type="http://schemas.openxmlformats.org/officeDocument/2006/relationships/tags" Target="../tags/tag55.xml"/><Relationship Id="rId18" Type="http://schemas.openxmlformats.org/officeDocument/2006/relationships/tags" Target="../tags/tag56.xml"/><Relationship Id="rId19" Type="http://schemas.openxmlformats.org/officeDocument/2006/relationships/tags" Target="../tags/tag57.xml"/><Relationship Id="rId1" Type="http://schemas.openxmlformats.org/officeDocument/2006/relationships/slideLayout" Target="../slideLayouts/slideLayout8.xml"/><Relationship Id="rId2" Type="http://schemas.openxmlformats.org/officeDocument/2006/relationships/slideLayout" Target="../slideLayouts/slideLayout9.xml"/><Relationship Id="rId3" Type="http://schemas.openxmlformats.org/officeDocument/2006/relationships/slideLayout" Target="../slideLayouts/slideLayout10.xml"/><Relationship Id="rId4" Type="http://schemas.openxmlformats.org/officeDocument/2006/relationships/slideLayout" Target="../slideLayouts/slideLayout11.xml"/><Relationship Id="rId5" Type="http://schemas.openxmlformats.org/officeDocument/2006/relationships/theme" Target="../theme/theme3.xml"/><Relationship Id="rId6" Type="http://schemas.openxmlformats.org/officeDocument/2006/relationships/vmlDrawing" Target="../drawings/vmlDrawing10.vml"/><Relationship Id="rId7" Type="http://schemas.openxmlformats.org/officeDocument/2006/relationships/tags" Target="../tags/tag45.xml"/><Relationship Id="rId8" Type="http://schemas.openxmlformats.org/officeDocument/2006/relationships/tags" Target="../tags/tag46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tags" Target="../tags/tag70.xml"/><Relationship Id="rId20" Type="http://schemas.openxmlformats.org/officeDocument/2006/relationships/tags" Target="../tags/tag81.xml"/><Relationship Id="rId21" Type="http://schemas.openxmlformats.org/officeDocument/2006/relationships/tags" Target="../tags/tag82.xml"/><Relationship Id="rId22" Type="http://schemas.openxmlformats.org/officeDocument/2006/relationships/tags" Target="../tags/tag83.xml"/><Relationship Id="rId23" Type="http://schemas.openxmlformats.org/officeDocument/2006/relationships/tags" Target="../tags/tag84.xml"/><Relationship Id="rId24" Type="http://schemas.openxmlformats.org/officeDocument/2006/relationships/oleObject" Target="../embeddings/oleObject15.bin"/><Relationship Id="rId25" Type="http://schemas.openxmlformats.org/officeDocument/2006/relationships/image" Target="../media/image1.emf"/><Relationship Id="rId10" Type="http://schemas.openxmlformats.org/officeDocument/2006/relationships/tags" Target="../tags/tag71.xml"/><Relationship Id="rId11" Type="http://schemas.openxmlformats.org/officeDocument/2006/relationships/tags" Target="../tags/tag72.xml"/><Relationship Id="rId12" Type="http://schemas.openxmlformats.org/officeDocument/2006/relationships/tags" Target="../tags/tag73.xml"/><Relationship Id="rId13" Type="http://schemas.openxmlformats.org/officeDocument/2006/relationships/tags" Target="../tags/tag74.xml"/><Relationship Id="rId14" Type="http://schemas.openxmlformats.org/officeDocument/2006/relationships/tags" Target="../tags/tag75.xml"/><Relationship Id="rId15" Type="http://schemas.openxmlformats.org/officeDocument/2006/relationships/tags" Target="../tags/tag76.xml"/><Relationship Id="rId16" Type="http://schemas.openxmlformats.org/officeDocument/2006/relationships/tags" Target="../tags/tag77.xml"/><Relationship Id="rId17" Type="http://schemas.openxmlformats.org/officeDocument/2006/relationships/tags" Target="../tags/tag78.xml"/><Relationship Id="rId18" Type="http://schemas.openxmlformats.org/officeDocument/2006/relationships/tags" Target="../tags/tag79.xml"/><Relationship Id="rId19" Type="http://schemas.openxmlformats.org/officeDocument/2006/relationships/tags" Target="../tags/tag80.xml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theme" Target="../theme/theme4.xml"/><Relationship Id="rId6" Type="http://schemas.openxmlformats.org/officeDocument/2006/relationships/vmlDrawing" Target="../drawings/vmlDrawing15.vml"/><Relationship Id="rId7" Type="http://schemas.openxmlformats.org/officeDocument/2006/relationships/tags" Target="../tags/tag68.xml"/><Relationship Id="rId8" Type="http://schemas.openxmlformats.org/officeDocument/2006/relationships/tags" Target="../tags/tag69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tags" Target="../tags/tag92.xml"/><Relationship Id="rId20" Type="http://schemas.openxmlformats.org/officeDocument/2006/relationships/tags" Target="../tags/tag103.xml"/><Relationship Id="rId21" Type="http://schemas.openxmlformats.org/officeDocument/2006/relationships/tags" Target="../tags/tag104.xml"/><Relationship Id="rId22" Type="http://schemas.openxmlformats.org/officeDocument/2006/relationships/tags" Target="../tags/tag105.xml"/><Relationship Id="rId23" Type="http://schemas.openxmlformats.org/officeDocument/2006/relationships/oleObject" Target="../embeddings/oleObject20.bin"/><Relationship Id="rId24" Type="http://schemas.openxmlformats.org/officeDocument/2006/relationships/image" Target="../media/image1.emf"/><Relationship Id="rId10" Type="http://schemas.openxmlformats.org/officeDocument/2006/relationships/tags" Target="../tags/tag93.xml"/><Relationship Id="rId11" Type="http://schemas.openxmlformats.org/officeDocument/2006/relationships/tags" Target="../tags/tag94.xml"/><Relationship Id="rId12" Type="http://schemas.openxmlformats.org/officeDocument/2006/relationships/tags" Target="../tags/tag95.xml"/><Relationship Id="rId13" Type="http://schemas.openxmlformats.org/officeDocument/2006/relationships/tags" Target="../tags/tag96.xml"/><Relationship Id="rId14" Type="http://schemas.openxmlformats.org/officeDocument/2006/relationships/tags" Target="../tags/tag97.xml"/><Relationship Id="rId15" Type="http://schemas.openxmlformats.org/officeDocument/2006/relationships/tags" Target="../tags/tag98.xml"/><Relationship Id="rId16" Type="http://schemas.openxmlformats.org/officeDocument/2006/relationships/tags" Target="../tags/tag99.xml"/><Relationship Id="rId17" Type="http://schemas.openxmlformats.org/officeDocument/2006/relationships/tags" Target="../tags/tag100.xml"/><Relationship Id="rId18" Type="http://schemas.openxmlformats.org/officeDocument/2006/relationships/tags" Target="../tags/tag101.xml"/><Relationship Id="rId19" Type="http://schemas.openxmlformats.org/officeDocument/2006/relationships/tags" Target="../tags/tag102.xml"/><Relationship Id="rId1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8.xml"/><Relationship Id="rId4" Type="http://schemas.openxmlformats.org/officeDocument/2006/relationships/theme" Target="../theme/theme5.xml"/><Relationship Id="rId5" Type="http://schemas.openxmlformats.org/officeDocument/2006/relationships/vmlDrawing" Target="../drawings/vmlDrawing20.vml"/><Relationship Id="rId6" Type="http://schemas.openxmlformats.org/officeDocument/2006/relationships/tags" Target="../tags/tag89.xml"/><Relationship Id="rId7" Type="http://schemas.openxmlformats.org/officeDocument/2006/relationships/tags" Target="../tags/tag90.xml"/><Relationship Id="rId8" Type="http://schemas.openxmlformats.org/officeDocument/2006/relationships/tags" Target="../tags/tag91.xml"/></Relationships>
</file>

<file path=ppt/slideMasters/_rels/slideMaster6.xml.rels><?xml version="1.0" encoding="UTF-8" standalone="yes"?>
<Relationships xmlns="http://schemas.openxmlformats.org/package/2006/relationships"><Relationship Id="rId9" Type="http://schemas.openxmlformats.org/officeDocument/2006/relationships/tags" Target="../tags/tag113.xml"/><Relationship Id="rId20" Type="http://schemas.openxmlformats.org/officeDocument/2006/relationships/tags" Target="../tags/tag124.xml"/><Relationship Id="rId21" Type="http://schemas.openxmlformats.org/officeDocument/2006/relationships/tags" Target="../tags/tag125.xml"/><Relationship Id="rId22" Type="http://schemas.openxmlformats.org/officeDocument/2006/relationships/tags" Target="../tags/tag126.xml"/><Relationship Id="rId23" Type="http://schemas.openxmlformats.org/officeDocument/2006/relationships/tags" Target="../tags/tag127.xml"/><Relationship Id="rId24" Type="http://schemas.openxmlformats.org/officeDocument/2006/relationships/oleObject" Target="../embeddings/oleObject24.bin"/><Relationship Id="rId25" Type="http://schemas.openxmlformats.org/officeDocument/2006/relationships/image" Target="../media/image1.emf"/><Relationship Id="rId10" Type="http://schemas.openxmlformats.org/officeDocument/2006/relationships/tags" Target="../tags/tag114.xml"/><Relationship Id="rId11" Type="http://schemas.openxmlformats.org/officeDocument/2006/relationships/tags" Target="../tags/tag115.xml"/><Relationship Id="rId12" Type="http://schemas.openxmlformats.org/officeDocument/2006/relationships/tags" Target="../tags/tag116.xml"/><Relationship Id="rId13" Type="http://schemas.openxmlformats.org/officeDocument/2006/relationships/tags" Target="../tags/tag117.xml"/><Relationship Id="rId14" Type="http://schemas.openxmlformats.org/officeDocument/2006/relationships/tags" Target="../tags/tag118.xml"/><Relationship Id="rId15" Type="http://schemas.openxmlformats.org/officeDocument/2006/relationships/tags" Target="../tags/tag119.xml"/><Relationship Id="rId16" Type="http://schemas.openxmlformats.org/officeDocument/2006/relationships/tags" Target="../tags/tag120.xml"/><Relationship Id="rId17" Type="http://schemas.openxmlformats.org/officeDocument/2006/relationships/tags" Target="../tags/tag121.xml"/><Relationship Id="rId18" Type="http://schemas.openxmlformats.org/officeDocument/2006/relationships/tags" Target="../tags/tag122.xml"/><Relationship Id="rId19" Type="http://schemas.openxmlformats.org/officeDocument/2006/relationships/tags" Target="../tags/tag123.xml"/><Relationship Id="rId1" Type="http://schemas.openxmlformats.org/officeDocument/2006/relationships/slideLayout" Target="../slideLayouts/slideLayout19.xml"/><Relationship Id="rId2" Type="http://schemas.openxmlformats.org/officeDocument/2006/relationships/slideLayout" Target="../slideLayouts/slideLayout20.xml"/><Relationship Id="rId3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2.xml"/><Relationship Id="rId5" Type="http://schemas.openxmlformats.org/officeDocument/2006/relationships/theme" Target="../theme/theme6.xml"/><Relationship Id="rId6" Type="http://schemas.openxmlformats.org/officeDocument/2006/relationships/vmlDrawing" Target="../drawings/vmlDrawing24.vml"/><Relationship Id="rId7" Type="http://schemas.openxmlformats.org/officeDocument/2006/relationships/tags" Target="../tags/tag111.xml"/><Relationship Id="rId8" Type="http://schemas.openxmlformats.org/officeDocument/2006/relationships/tags" Target="../tags/tag112.xml"/></Relationships>
</file>

<file path=ppt/slideMasters/_rels/slideMaster7.xml.rels><?xml version="1.0" encoding="UTF-8" standalone="yes"?>
<Relationships xmlns="http://schemas.openxmlformats.org/package/2006/relationships"><Relationship Id="rId9" Type="http://schemas.openxmlformats.org/officeDocument/2006/relationships/tags" Target="../tags/tag135.xml"/><Relationship Id="rId20" Type="http://schemas.openxmlformats.org/officeDocument/2006/relationships/tags" Target="../tags/tag146.xml"/><Relationship Id="rId21" Type="http://schemas.openxmlformats.org/officeDocument/2006/relationships/tags" Target="../tags/tag147.xml"/><Relationship Id="rId22" Type="http://schemas.openxmlformats.org/officeDocument/2006/relationships/tags" Target="../tags/tag148.xml"/><Relationship Id="rId23" Type="http://schemas.openxmlformats.org/officeDocument/2006/relationships/oleObject" Target="../embeddings/oleObject29.bin"/><Relationship Id="rId24" Type="http://schemas.openxmlformats.org/officeDocument/2006/relationships/image" Target="../media/image1.emf"/><Relationship Id="rId10" Type="http://schemas.openxmlformats.org/officeDocument/2006/relationships/tags" Target="../tags/tag136.xml"/><Relationship Id="rId11" Type="http://schemas.openxmlformats.org/officeDocument/2006/relationships/tags" Target="../tags/tag137.xml"/><Relationship Id="rId12" Type="http://schemas.openxmlformats.org/officeDocument/2006/relationships/tags" Target="../tags/tag138.xml"/><Relationship Id="rId13" Type="http://schemas.openxmlformats.org/officeDocument/2006/relationships/tags" Target="../tags/tag139.xml"/><Relationship Id="rId14" Type="http://schemas.openxmlformats.org/officeDocument/2006/relationships/tags" Target="../tags/tag140.xml"/><Relationship Id="rId15" Type="http://schemas.openxmlformats.org/officeDocument/2006/relationships/tags" Target="../tags/tag141.xml"/><Relationship Id="rId16" Type="http://schemas.openxmlformats.org/officeDocument/2006/relationships/tags" Target="../tags/tag142.xml"/><Relationship Id="rId17" Type="http://schemas.openxmlformats.org/officeDocument/2006/relationships/tags" Target="../tags/tag143.xml"/><Relationship Id="rId18" Type="http://schemas.openxmlformats.org/officeDocument/2006/relationships/tags" Target="../tags/tag144.xml"/><Relationship Id="rId19" Type="http://schemas.openxmlformats.org/officeDocument/2006/relationships/tags" Target="../tags/tag145.xml"/><Relationship Id="rId1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4.xml"/><Relationship Id="rId3" Type="http://schemas.openxmlformats.org/officeDocument/2006/relationships/slideLayout" Target="../slideLayouts/slideLayout25.xml"/><Relationship Id="rId4" Type="http://schemas.openxmlformats.org/officeDocument/2006/relationships/theme" Target="../theme/theme7.xml"/><Relationship Id="rId5" Type="http://schemas.openxmlformats.org/officeDocument/2006/relationships/vmlDrawing" Target="../drawings/vmlDrawing29.vml"/><Relationship Id="rId6" Type="http://schemas.openxmlformats.org/officeDocument/2006/relationships/tags" Target="../tags/tag132.xml"/><Relationship Id="rId7" Type="http://schemas.openxmlformats.org/officeDocument/2006/relationships/tags" Target="../tags/tag133.xml"/><Relationship Id="rId8" Type="http://schemas.openxmlformats.org/officeDocument/2006/relationships/tags" Target="../tags/tag134.xml"/></Relationships>
</file>

<file path=ppt/slideMasters/_rels/slideMaster8.xml.rels><?xml version="1.0" encoding="UTF-8" standalone="yes"?>
<Relationships xmlns="http://schemas.openxmlformats.org/package/2006/relationships"><Relationship Id="rId9" Type="http://schemas.openxmlformats.org/officeDocument/2006/relationships/tags" Target="../tags/tag156.xml"/><Relationship Id="rId20" Type="http://schemas.openxmlformats.org/officeDocument/2006/relationships/tags" Target="../tags/tag167.xml"/><Relationship Id="rId21" Type="http://schemas.openxmlformats.org/officeDocument/2006/relationships/tags" Target="../tags/tag168.xml"/><Relationship Id="rId22" Type="http://schemas.openxmlformats.org/officeDocument/2006/relationships/tags" Target="../tags/tag169.xml"/><Relationship Id="rId23" Type="http://schemas.openxmlformats.org/officeDocument/2006/relationships/tags" Target="../tags/tag170.xml"/><Relationship Id="rId24" Type="http://schemas.openxmlformats.org/officeDocument/2006/relationships/oleObject" Target="../embeddings/oleObject33.bin"/><Relationship Id="rId25" Type="http://schemas.openxmlformats.org/officeDocument/2006/relationships/image" Target="../media/image1.emf"/><Relationship Id="rId10" Type="http://schemas.openxmlformats.org/officeDocument/2006/relationships/tags" Target="../tags/tag157.xml"/><Relationship Id="rId11" Type="http://schemas.openxmlformats.org/officeDocument/2006/relationships/tags" Target="../tags/tag158.xml"/><Relationship Id="rId12" Type="http://schemas.openxmlformats.org/officeDocument/2006/relationships/tags" Target="../tags/tag159.xml"/><Relationship Id="rId13" Type="http://schemas.openxmlformats.org/officeDocument/2006/relationships/tags" Target="../tags/tag160.xml"/><Relationship Id="rId14" Type="http://schemas.openxmlformats.org/officeDocument/2006/relationships/tags" Target="../tags/tag161.xml"/><Relationship Id="rId15" Type="http://schemas.openxmlformats.org/officeDocument/2006/relationships/tags" Target="../tags/tag162.xml"/><Relationship Id="rId16" Type="http://schemas.openxmlformats.org/officeDocument/2006/relationships/tags" Target="../tags/tag163.xml"/><Relationship Id="rId17" Type="http://schemas.openxmlformats.org/officeDocument/2006/relationships/tags" Target="../tags/tag164.xml"/><Relationship Id="rId18" Type="http://schemas.openxmlformats.org/officeDocument/2006/relationships/tags" Target="../tags/tag165.xml"/><Relationship Id="rId19" Type="http://schemas.openxmlformats.org/officeDocument/2006/relationships/tags" Target="../tags/tag166.xml"/><Relationship Id="rId1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9.xml"/><Relationship Id="rId5" Type="http://schemas.openxmlformats.org/officeDocument/2006/relationships/theme" Target="../theme/theme8.xml"/><Relationship Id="rId6" Type="http://schemas.openxmlformats.org/officeDocument/2006/relationships/vmlDrawing" Target="../drawings/vmlDrawing33.vml"/><Relationship Id="rId7" Type="http://schemas.openxmlformats.org/officeDocument/2006/relationships/tags" Target="../tags/tag154.xml"/><Relationship Id="rId8" Type="http://schemas.openxmlformats.org/officeDocument/2006/relationships/tags" Target="../tags/tag155.xml"/></Relationships>
</file>

<file path=ppt/slideMasters/_rels/slideMaster9.xml.rels><?xml version="1.0" encoding="UTF-8" standalone="yes"?>
<Relationships xmlns="http://schemas.openxmlformats.org/package/2006/relationships"><Relationship Id="rId9" Type="http://schemas.openxmlformats.org/officeDocument/2006/relationships/tags" Target="../tags/tag177.xml"/><Relationship Id="rId20" Type="http://schemas.openxmlformats.org/officeDocument/2006/relationships/tags" Target="../tags/tag188.xml"/><Relationship Id="rId21" Type="http://schemas.openxmlformats.org/officeDocument/2006/relationships/tags" Target="../tags/tag189.xml"/><Relationship Id="rId22" Type="http://schemas.openxmlformats.org/officeDocument/2006/relationships/tags" Target="../tags/tag190.xml"/><Relationship Id="rId23" Type="http://schemas.openxmlformats.org/officeDocument/2006/relationships/tags" Target="../tags/tag191.xml"/><Relationship Id="rId24" Type="http://schemas.openxmlformats.org/officeDocument/2006/relationships/oleObject" Target="../embeddings/oleObject38.bin"/><Relationship Id="rId25" Type="http://schemas.openxmlformats.org/officeDocument/2006/relationships/image" Target="../media/image1.emf"/><Relationship Id="rId10" Type="http://schemas.openxmlformats.org/officeDocument/2006/relationships/tags" Target="../tags/tag178.xml"/><Relationship Id="rId11" Type="http://schemas.openxmlformats.org/officeDocument/2006/relationships/tags" Target="../tags/tag179.xml"/><Relationship Id="rId12" Type="http://schemas.openxmlformats.org/officeDocument/2006/relationships/tags" Target="../tags/tag180.xml"/><Relationship Id="rId13" Type="http://schemas.openxmlformats.org/officeDocument/2006/relationships/tags" Target="../tags/tag181.xml"/><Relationship Id="rId14" Type="http://schemas.openxmlformats.org/officeDocument/2006/relationships/tags" Target="../tags/tag182.xml"/><Relationship Id="rId15" Type="http://schemas.openxmlformats.org/officeDocument/2006/relationships/tags" Target="../tags/tag183.xml"/><Relationship Id="rId16" Type="http://schemas.openxmlformats.org/officeDocument/2006/relationships/tags" Target="../tags/tag184.xml"/><Relationship Id="rId17" Type="http://schemas.openxmlformats.org/officeDocument/2006/relationships/tags" Target="../tags/tag185.xml"/><Relationship Id="rId18" Type="http://schemas.openxmlformats.org/officeDocument/2006/relationships/tags" Target="../tags/tag186.xml"/><Relationship Id="rId19" Type="http://schemas.openxmlformats.org/officeDocument/2006/relationships/tags" Target="../tags/tag187.xml"/><Relationship Id="rId1" Type="http://schemas.openxmlformats.org/officeDocument/2006/relationships/slideLayout" Target="../slideLayouts/slideLayout30.xml"/><Relationship Id="rId2" Type="http://schemas.openxmlformats.org/officeDocument/2006/relationships/slideLayout" Target="../slideLayouts/slideLayout31.xml"/><Relationship Id="rId3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3.xml"/><Relationship Id="rId5" Type="http://schemas.openxmlformats.org/officeDocument/2006/relationships/theme" Target="../theme/theme9.xml"/><Relationship Id="rId6" Type="http://schemas.openxmlformats.org/officeDocument/2006/relationships/vmlDrawing" Target="../drawings/vmlDrawing38.vml"/><Relationship Id="rId7" Type="http://schemas.openxmlformats.org/officeDocument/2006/relationships/tags" Target="../tags/tag175.xml"/><Relationship Id="rId8" Type="http://schemas.openxmlformats.org/officeDocument/2006/relationships/tags" Target="../tags/tag17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970365452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15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9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6" r:id="rId3"/>
    <p:sldLayoutId id="2147483701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66103955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07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9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96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29603467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21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9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457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52036809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35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9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218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49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9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229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71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9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8796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90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9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6471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16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9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463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28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9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22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763036694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647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9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145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839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9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853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39440010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722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3556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563944559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aphicFrame>
        <p:nvGraphicFramePr>
          <p:cNvPr id="62" name="Object 6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025583101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2" imgW="270" imgH="270" progId="TCLayout.ActiveDocument.1">
                  <p:embed/>
                </p:oleObj>
              </mc:Choice>
              <mc:Fallback>
                <p:oleObj name="think-cell Slide" r:id="rId4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tangle 62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4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65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66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6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9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7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7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8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90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08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9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1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06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7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2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04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5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3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02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3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4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00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1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9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11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1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63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345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9" y="1951380"/>
            <a:ext cx="3602114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0838127" y="431800"/>
            <a:ext cx="763755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530319" y="431800"/>
            <a:ext cx="1071563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771452" y="403225"/>
            <a:ext cx="83043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26668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94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3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9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67698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76273586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12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9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00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25583101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286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9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5208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17" r:id="rId2"/>
    <p:sldLayoutId id="214748371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43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9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177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611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9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2045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82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9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935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33629373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97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9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2643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74.xml"/><Relationship Id="rId12" Type="http://schemas.openxmlformats.org/officeDocument/2006/relationships/notesSlide" Target="../notesSlides/notesSlide1.xml"/><Relationship Id="rId13" Type="http://schemas.openxmlformats.org/officeDocument/2006/relationships/oleObject" Target="../embeddings/oleObject99.bin"/><Relationship Id="rId14" Type="http://schemas.openxmlformats.org/officeDocument/2006/relationships/image" Target="../media/image15.emf"/><Relationship Id="rId1" Type="http://schemas.openxmlformats.org/officeDocument/2006/relationships/vmlDrawing" Target="../drawings/vmlDrawing98.vml"/><Relationship Id="rId2" Type="http://schemas.openxmlformats.org/officeDocument/2006/relationships/tags" Target="../tags/tag481.xml"/><Relationship Id="rId3" Type="http://schemas.openxmlformats.org/officeDocument/2006/relationships/tags" Target="../tags/tag482.xml"/><Relationship Id="rId4" Type="http://schemas.openxmlformats.org/officeDocument/2006/relationships/tags" Target="../tags/tag483.xml"/><Relationship Id="rId5" Type="http://schemas.openxmlformats.org/officeDocument/2006/relationships/tags" Target="../tags/tag484.xml"/><Relationship Id="rId6" Type="http://schemas.openxmlformats.org/officeDocument/2006/relationships/tags" Target="../tags/tag485.xml"/><Relationship Id="rId7" Type="http://schemas.openxmlformats.org/officeDocument/2006/relationships/tags" Target="../tags/tag486.xml"/><Relationship Id="rId8" Type="http://schemas.openxmlformats.org/officeDocument/2006/relationships/tags" Target="../tags/tag487.xml"/><Relationship Id="rId9" Type="http://schemas.openxmlformats.org/officeDocument/2006/relationships/tags" Target="../tags/tag488.xml"/><Relationship Id="rId10" Type="http://schemas.openxmlformats.org/officeDocument/2006/relationships/tags" Target="../tags/tag48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91.xml"/><Relationship Id="rId4" Type="http://schemas.openxmlformats.org/officeDocument/2006/relationships/tags" Target="../tags/tag492.xml"/><Relationship Id="rId5" Type="http://schemas.openxmlformats.org/officeDocument/2006/relationships/tags" Target="../tags/tag493.xml"/><Relationship Id="rId6" Type="http://schemas.openxmlformats.org/officeDocument/2006/relationships/tags" Target="../tags/tag494.xml"/><Relationship Id="rId7" Type="http://schemas.openxmlformats.org/officeDocument/2006/relationships/tags" Target="../tags/tag495.xml"/><Relationship Id="rId8" Type="http://schemas.openxmlformats.org/officeDocument/2006/relationships/slideLayout" Target="../slideLayouts/slideLayout74.xml"/><Relationship Id="rId9" Type="http://schemas.openxmlformats.org/officeDocument/2006/relationships/oleObject" Target="../embeddings/oleObject100.bin"/><Relationship Id="rId10" Type="http://schemas.openxmlformats.org/officeDocument/2006/relationships/image" Target="../media/image16.emf"/><Relationship Id="rId1" Type="http://schemas.openxmlformats.org/officeDocument/2006/relationships/vmlDrawing" Target="../drawings/vmlDrawing99.vml"/><Relationship Id="rId2" Type="http://schemas.openxmlformats.org/officeDocument/2006/relationships/tags" Target="../tags/tag490.xml"/></Relationships>
</file>

<file path=ppt/slides/_rels/slide3.xml.rels><?xml version="1.0" encoding="UTF-8" standalone="yes"?>
<Relationships xmlns="http://schemas.openxmlformats.org/package/2006/relationships"><Relationship Id="rId9" Type="http://schemas.openxmlformats.org/officeDocument/2006/relationships/tags" Target="../tags/tag503.xml"/><Relationship Id="rId20" Type="http://schemas.openxmlformats.org/officeDocument/2006/relationships/oleObject" Target="../embeddings/oleObject101.bin"/><Relationship Id="rId21" Type="http://schemas.openxmlformats.org/officeDocument/2006/relationships/image" Target="../media/image17.emf"/><Relationship Id="rId10" Type="http://schemas.openxmlformats.org/officeDocument/2006/relationships/tags" Target="../tags/tag504.xml"/><Relationship Id="rId11" Type="http://schemas.openxmlformats.org/officeDocument/2006/relationships/tags" Target="../tags/tag505.xml"/><Relationship Id="rId12" Type="http://schemas.openxmlformats.org/officeDocument/2006/relationships/tags" Target="../tags/tag506.xml"/><Relationship Id="rId13" Type="http://schemas.openxmlformats.org/officeDocument/2006/relationships/tags" Target="../tags/tag507.xml"/><Relationship Id="rId14" Type="http://schemas.openxmlformats.org/officeDocument/2006/relationships/tags" Target="../tags/tag508.xml"/><Relationship Id="rId15" Type="http://schemas.openxmlformats.org/officeDocument/2006/relationships/tags" Target="../tags/tag509.xml"/><Relationship Id="rId16" Type="http://schemas.openxmlformats.org/officeDocument/2006/relationships/tags" Target="../tags/tag510.xml"/><Relationship Id="rId17" Type="http://schemas.openxmlformats.org/officeDocument/2006/relationships/tags" Target="../tags/tag511.xml"/><Relationship Id="rId18" Type="http://schemas.openxmlformats.org/officeDocument/2006/relationships/tags" Target="../tags/tag512.xml"/><Relationship Id="rId19" Type="http://schemas.openxmlformats.org/officeDocument/2006/relationships/slideLayout" Target="../slideLayouts/slideLayout74.xml"/><Relationship Id="rId1" Type="http://schemas.openxmlformats.org/officeDocument/2006/relationships/vmlDrawing" Target="../drawings/vmlDrawing100.vml"/><Relationship Id="rId2" Type="http://schemas.openxmlformats.org/officeDocument/2006/relationships/tags" Target="../tags/tag496.xml"/><Relationship Id="rId3" Type="http://schemas.openxmlformats.org/officeDocument/2006/relationships/tags" Target="../tags/tag497.xml"/><Relationship Id="rId4" Type="http://schemas.openxmlformats.org/officeDocument/2006/relationships/tags" Target="../tags/tag498.xml"/><Relationship Id="rId5" Type="http://schemas.openxmlformats.org/officeDocument/2006/relationships/tags" Target="../tags/tag499.xml"/><Relationship Id="rId6" Type="http://schemas.openxmlformats.org/officeDocument/2006/relationships/tags" Target="../tags/tag500.xml"/><Relationship Id="rId7" Type="http://schemas.openxmlformats.org/officeDocument/2006/relationships/tags" Target="../tags/tag501.xml"/><Relationship Id="rId8" Type="http://schemas.openxmlformats.org/officeDocument/2006/relationships/tags" Target="../tags/tag50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4.xml"/><Relationship Id="rId4" Type="http://schemas.openxmlformats.org/officeDocument/2006/relationships/notesSlide" Target="../notesSlides/notesSlide2.xml"/><Relationship Id="rId5" Type="http://schemas.openxmlformats.org/officeDocument/2006/relationships/oleObject" Target="../embeddings/oleObject102.bin"/><Relationship Id="rId1" Type="http://schemas.openxmlformats.org/officeDocument/2006/relationships/vmlDrawing" Target="../drawings/vmlDrawing101.vml"/><Relationship Id="rId2" Type="http://schemas.openxmlformats.org/officeDocument/2006/relationships/tags" Target="../tags/tag513.xml"/></Relationships>
</file>

<file path=ppt/slides/_rels/slide5.xml.rels><?xml version="1.0" encoding="UTF-8" standalone="yes"?>
<Relationships xmlns="http://schemas.openxmlformats.org/package/2006/relationships"><Relationship Id="rId20" Type="http://schemas.openxmlformats.org/officeDocument/2006/relationships/tags" Target="../tags/tag532.xml"/><Relationship Id="rId21" Type="http://schemas.openxmlformats.org/officeDocument/2006/relationships/tags" Target="../tags/tag533.xml"/><Relationship Id="rId22" Type="http://schemas.openxmlformats.org/officeDocument/2006/relationships/tags" Target="../tags/tag534.xml"/><Relationship Id="rId23" Type="http://schemas.openxmlformats.org/officeDocument/2006/relationships/tags" Target="../tags/tag535.xml"/><Relationship Id="rId24" Type="http://schemas.openxmlformats.org/officeDocument/2006/relationships/tags" Target="../tags/tag536.xml"/><Relationship Id="rId25" Type="http://schemas.openxmlformats.org/officeDocument/2006/relationships/tags" Target="../tags/tag537.xml"/><Relationship Id="rId26" Type="http://schemas.openxmlformats.org/officeDocument/2006/relationships/tags" Target="../tags/tag538.xml"/><Relationship Id="rId27" Type="http://schemas.openxmlformats.org/officeDocument/2006/relationships/tags" Target="../tags/tag539.xml"/><Relationship Id="rId28" Type="http://schemas.openxmlformats.org/officeDocument/2006/relationships/tags" Target="../tags/tag540.xml"/><Relationship Id="rId29" Type="http://schemas.openxmlformats.org/officeDocument/2006/relationships/tags" Target="../tags/tag541.xml"/><Relationship Id="rId1" Type="http://schemas.openxmlformats.org/officeDocument/2006/relationships/vmlDrawing" Target="../drawings/vmlDrawing102.vml"/><Relationship Id="rId2" Type="http://schemas.openxmlformats.org/officeDocument/2006/relationships/tags" Target="../tags/tag514.xml"/><Relationship Id="rId3" Type="http://schemas.openxmlformats.org/officeDocument/2006/relationships/tags" Target="../tags/tag515.xml"/><Relationship Id="rId4" Type="http://schemas.openxmlformats.org/officeDocument/2006/relationships/tags" Target="../tags/tag516.xml"/><Relationship Id="rId5" Type="http://schemas.openxmlformats.org/officeDocument/2006/relationships/tags" Target="../tags/tag517.xml"/><Relationship Id="rId30" Type="http://schemas.openxmlformats.org/officeDocument/2006/relationships/tags" Target="../tags/tag542.xml"/><Relationship Id="rId31" Type="http://schemas.openxmlformats.org/officeDocument/2006/relationships/tags" Target="../tags/tag543.xml"/><Relationship Id="rId32" Type="http://schemas.openxmlformats.org/officeDocument/2006/relationships/tags" Target="../tags/tag544.xml"/><Relationship Id="rId9" Type="http://schemas.openxmlformats.org/officeDocument/2006/relationships/tags" Target="../tags/tag521.xml"/><Relationship Id="rId6" Type="http://schemas.openxmlformats.org/officeDocument/2006/relationships/tags" Target="../tags/tag518.xml"/><Relationship Id="rId7" Type="http://schemas.openxmlformats.org/officeDocument/2006/relationships/tags" Target="../tags/tag519.xml"/><Relationship Id="rId8" Type="http://schemas.openxmlformats.org/officeDocument/2006/relationships/tags" Target="../tags/tag520.xml"/><Relationship Id="rId33" Type="http://schemas.openxmlformats.org/officeDocument/2006/relationships/tags" Target="../tags/tag545.xml"/><Relationship Id="rId34" Type="http://schemas.openxmlformats.org/officeDocument/2006/relationships/tags" Target="../tags/tag546.xml"/><Relationship Id="rId35" Type="http://schemas.openxmlformats.org/officeDocument/2006/relationships/tags" Target="../tags/tag547.xml"/><Relationship Id="rId36" Type="http://schemas.openxmlformats.org/officeDocument/2006/relationships/tags" Target="../tags/tag548.xml"/><Relationship Id="rId10" Type="http://schemas.openxmlformats.org/officeDocument/2006/relationships/tags" Target="../tags/tag522.xml"/><Relationship Id="rId11" Type="http://schemas.openxmlformats.org/officeDocument/2006/relationships/tags" Target="../tags/tag523.xml"/><Relationship Id="rId12" Type="http://schemas.openxmlformats.org/officeDocument/2006/relationships/tags" Target="../tags/tag524.xml"/><Relationship Id="rId13" Type="http://schemas.openxmlformats.org/officeDocument/2006/relationships/tags" Target="../tags/tag525.xml"/><Relationship Id="rId14" Type="http://schemas.openxmlformats.org/officeDocument/2006/relationships/tags" Target="../tags/tag526.xml"/><Relationship Id="rId15" Type="http://schemas.openxmlformats.org/officeDocument/2006/relationships/tags" Target="../tags/tag527.xml"/><Relationship Id="rId16" Type="http://schemas.openxmlformats.org/officeDocument/2006/relationships/tags" Target="../tags/tag528.xml"/><Relationship Id="rId17" Type="http://schemas.openxmlformats.org/officeDocument/2006/relationships/tags" Target="../tags/tag529.xml"/><Relationship Id="rId18" Type="http://schemas.openxmlformats.org/officeDocument/2006/relationships/tags" Target="../tags/tag530.xml"/><Relationship Id="rId19" Type="http://schemas.openxmlformats.org/officeDocument/2006/relationships/tags" Target="../tags/tag531.xml"/><Relationship Id="rId37" Type="http://schemas.openxmlformats.org/officeDocument/2006/relationships/tags" Target="../tags/tag549.xml"/><Relationship Id="rId38" Type="http://schemas.openxmlformats.org/officeDocument/2006/relationships/tags" Target="../tags/tag550.xml"/><Relationship Id="rId39" Type="http://schemas.openxmlformats.org/officeDocument/2006/relationships/tags" Target="../tags/tag551.xml"/><Relationship Id="rId40" Type="http://schemas.openxmlformats.org/officeDocument/2006/relationships/slideLayout" Target="../slideLayouts/slideLayout74.xml"/><Relationship Id="rId41" Type="http://schemas.openxmlformats.org/officeDocument/2006/relationships/notesSlide" Target="../notesSlides/notesSlide3.xml"/><Relationship Id="rId42" Type="http://schemas.openxmlformats.org/officeDocument/2006/relationships/oleObject" Target="../embeddings/oleObject103.bin"/><Relationship Id="rId43" Type="http://schemas.openxmlformats.org/officeDocument/2006/relationships/image" Target="../media/image17.emf"/><Relationship Id="rId44" Type="http://schemas.openxmlformats.org/officeDocument/2006/relationships/chart" Target="../charts/chart1.xml"/><Relationship Id="rId45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553.xml"/><Relationship Id="rId4" Type="http://schemas.openxmlformats.org/officeDocument/2006/relationships/slideLayout" Target="../slideLayouts/slideLayout74.xml"/><Relationship Id="rId5" Type="http://schemas.openxmlformats.org/officeDocument/2006/relationships/notesSlide" Target="../notesSlides/notesSlide4.xml"/><Relationship Id="rId6" Type="http://schemas.openxmlformats.org/officeDocument/2006/relationships/oleObject" Target="../embeddings/oleObject104.bin"/><Relationship Id="rId7" Type="http://schemas.openxmlformats.org/officeDocument/2006/relationships/image" Target="../media/image17.emf"/><Relationship Id="rId8" Type="http://schemas.openxmlformats.org/officeDocument/2006/relationships/image" Target="../media/image18.jpg"/><Relationship Id="rId9" Type="http://schemas.openxmlformats.org/officeDocument/2006/relationships/image" Target="../media/image19.jpeg"/><Relationship Id="rId10" Type="http://schemas.openxmlformats.org/officeDocument/2006/relationships/image" Target="../media/image20.jpeg"/><Relationship Id="rId11" Type="http://schemas.openxmlformats.org/officeDocument/2006/relationships/image" Target="../media/image21.jpeg"/><Relationship Id="rId1" Type="http://schemas.openxmlformats.org/officeDocument/2006/relationships/vmlDrawing" Target="../drawings/vmlDrawing103.vml"/><Relationship Id="rId2" Type="http://schemas.openxmlformats.org/officeDocument/2006/relationships/tags" Target="../tags/tag55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9810" name="Objec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07035201"/>
              </p:ext>
            </p:extLst>
          </p:nvPr>
        </p:nvGraphicFramePr>
        <p:xfrm>
          <a:off x="1493837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9159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493837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9811" name="Rectangle 3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/>
            <a:endParaRPr lang="en-US" sz="24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4" name="Rectangle 11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altLang="de-DE" dirty="0">
                <a:latin typeface="+mn-lt"/>
              </a:rPr>
              <a:t>Growth based RTS approach</a:t>
            </a:r>
          </a:p>
        </p:txBody>
      </p:sp>
      <p:sp>
        <p:nvSpPr>
          <p:cNvPr id="4" name="TextBox 3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7628813" y="1339754"/>
            <a:ext cx="3900314" cy="271824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228600" lvl="1" indent="-225425">
              <a:spcBef>
                <a:spcPct val="24000"/>
              </a:spcBef>
              <a:buSzPct val="100000"/>
              <a:buFont typeface="+mj-lt"/>
              <a:buAutoNum type="arabicPeriod"/>
            </a:pPr>
            <a:r>
              <a:rPr lang="en-US" sz="1200" b="1" dirty="0" smtClean="0">
                <a:solidFill>
                  <a:schemeClr val="accent4"/>
                </a:solidFill>
              </a:rPr>
              <a:t>Bottom line impact: </a:t>
            </a:r>
            <a:r>
              <a:rPr lang="en-US" sz="1200" dirty="0" smtClean="0"/>
              <a:t>Identified potential of </a:t>
            </a:r>
            <a:r>
              <a:rPr lang="en-US" sz="1200" b="1" dirty="0" smtClean="0">
                <a:solidFill>
                  <a:schemeClr val="accent4"/>
                </a:solidFill>
              </a:rPr>
              <a:t>~$120M EBITDA </a:t>
            </a:r>
            <a:r>
              <a:rPr lang="en-US" sz="1200" dirty="0" smtClean="0"/>
              <a:t>(110% increase over baseline) across commercial levers. Demonstrated impact in key accounts through “Rapid Prototyping” approach</a:t>
            </a:r>
          </a:p>
          <a:p>
            <a:pPr marL="228600" lvl="1" indent="-225425">
              <a:spcBef>
                <a:spcPct val="24000"/>
              </a:spcBef>
              <a:buSzPct val="100000"/>
              <a:buFont typeface="+mj-lt"/>
              <a:buAutoNum type="arabicPeriod"/>
            </a:pPr>
            <a:r>
              <a:rPr lang="en-US" sz="1200" b="1" dirty="0" smtClean="0">
                <a:solidFill>
                  <a:schemeClr val="accent4"/>
                </a:solidFill>
              </a:rPr>
              <a:t>Speed: </a:t>
            </a:r>
            <a:r>
              <a:rPr lang="en-US" sz="1200" dirty="0" smtClean="0"/>
              <a:t>Combine ‘</a:t>
            </a:r>
            <a:r>
              <a:rPr lang="en-US" sz="1200" b="1" dirty="0" smtClean="0">
                <a:solidFill>
                  <a:schemeClr val="accent4"/>
                </a:solidFill>
              </a:rPr>
              <a:t>Academy</a:t>
            </a:r>
            <a:r>
              <a:rPr lang="en-US" sz="1200" dirty="0" smtClean="0"/>
              <a:t>’ approach with </a:t>
            </a:r>
            <a:r>
              <a:rPr lang="en-US" sz="1200" b="1" dirty="0" smtClean="0">
                <a:solidFill>
                  <a:schemeClr val="accent4"/>
                </a:solidFill>
              </a:rPr>
              <a:t>‘RTS’ recipe </a:t>
            </a:r>
            <a:r>
              <a:rPr lang="en-US" sz="1200" dirty="0" smtClean="0"/>
              <a:t>to</a:t>
            </a:r>
            <a:r>
              <a:rPr lang="en-US" sz="1200" b="1" dirty="0" smtClean="0">
                <a:solidFill>
                  <a:schemeClr val="accent4"/>
                </a:solidFill>
              </a:rPr>
              <a:t> </a:t>
            </a:r>
            <a:r>
              <a:rPr lang="en-US" sz="1200" dirty="0" smtClean="0"/>
              <a:t>complete diagnostic, idea creation, design process changes, rapid prototyping and scale-up </a:t>
            </a:r>
            <a:r>
              <a:rPr lang="en-US" sz="1200" b="1" dirty="0" smtClean="0">
                <a:solidFill>
                  <a:schemeClr val="accent4"/>
                </a:solidFill>
              </a:rPr>
              <a:t>within 6 weeks of starting the program </a:t>
            </a:r>
            <a:r>
              <a:rPr lang="en-US" sz="1200" dirty="0" smtClean="0"/>
              <a:t>(50% faster !)</a:t>
            </a:r>
          </a:p>
          <a:p>
            <a:pPr marL="228600" lvl="1" indent="-225425">
              <a:spcBef>
                <a:spcPct val="24000"/>
              </a:spcBef>
              <a:buSzPct val="100000"/>
              <a:buFont typeface="+mj-lt"/>
              <a:buAutoNum type="arabicPeriod"/>
            </a:pPr>
            <a:r>
              <a:rPr lang="en-US" sz="1200" b="1" dirty="0" smtClean="0">
                <a:solidFill>
                  <a:schemeClr val="accent4"/>
                </a:solidFill>
              </a:rPr>
              <a:t>Mindset: </a:t>
            </a:r>
            <a:r>
              <a:rPr lang="en-US" sz="1200" dirty="0" smtClean="0"/>
              <a:t>From “volume” to “value creation. </a:t>
            </a:r>
          </a:p>
          <a:p>
            <a:pPr marL="228600" lvl="1" indent="-225425">
              <a:spcBef>
                <a:spcPct val="24000"/>
              </a:spcBef>
              <a:buSzPct val="100000"/>
              <a:buFont typeface="+mj-lt"/>
              <a:buAutoNum type="arabicPeriod"/>
            </a:pPr>
            <a:r>
              <a:rPr lang="en-US" sz="1200" b="1" dirty="0" smtClean="0">
                <a:solidFill>
                  <a:schemeClr val="accent4"/>
                </a:solidFill>
              </a:rPr>
              <a:t>New commercial capabilities: Academy for ‘Vertical Sales teams’ </a:t>
            </a:r>
            <a:r>
              <a:rPr lang="en-US" sz="1200" dirty="0" smtClean="0"/>
              <a:t>– sales, technical sales, production and logistics. Embedded</a:t>
            </a:r>
            <a:r>
              <a:rPr lang="en-US" sz="1200" b="1" dirty="0" smtClean="0">
                <a:solidFill>
                  <a:schemeClr val="accent4"/>
                </a:solidFill>
              </a:rPr>
              <a:t> digital tools </a:t>
            </a:r>
            <a:r>
              <a:rPr lang="en-US" sz="1200" dirty="0" smtClean="0"/>
              <a:t>and </a:t>
            </a:r>
            <a:r>
              <a:rPr lang="en-US" sz="1200" b="1" dirty="0" smtClean="0">
                <a:solidFill>
                  <a:schemeClr val="accent4"/>
                </a:solidFill>
              </a:rPr>
              <a:t>new commercial processes </a:t>
            </a:r>
            <a:r>
              <a:rPr lang="en-US" sz="1200" dirty="0" smtClean="0"/>
              <a:t>(e.g., pricing, S&amp;OP)</a:t>
            </a:r>
            <a:endParaRPr lang="en-US" sz="1200" dirty="0"/>
          </a:p>
        </p:txBody>
      </p:sp>
      <p:sp>
        <p:nvSpPr>
          <p:cNvPr id="6" name="TextBox 5"/>
          <p:cNvSpPr txBox="1"/>
          <p:nvPr>
            <p:custDataLst>
              <p:tags r:id="rId7"/>
            </p:custDataLst>
          </p:nvPr>
        </p:nvSpPr>
        <p:spPr>
          <a:xfrm>
            <a:off x="3581400" y="1342893"/>
            <a:ext cx="3314193" cy="369331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200" b="1" dirty="0" smtClean="0">
                <a:solidFill>
                  <a:schemeClr val="accent4"/>
                </a:solidFill>
              </a:rPr>
              <a:t>Tailoried RTS recipe</a:t>
            </a:r>
            <a:r>
              <a:rPr lang="en-US" sz="1200" dirty="0" smtClean="0"/>
              <a:t> to deliver rapid Sales acceleration and growth</a:t>
            </a:r>
          </a:p>
          <a:p>
            <a:pPr lvl="1">
              <a:spcBef>
                <a:spcPct val="50000"/>
              </a:spcBef>
            </a:pPr>
            <a:r>
              <a:rPr lang="en-US" sz="1200" dirty="0" smtClean="0"/>
              <a:t>Developed </a:t>
            </a:r>
            <a:r>
              <a:rPr lang="en-US" sz="1200" b="1" dirty="0" smtClean="0">
                <a:solidFill>
                  <a:schemeClr val="accent4"/>
                </a:solidFill>
              </a:rPr>
              <a:t>detailed sales playbook </a:t>
            </a:r>
            <a:r>
              <a:rPr lang="en-US" sz="1200" dirty="0" smtClean="0"/>
              <a:t>to deploy the VIP approach to customer engagement</a:t>
            </a:r>
          </a:p>
          <a:p>
            <a:pPr lvl="1">
              <a:spcBef>
                <a:spcPct val="50000"/>
              </a:spcBef>
            </a:pPr>
            <a:r>
              <a:rPr lang="en-US" sz="1200" b="1" dirty="0" smtClean="0">
                <a:solidFill>
                  <a:schemeClr val="accent4"/>
                </a:solidFill>
              </a:rPr>
              <a:t>Vertical sales teams formed under VIP </a:t>
            </a:r>
            <a:r>
              <a:rPr lang="en-US" sz="1200" dirty="0" smtClean="0"/>
              <a:t>(value improvement) program with cross functional sales, technical, manufacturing and logistic. VIP teams work with key accounts to focus on ‘Value’ versus ‘Volume’</a:t>
            </a:r>
          </a:p>
          <a:p>
            <a:pPr lvl="1">
              <a:spcBef>
                <a:spcPct val="50000"/>
              </a:spcBef>
            </a:pPr>
            <a:r>
              <a:rPr lang="en-US" sz="1200" b="1" dirty="0" smtClean="0">
                <a:solidFill>
                  <a:schemeClr val="accent4"/>
                </a:solidFill>
              </a:rPr>
              <a:t>Implemented significant process changes</a:t>
            </a:r>
            <a:r>
              <a:rPr lang="en-US" sz="1200" dirty="0" smtClean="0"/>
              <a:t> across price setting and approval, S&amp;OP management and demand planning</a:t>
            </a:r>
          </a:p>
          <a:p>
            <a:pPr lvl="1">
              <a:spcBef>
                <a:spcPct val="50000"/>
              </a:spcBef>
            </a:pPr>
            <a:r>
              <a:rPr lang="en-US" sz="1200" dirty="0" smtClean="0"/>
              <a:t>Conducted </a:t>
            </a:r>
            <a:r>
              <a:rPr lang="en-US" sz="1200" b="1" dirty="0" smtClean="0">
                <a:solidFill>
                  <a:schemeClr val="accent4"/>
                </a:solidFill>
              </a:rPr>
              <a:t>growth academy in McKinsey Capability Centre </a:t>
            </a:r>
            <a:r>
              <a:rPr lang="en-US" sz="1200" dirty="0" smtClean="0"/>
              <a:t>involving cross functional teams (sales, plant, engineers and S&amp;OP) to simulate the VIP approach with </a:t>
            </a:r>
            <a:r>
              <a:rPr lang="en-US" sz="1200" b="1" dirty="0" smtClean="0">
                <a:solidFill>
                  <a:schemeClr val="accent4"/>
                </a:solidFill>
              </a:rPr>
              <a:t>trained senior client personnel as ‘Coaches’ </a:t>
            </a:r>
            <a:endParaRPr lang="en-US" sz="1200" b="1" dirty="0">
              <a:solidFill>
                <a:schemeClr val="accent4"/>
              </a:solidFill>
            </a:endParaRPr>
          </a:p>
        </p:txBody>
      </p:sp>
      <p:sp>
        <p:nvSpPr>
          <p:cNvPr id="8" name="TextBox 7"/>
          <p:cNvSpPr txBox="1"/>
          <p:nvPr>
            <p:custDataLst>
              <p:tags r:id="rId8"/>
            </p:custDataLst>
          </p:nvPr>
        </p:nvSpPr>
        <p:spPr>
          <a:xfrm>
            <a:off x="306386" y="1339754"/>
            <a:ext cx="2856020" cy="360098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200" b="1" dirty="0" smtClean="0">
                <a:solidFill>
                  <a:schemeClr val="accent4"/>
                </a:solidFill>
              </a:rPr>
              <a:t>Growth based RTS program </a:t>
            </a:r>
            <a:r>
              <a:rPr lang="en-US" sz="1200" dirty="0" smtClean="0"/>
              <a:t>– strategy design to implementation in six weeks. Combine the best of </a:t>
            </a:r>
            <a:r>
              <a:rPr lang="en-US" sz="1200" b="1" dirty="0" smtClean="0">
                <a:solidFill>
                  <a:schemeClr val="accent4"/>
                </a:solidFill>
              </a:rPr>
              <a:t>Transformation Office (TO) </a:t>
            </a:r>
            <a:r>
              <a:rPr lang="en-US" sz="1200" dirty="0" smtClean="0"/>
              <a:t>and </a:t>
            </a:r>
            <a:r>
              <a:rPr lang="en-US" sz="1200" b="1" dirty="0" smtClean="0">
                <a:solidFill>
                  <a:schemeClr val="accent4"/>
                </a:solidFill>
              </a:rPr>
              <a:t>Sales Academy </a:t>
            </a:r>
            <a:r>
              <a:rPr lang="en-US" sz="1200" dirty="0" smtClean="0"/>
              <a:t>approach to </a:t>
            </a:r>
            <a:r>
              <a:rPr lang="en-US" sz="1200" b="1" dirty="0" smtClean="0">
                <a:solidFill>
                  <a:schemeClr val="accent4"/>
                </a:solidFill>
              </a:rPr>
              <a:t>accelerate impact</a:t>
            </a:r>
          </a:p>
          <a:p>
            <a:pPr lvl="1">
              <a:spcBef>
                <a:spcPct val="50000"/>
              </a:spcBef>
            </a:pPr>
            <a:r>
              <a:rPr lang="en-US" sz="1200" b="1" dirty="0" smtClean="0">
                <a:solidFill>
                  <a:schemeClr val="accent4"/>
                </a:solidFill>
              </a:rPr>
              <a:t>New disruptive Vertical sales (VIP) approach </a:t>
            </a:r>
            <a:r>
              <a:rPr lang="en-US" sz="1200" dirty="0" smtClean="0"/>
              <a:t>– sales, technical engineers, plant members team up to enable value selling to key accounts </a:t>
            </a:r>
          </a:p>
          <a:p>
            <a:pPr lvl="1">
              <a:spcBef>
                <a:spcPct val="50000"/>
              </a:spcBef>
            </a:pPr>
            <a:r>
              <a:rPr lang="en-US" sz="1200" b="1" dirty="0" smtClean="0">
                <a:solidFill>
                  <a:schemeClr val="accent4"/>
                </a:solidFill>
              </a:rPr>
              <a:t>Segmented approach to enable prioritization of key accounts </a:t>
            </a:r>
            <a:r>
              <a:rPr lang="en-US" sz="1200" dirty="0" smtClean="0"/>
              <a:t>and optimize resource allocation and service levels</a:t>
            </a:r>
          </a:p>
          <a:p>
            <a:pPr lvl="1">
              <a:spcBef>
                <a:spcPct val="50000"/>
              </a:spcBef>
            </a:pPr>
            <a:r>
              <a:rPr lang="en-US" sz="1200" b="1" dirty="0" smtClean="0">
                <a:solidFill>
                  <a:schemeClr val="accent4"/>
                </a:solidFill>
              </a:rPr>
              <a:t>Brand building in B2B </a:t>
            </a:r>
            <a:r>
              <a:rPr lang="en-US" sz="1200" dirty="0" smtClean="0"/>
              <a:t>– Enabled best in class service on points of parity and points of distinction vis-à-vis next best alternative</a:t>
            </a:r>
            <a:endParaRPr lang="en-US" sz="1200" dirty="0"/>
          </a:p>
        </p:txBody>
      </p:sp>
      <p:sp>
        <p:nvSpPr>
          <p:cNvPr id="10" name="TextBox 9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7628813" y="4657332"/>
            <a:ext cx="4284822" cy="59830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24000"/>
              </a:spcBef>
              <a:buClr>
                <a:schemeClr val="bg1"/>
              </a:buClr>
            </a:pPr>
            <a:r>
              <a:rPr lang="en-US" sz="1200" dirty="0" smtClean="0"/>
              <a:t>End-to-end rapid growth transformation including strategy development and implementation for distressed clients </a:t>
            </a:r>
          </a:p>
          <a:p>
            <a:pPr lvl="1">
              <a:spcBef>
                <a:spcPct val="24000"/>
              </a:spcBef>
              <a:buClr>
                <a:schemeClr val="bg1"/>
              </a:buClr>
            </a:pPr>
            <a:r>
              <a:rPr lang="en-US" sz="1200" dirty="0" smtClean="0"/>
              <a:t>CXOs targeting rapid turn-around of B2B companies </a:t>
            </a:r>
            <a:endParaRPr lang="en-US" sz="1200" dirty="0"/>
          </a:p>
        </p:txBody>
      </p:sp>
      <p:sp>
        <p:nvSpPr>
          <p:cNvPr id="12" name="TextBox 11"/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7628813" y="4326138"/>
            <a:ext cx="4284822" cy="26136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200" b="1" dirty="0" smtClean="0"/>
              <a:t>Where is impact opportunity …</a:t>
            </a:r>
            <a:endParaRPr lang="en-US" sz="1200" b="1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xmlns:lc="http://schemas.openxmlformats.org/drawingml/2006/lockedCanvas" id="{4D40904C-BFDF-4DAE-8A21-3D0831393BF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276685" y="0"/>
            <a:ext cx="651140" cy="246221"/>
          </a:xfrm>
          <a:prstGeom prst="rect">
            <a:avLst/>
          </a:prstGeom>
          <a:solidFill>
            <a:schemeClr val="hlink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 sz="1000" dirty="0" smtClean="0">
                <a:solidFill>
                  <a:schemeClr val="bg1"/>
                </a:solidFill>
              </a:rPr>
              <a:t>BAS003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xmlns:lc="http://schemas.openxmlformats.org/drawingml/2006/lockedCanvas" id="{CBA2F7B5-B25A-4ECC-9455-372F3589CDFF}"/>
              </a:ext>
            </a:extLst>
          </p:cNvPr>
          <p:cNvSpPr>
            <a:spLocks noChangeArrowheads="1"/>
          </p:cNvSpPr>
          <p:nvPr/>
        </p:nvSpPr>
        <p:spPr bwMode="gray">
          <a:xfrm>
            <a:off x="0" y="0"/>
            <a:ext cx="3837856" cy="246221"/>
          </a:xfrm>
          <a:prstGeom prst="rect">
            <a:avLst/>
          </a:prstGeom>
          <a:solidFill>
            <a:schemeClr val="hlink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pl-PL" sz="1000" dirty="0" smtClean="0">
                <a:solidFill>
                  <a:schemeClr val="bg1"/>
                </a:solidFill>
              </a:rPr>
              <a:t>BASIC MATERIALS (</a:t>
            </a:r>
            <a:r>
              <a:rPr lang="pl-PL" sz="1000" dirty="0">
                <a:solidFill>
                  <a:schemeClr val="bg1"/>
                </a:solidFill>
              </a:rPr>
              <a:t>GEM</a:t>
            </a:r>
            <a:r>
              <a:rPr lang="pl-PL" sz="1000" dirty="0" smtClean="0">
                <a:solidFill>
                  <a:schemeClr val="bg1"/>
                </a:solidFill>
              </a:rPr>
              <a:t>)</a:t>
            </a:r>
            <a:r>
              <a:rPr lang="en-US" sz="1000" dirty="0" smtClean="0">
                <a:solidFill>
                  <a:schemeClr val="bg1"/>
                </a:solidFill>
              </a:rPr>
              <a:t> </a:t>
            </a:r>
            <a:r>
              <a:rPr lang="pl-PL" sz="1000" dirty="0">
                <a:solidFill>
                  <a:schemeClr val="bg1"/>
                </a:solidFill>
              </a:rPr>
              <a:t>| </a:t>
            </a:r>
            <a:r>
              <a:rPr lang="pl-PL" sz="1000" dirty="0" smtClean="0">
                <a:solidFill>
                  <a:schemeClr val="bg1"/>
                </a:solidFill>
              </a:rPr>
              <a:t>ASIA-PACIFIC</a:t>
            </a:r>
            <a:endParaRPr lang="pl-PL" sz="1000" dirty="0">
              <a:solidFill>
                <a:schemeClr val="bg1"/>
              </a:solidFill>
            </a:endParaRPr>
          </a:p>
        </p:txBody>
      </p:sp>
      <p:grpSp>
        <p:nvGrpSpPr>
          <p:cNvPr id="31" name="Sticker" hidden="1"/>
          <p:cNvGrpSpPr/>
          <p:nvPr/>
        </p:nvGrpSpPr>
        <p:grpSpPr bwMode="gray">
          <a:xfrm>
            <a:off x="5737889" y="3285332"/>
            <a:ext cx="473335" cy="150811"/>
            <a:chOff x="8385789" y="285750"/>
            <a:chExt cx="354986" cy="150811"/>
          </a:xfrm>
        </p:grpSpPr>
        <p:sp>
          <p:nvSpPr>
            <p:cNvPr id="32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3" name="AutoShape 31"/>
            <p:cNvCxnSpPr>
              <a:cxnSpLocks noChangeShapeType="1"/>
              <a:stCxn id="32" idx="2"/>
              <a:endCxn id="32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4" name="AutoShape 32"/>
            <p:cNvCxnSpPr>
              <a:cxnSpLocks noChangeShapeType="1"/>
              <a:stCxn id="32" idx="4"/>
              <a:endCxn id="32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35" name="Rectangle 34">
            <a:extLst>
              <a:ext uri="{FF2B5EF4-FFF2-40B4-BE49-F238E27FC236}">
                <a16:creationId xmlns:a16="http://schemas.microsoft.com/office/drawing/2014/main" xmlns="" id="{74947D3F-259D-42C0-84D1-844A439351E5}"/>
              </a:ext>
            </a:extLst>
          </p:cNvPr>
          <p:cNvSpPr/>
          <p:nvPr/>
        </p:nvSpPr>
        <p:spPr>
          <a:xfrm>
            <a:off x="276225" y="829710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6" name="AutoShape 250">
            <a:extLst>
              <a:ext uri="{FF2B5EF4-FFF2-40B4-BE49-F238E27FC236}">
                <a16:creationId xmlns:a16="http://schemas.microsoft.com/office/drawing/2014/main" xmlns="" id="{8D1ADB82-E005-49B0-B643-DB87B66C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8813" y="913669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7" name="AutoShape 250">
            <a:extLst>
              <a:ext uri="{FF2B5EF4-FFF2-40B4-BE49-F238E27FC236}">
                <a16:creationId xmlns:a16="http://schemas.microsoft.com/office/drawing/2014/main" xmlns="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9" y="913669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9" name="AutoShape 250">
            <a:extLst>
              <a:ext uri="{FF2B5EF4-FFF2-40B4-BE49-F238E27FC236}">
                <a16:creationId xmlns:a16="http://schemas.microsoft.com/office/drawing/2014/main" xmlns="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18454" y="913669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47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3265108" y="885847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48" name="Chevron 31">
            <a:extLst>
              <a:ext uri="{FF2B5EF4-FFF2-40B4-BE49-F238E27FC236}">
                <a16:creationId xmlns:a16="http://schemas.microsoft.com/office/drawing/2014/main" xmlns="" id="{9C85239B-BE4A-4380-BA4F-409B662C565B}"/>
              </a:ext>
            </a:extLst>
          </p:cNvPr>
          <p:cNvSpPr/>
          <p:nvPr/>
        </p:nvSpPr>
        <p:spPr>
          <a:xfrm>
            <a:off x="7375467" y="885847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3322413" y="1239286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xmlns="" id="{53270D9D-7EAB-4C89-AEBC-8D80F2980B30}"/>
              </a:ext>
            </a:extLst>
          </p:cNvPr>
          <p:cNvCxnSpPr>
            <a:cxnSpLocks/>
          </p:cNvCxnSpPr>
          <p:nvPr/>
        </p:nvCxnSpPr>
        <p:spPr>
          <a:xfrm>
            <a:off x="7413701" y="1271566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198415" y="5565720"/>
            <a:ext cx="2963991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3500635" y="5565720"/>
            <a:ext cx="3697956" cy="76944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805237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72666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271" name="think-cell Slide" r:id="rId9" imgW="353" imgH="353" progId="TCLayout.ActiveDocument.1">
                  <p:embed/>
                </p:oleObj>
              </mc:Choice>
              <mc:Fallback>
                <p:oleObj name="think-cell Slide" r:id="rId9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1491891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US" dirty="0"/>
              <a:t>Tailored RTS recipe: TO architecture and Academy approach combined to accelerate timelines for impact</a:t>
            </a:r>
            <a:endParaRPr lang="en-GB" dirty="0"/>
          </a:p>
        </p:txBody>
      </p:sp>
      <p:sp>
        <p:nvSpPr>
          <p:cNvPr id="39" name="Rectangle 4"/>
          <p:cNvSpPr txBox="1">
            <a:spLocks/>
          </p:cNvSpPr>
          <p:nvPr/>
        </p:nvSpPr>
        <p:spPr>
          <a:xfrm>
            <a:off x="7591581" y="1445623"/>
            <a:ext cx="3943572" cy="2701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buFontTx/>
              <a:buNone/>
              <a:defRPr lang="en-US" baseline="0" dirty="0" smtClean="0">
                <a:latin typeface="+mn-lt"/>
                <a:cs typeface="+mn-cs"/>
              </a:defRPr>
            </a:lvl1pPr>
            <a:lvl2pPr marL="209550" lvl="1" indent="-209550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▪"/>
              <a:defRPr lang="en-US" baseline="0" dirty="0" smtClean="0">
                <a:latin typeface="+mn-lt"/>
                <a:cs typeface="+mn-cs"/>
              </a:defRPr>
            </a:lvl2pPr>
            <a:lvl3pPr marL="479425" lvl="2" indent="-266700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–"/>
              <a:defRPr lang="en-US" baseline="0" dirty="0" smtClean="0">
                <a:latin typeface="+mn-lt"/>
                <a:cs typeface="+mn-cs"/>
              </a:defRPr>
            </a:lvl3pPr>
            <a:lvl4pPr marL="657225" lvl="3" indent="-184150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dirty="0" smtClean="0">
                <a:latin typeface="+mn-lt"/>
                <a:cs typeface="+mn-cs"/>
              </a:defRPr>
            </a:lvl4pPr>
            <a:lvl5pPr marL="847725" lvl="4" indent="-177800" defTabSz="895350" eaLnBrk="1" hangingPunct="1">
              <a:buClr>
                <a:schemeClr val="tx2"/>
              </a:buClr>
              <a:buSzPct val="89000"/>
              <a:buFont typeface="Arial" pitchFamily="34" charset="0"/>
              <a:buChar char="-"/>
              <a:defRPr lang="en-US" baseline="0" dirty="0" smtClean="0">
                <a:latin typeface="+mn-lt"/>
                <a:cs typeface="+mn-cs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spcBef>
                <a:spcPct val="30000"/>
              </a:spcBef>
              <a:spcAft>
                <a:spcPts val="0"/>
              </a:spcAft>
            </a:pPr>
            <a:r>
              <a:rPr lang="en-US" sz="1200" b="1" dirty="0">
                <a:solidFill>
                  <a:schemeClr val="bg1"/>
                </a:solidFill>
                <a:latin typeface="+mj-lt"/>
              </a:rPr>
              <a:t>CTO</a:t>
            </a:r>
          </a:p>
        </p:txBody>
      </p:sp>
      <p:sp>
        <p:nvSpPr>
          <p:cNvPr id="37" name="Rectangle 4"/>
          <p:cNvSpPr txBox="1">
            <a:spLocks/>
          </p:cNvSpPr>
          <p:nvPr/>
        </p:nvSpPr>
        <p:spPr>
          <a:xfrm>
            <a:off x="7591581" y="3327920"/>
            <a:ext cx="3943572" cy="2701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buFontTx/>
              <a:buNone/>
              <a:defRPr lang="en-US" baseline="0" dirty="0" smtClean="0">
                <a:latin typeface="+mn-lt"/>
                <a:cs typeface="+mn-cs"/>
              </a:defRPr>
            </a:lvl1pPr>
            <a:lvl2pPr marL="209550" lvl="1" indent="-209550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▪"/>
              <a:defRPr lang="en-US" baseline="0" dirty="0" smtClean="0">
                <a:latin typeface="+mn-lt"/>
                <a:cs typeface="+mn-cs"/>
              </a:defRPr>
            </a:lvl2pPr>
            <a:lvl3pPr marL="479425" lvl="2" indent="-266700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–"/>
              <a:defRPr lang="en-US" baseline="0" dirty="0" smtClean="0">
                <a:latin typeface="+mn-lt"/>
                <a:cs typeface="+mn-cs"/>
              </a:defRPr>
            </a:lvl3pPr>
            <a:lvl4pPr marL="657225" lvl="3" indent="-184150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dirty="0" smtClean="0">
                <a:latin typeface="+mn-lt"/>
                <a:cs typeface="+mn-cs"/>
              </a:defRPr>
            </a:lvl4pPr>
            <a:lvl5pPr marL="847725" lvl="4" indent="-177800" defTabSz="895350" eaLnBrk="1" hangingPunct="1">
              <a:buClr>
                <a:schemeClr val="tx2"/>
              </a:buClr>
              <a:buSzPct val="89000"/>
              <a:buFont typeface="Arial" pitchFamily="34" charset="0"/>
              <a:buChar char="-"/>
              <a:defRPr lang="en-US" baseline="0" dirty="0" smtClean="0">
                <a:latin typeface="+mn-lt"/>
                <a:cs typeface="+mn-cs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spcBef>
                <a:spcPct val="30000"/>
              </a:spcBef>
              <a:spcAft>
                <a:spcPts val="0"/>
              </a:spcAft>
            </a:pPr>
            <a:r>
              <a:rPr lang="en-US" sz="1200" b="1" dirty="0">
                <a:solidFill>
                  <a:schemeClr val="bg1"/>
                </a:solidFill>
                <a:latin typeface="+mj-lt"/>
              </a:rPr>
              <a:t>TO “academy” teams</a:t>
            </a:r>
          </a:p>
        </p:txBody>
      </p:sp>
      <p:sp>
        <p:nvSpPr>
          <p:cNvPr id="35" name="Rectangle 4"/>
          <p:cNvSpPr txBox="1">
            <a:spLocks/>
          </p:cNvSpPr>
          <p:nvPr/>
        </p:nvSpPr>
        <p:spPr>
          <a:xfrm>
            <a:off x="286454" y="2421790"/>
            <a:ext cx="2981480" cy="2701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buFontTx/>
              <a:buNone/>
              <a:defRPr lang="en-US" baseline="0" dirty="0" smtClean="0">
                <a:latin typeface="+mn-lt"/>
                <a:cs typeface="+mn-cs"/>
              </a:defRPr>
            </a:lvl1pPr>
            <a:lvl2pPr marL="209550" lvl="1" indent="-209550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▪"/>
              <a:defRPr lang="en-US" baseline="0" dirty="0" smtClean="0">
                <a:latin typeface="+mn-lt"/>
                <a:cs typeface="+mn-cs"/>
              </a:defRPr>
            </a:lvl2pPr>
            <a:lvl3pPr marL="479425" lvl="2" indent="-266700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–"/>
              <a:defRPr lang="en-US" baseline="0" dirty="0" smtClean="0">
                <a:latin typeface="+mn-lt"/>
                <a:cs typeface="+mn-cs"/>
              </a:defRPr>
            </a:lvl3pPr>
            <a:lvl4pPr marL="657225" lvl="3" indent="-184150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dirty="0" smtClean="0">
                <a:latin typeface="+mn-lt"/>
                <a:cs typeface="+mn-cs"/>
              </a:defRPr>
            </a:lvl4pPr>
            <a:lvl5pPr marL="847725" lvl="4" indent="-177800" defTabSz="895350" eaLnBrk="1" hangingPunct="1">
              <a:buClr>
                <a:schemeClr val="tx2"/>
              </a:buClr>
              <a:buSzPct val="89000"/>
              <a:buFont typeface="Arial" pitchFamily="34" charset="0"/>
              <a:buChar char="-"/>
              <a:defRPr lang="en-US" baseline="0" dirty="0" smtClean="0">
                <a:latin typeface="+mn-lt"/>
                <a:cs typeface="+mn-cs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spcBef>
                <a:spcPct val="30000"/>
              </a:spcBef>
              <a:spcAft>
                <a:spcPts val="0"/>
              </a:spcAft>
            </a:pPr>
            <a:r>
              <a:rPr lang="en-US" sz="1200" b="1" dirty="0">
                <a:solidFill>
                  <a:schemeClr val="bg1"/>
                </a:solidFill>
                <a:latin typeface="+mj-lt"/>
              </a:rPr>
              <a:t>Line Sponsors</a:t>
            </a:r>
          </a:p>
        </p:txBody>
      </p:sp>
      <p:sp>
        <p:nvSpPr>
          <p:cNvPr id="7" name="Rectangle 45"/>
          <p:cNvSpPr>
            <a:spLocks noChangeArrowheads="1"/>
          </p:cNvSpPr>
          <p:nvPr/>
        </p:nvSpPr>
        <p:spPr bwMode="gray">
          <a:xfrm>
            <a:off x="5615626" y="1450179"/>
            <a:ext cx="1436466" cy="811496"/>
          </a:xfrm>
          <a:prstGeom prst="rect">
            <a:avLst/>
          </a:prstGeom>
          <a:solidFill>
            <a:schemeClr val="accent5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wrap="square" lIns="72009" tIns="72009" rIns="72009" bIns="72009" anchor="ctr" anchorCtr="0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200" b="1" dirty="0">
                <a:solidFill>
                  <a:schemeClr val="bg1"/>
                </a:solidFill>
                <a:latin typeface="+mj-lt"/>
              </a:rPr>
              <a:t>Chief </a:t>
            </a:r>
            <a:r>
              <a:rPr lang="en-US" sz="1200" b="1" dirty="0" smtClean="0">
                <a:solidFill>
                  <a:schemeClr val="bg1"/>
                </a:solidFill>
                <a:latin typeface="+mj-lt"/>
              </a:rPr>
              <a:t>Transformation </a:t>
            </a:r>
            <a:r>
              <a:rPr lang="en-US" sz="1200" b="1" dirty="0">
                <a:solidFill>
                  <a:schemeClr val="bg1"/>
                </a:solidFill>
                <a:latin typeface="+mj-lt"/>
              </a:rPr>
              <a:t>Officer</a:t>
            </a:r>
          </a:p>
        </p:txBody>
      </p:sp>
      <p:sp>
        <p:nvSpPr>
          <p:cNvPr id="8" name="Rectangle 45"/>
          <p:cNvSpPr>
            <a:spLocks noChangeArrowheads="1"/>
          </p:cNvSpPr>
          <p:nvPr/>
        </p:nvSpPr>
        <p:spPr bwMode="gray">
          <a:xfrm>
            <a:off x="3804304" y="2789877"/>
            <a:ext cx="1436466" cy="811496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square" lIns="72009" tIns="72009" rIns="72009" bIns="72009" anchor="ctr" anchorCtr="0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200" b="1" dirty="0">
                <a:solidFill>
                  <a:schemeClr val="tx2"/>
                </a:solidFill>
                <a:latin typeface="+mj-lt"/>
              </a:rPr>
              <a:t>Line sponsors</a:t>
            </a:r>
          </a:p>
        </p:txBody>
      </p:sp>
      <p:sp>
        <p:nvSpPr>
          <p:cNvPr id="9" name="Rectangle 45"/>
          <p:cNvSpPr>
            <a:spLocks noChangeArrowheads="1"/>
          </p:cNvSpPr>
          <p:nvPr/>
        </p:nvSpPr>
        <p:spPr bwMode="gray">
          <a:xfrm>
            <a:off x="5615626" y="3956327"/>
            <a:ext cx="1436466" cy="811496"/>
          </a:xfrm>
          <a:prstGeom prst="rect">
            <a:avLst/>
          </a:prstGeom>
          <a:solidFill>
            <a:schemeClr val="accent5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square" lIns="72009" tIns="72009" rIns="72009" bIns="72009" anchor="ctr" anchorCtr="0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200" dirty="0">
                <a:solidFill>
                  <a:schemeClr val="bg1"/>
                </a:solidFill>
                <a:latin typeface="+mj-lt"/>
              </a:rPr>
              <a:t>TO leads (one per Workstream)</a:t>
            </a:r>
          </a:p>
        </p:txBody>
      </p:sp>
      <p:cxnSp>
        <p:nvCxnSpPr>
          <p:cNvPr id="10" name="Elbow Connector 17"/>
          <p:cNvCxnSpPr>
            <a:stCxn id="7" idx="2"/>
            <a:endCxn id="9" idx="0"/>
          </p:cNvCxnSpPr>
          <p:nvPr/>
        </p:nvCxnSpPr>
        <p:spPr>
          <a:xfrm>
            <a:off x="6333859" y="2261676"/>
            <a:ext cx="0" cy="1694652"/>
          </a:xfrm>
          <a:prstGeom prst="straightConnector1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Elbow Connector 17"/>
          <p:cNvCxnSpPr>
            <a:stCxn id="9" idx="2"/>
            <a:endCxn id="14" idx="0"/>
          </p:cNvCxnSpPr>
          <p:nvPr/>
        </p:nvCxnSpPr>
        <p:spPr>
          <a:xfrm>
            <a:off x="6333859" y="4767824"/>
            <a:ext cx="0" cy="318484"/>
          </a:xfrm>
          <a:prstGeom prst="straightConnector1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45"/>
          <p:cNvSpPr>
            <a:spLocks noChangeArrowheads="1"/>
          </p:cNvSpPr>
          <p:nvPr/>
        </p:nvSpPr>
        <p:spPr bwMode="gray">
          <a:xfrm>
            <a:off x="5705772" y="5157281"/>
            <a:ext cx="1436466" cy="811496"/>
          </a:xfrm>
          <a:prstGeom prst="rect">
            <a:avLst/>
          </a:prstGeom>
          <a:solidFill>
            <a:schemeClr val="accent5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square" lIns="72009" tIns="72009" rIns="72009" bIns="72009" anchor="ctr" anchorCtr="0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endParaRPr lang="en-US" sz="12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Rectangle 45"/>
          <p:cNvSpPr>
            <a:spLocks noChangeArrowheads="1"/>
          </p:cNvSpPr>
          <p:nvPr/>
        </p:nvSpPr>
        <p:spPr bwMode="gray">
          <a:xfrm>
            <a:off x="5615626" y="5086308"/>
            <a:ext cx="1436466" cy="811496"/>
          </a:xfrm>
          <a:prstGeom prst="rect">
            <a:avLst/>
          </a:prstGeom>
          <a:solidFill>
            <a:schemeClr val="accent5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square" lIns="72009" tIns="72009" rIns="72009" bIns="72009" anchor="ctr" anchorCtr="0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200" b="1" dirty="0">
                <a:solidFill>
                  <a:schemeClr val="bg1"/>
                </a:solidFill>
                <a:latin typeface="+mj-lt"/>
              </a:rPr>
              <a:t>Sales academy </a:t>
            </a:r>
            <a:r>
              <a:rPr lang="en-US" sz="1200" dirty="0">
                <a:solidFill>
                  <a:schemeClr val="bg1"/>
                </a:solidFill>
                <a:latin typeface="+mj-lt"/>
              </a:rPr>
              <a:t>team (champions/</a:t>
            </a:r>
            <a:br>
              <a:rPr lang="en-US" sz="1200" dirty="0">
                <a:solidFill>
                  <a:schemeClr val="bg1"/>
                </a:solidFill>
                <a:latin typeface="+mj-lt"/>
              </a:rPr>
            </a:br>
            <a:r>
              <a:rPr lang="en-US" sz="1200" dirty="0">
                <a:solidFill>
                  <a:schemeClr val="bg1"/>
                </a:solidFill>
                <a:latin typeface="+mj-lt"/>
              </a:rPr>
              <a:t>coaches)</a:t>
            </a:r>
          </a:p>
        </p:txBody>
      </p:sp>
      <p:sp>
        <p:nvSpPr>
          <p:cNvPr id="29" name="Rectangle 45"/>
          <p:cNvSpPr>
            <a:spLocks noChangeArrowheads="1"/>
          </p:cNvSpPr>
          <p:nvPr/>
        </p:nvSpPr>
        <p:spPr bwMode="gray">
          <a:xfrm>
            <a:off x="3804304" y="4435200"/>
            <a:ext cx="1436466" cy="811496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square" lIns="72009" tIns="72009" rIns="72009" bIns="72009" anchor="ctr" anchorCtr="0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200" b="1" dirty="0">
                <a:solidFill>
                  <a:schemeClr val="tx2"/>
                </a:solidFill>
                <a:latin typeface="+mj-lt"/>
              </a:rPr>
              <a:t>Line managers </a:t>
            </a:r>
            <a:r>
              <a:rPr lang="en-US" sz="1200" b="1" dirty="0" smtClean="0">
                <a:solidFill>
                  <a:schemeClr val="tx2"/>
                </a:solidFill>
                <a:latin typeface="+mj-lt"/>
              </a:rPr>
              <a:t/>
            </a:r>
            <a:br>
              <a:rPr lang="en-US" sz="1200" b="1" dirty="0" smtClean="0">
                <a:solidFill>
                  <a:schemeClr val="tx2"/>
                </a:solidFill>
                <a:latin typeface="+mj-lt"/>
              </a:rPr>
            </a:br>
            <a:r>
              <a:rPr lang="en-US" sz="1200" b="1" dirty="0" smtClean="0">
                <a:solidFill>
                  <a:schemeClr val="tx2"/>
                </a:solidFill>
                <a:latin typeface="+mj-lt"/>
              </a:rPr>
              <a:t>&amp; </a:t>
            </a:r>
            <a:r>
              <a:rPr lang="en-US" sz="1200" b="1" dirty="0">
                <a:solidFill>
                  <a:schemeClr val="tx2"/>
                </a:solidFill>
                <a:latin typeface="+mj-lt"/>
              </a:rPr>
              <a:t>teams</a:t>
            </a:r>
          </a:p>
        </p:txBody>
      </p:sp>
      <p:cxnSp>
        <p:nvCxnSpPr>
          <p:cNvPr id="32" name="Elbow Connector 17"/>
          <p:cNvCxnSpPr>
            <a:stCxn id="8" idx="2"/>
            <a:endCxn id="29" idx="0"/>
          </p:cNvCxnSpPr>
          <p:nvPr/>
        </p:nvCxnSpPr>
        <p:spPr>
          <a:xfrm>
            <a:off x="4522537" y="3601374"/>
            <a:ext cx="0" cy="833826"/>
          </a:xfrm>
          <a:prstGeom prst="straightConnector1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5251802" y="3195626"/>
            <a:ext cx="1082060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Bracket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7097775" y="3932745"/>
            <a:ext cx="240371" cy="2060618"/>
          </a:xfrm>
          <a:custGeom>
            <a:avLst/>
            <a:gdLst>
              <a:gd name="T0" fmla="*/ 0 w 115"/>
              <a:gd name="T1" fmla="*/ 0 h 1152"/>
              <a:gd name="T2" fmla="*/ 65 w 115"/>
              <a:gd name="T3" fmla="*/ 0 h 1152"/>
              <a:gd name="T4" fmla="*/ 65 w 115"/>
              <a:gd name="T5" fmla="*/ 528 h 1152"/>
              <a:gd name="T6" fmla="*/ 115 w 115"/>
              <a:gd name="T7" fmla="*/ 576 h 1152"/>
              <a:gd name="T8" fmla="*/ 65 w 115"/>
              <a:gd name="T9" fmla="*/ 624 h 1152"/>
              <a:gd name="T10" fmla="*/ 65 w 115"/>
              <a:gd name="T11" fmla="*/ 1152 h 1152"/>
              <a:gd name="T12" fmla="*/ 0 w 115"/>
              <a:gd name="T13" fmla="*/ 1152 h 1152"/>
              <a:gd name="connsiteX0" fmla="*/ 0 w 115"/>
              <a:gd name="connsiteY0" fmla="*/ 0 h 1152"/>
              <a:gd name="connsiteX1" fmla="*/ 65 w 115"/>
              <a:gd name="connsiteY1" fmla="*/ 0 h 1152"/>
              <a:gd name="connsiteX2" fmla="*/ 65 w 115"/>
              <a:gd name="connsiteY2" fmla="*/ 528 h 1152"/>
              <a:gd name="connsiteX3" fmla="*/ 115 w 115"/>
              <a:gd name="connsiteY3" fmla="*/ 576 h 1152"/>
              <a:gd name="connsiteX4" fmla="*/ 65 w 115"/>
              <a:gd name="connsiteY4" fmla="*/ 624 h 1152"/>
              <a:gd name="connsiteX5" fmla="*/ 65 w 115"/>
              <a:gd name="connsiteY5" fmla="*/ 1152 h 1152"/>
              <a:gd name="connsiteX0" fmla="*/ 0 w 115"/>
              <a:gd name="connsiteY0" fmla="*/ 0 h 624"/>
              <a:gd name="connsiteX1" fmla="*/ 65 w 115"/>
              <a:gd name="connsiteY1" fmla="*/ 0 h 624"/>
              <a:gd name="connsiteX2" fmla="*/ 65 w 115"/>
              <a:gd name="connsiteY2" fmla="*/ 528 h 624"/>
              <a:gd name="connsiteX3" fmla="*/ 115 w 115"/>
              <a:gd name="connsiteY3" fmla="*/ 576 h 624"/>
              <a:gd name="connsiteX4" fmla="*/ 65 w 115"/>
              <a:gd name="connsiteY4" fmla="*/ 624 h 624"/>
              <a:gd name="connsiteX0" fmla="*/ 0 w 115"/>
              <a:gd name="connsiteY0" fmla="*/ 0 h 576"/>
              <a:gd name="connsiteX1" fmla="*/ 65 w 115"/>
              <a:gd name="connsiteY1" fmla="*/ 0 h 576"/>
              <a:gd name="connsiteX2" fmla="*/ 65 w 115"/>
              <a:gd name="connsiteY2" fmla="*/ 528 h 576"/>
              <a:gd name="connsiteX3" fmla="*/ 115 w 115"/>
              <a:gd name="connsiteY3" fmla="*/ 576 h 576"/>
              <a:gd name="connsiteX0" fmla="*/ 0 w 65"/>
              <a:gd name="connsiteY0" fmla="*/ 0 h 528"/>
              <a:gd name="connsiteX1" fmla="*/ 65 w 65"/>
              <a:gd name="connsiteY1" fmla="*/ 0 h 528"/>
              <a:gd name="connsiteX2" fmla="*/ 65 w 65"/>
              <a:gd name="connsiteY2" fmla="*/ 528 h 528"/>
              <a:gd name="connsiteX0" fmla="*/ 0 w 65"/>
              <a:gd name="connsiteY0" fmla="*/ 0 h 0"/>
              <a:gd name="connsiteX1" fmla="*/ 65 w 65"/>
              <a:gd name="connsiteY1" fmla="*/ 0 h 0"/>
              <a:gd name="connsiteX0" fmla="*/ 0 w 1231"/>
              <a:gd name="connsiteY0" fmla="*/ 1850906 h 1850906"/>
              <a:gd name="connsiteX1" fmla="*/ 1231 w 1231"/>
              <a:gd name="connsiteY1" fmla="*/ 0 h 1850906"/>
              <a:gd name="connsiteX0" fmla="*/ 0 w 1231"/>
              <a:gd name="connsiteY0" fmla="*/ 1850906 h 1850906"/>
              <a:gd name="connsiteX1" fmla="*/ 1231 w 1231"/>
              <a:gd name="connsiteY1" fmla="*/ 0 h 1850906"/>
              <a:gd name="connsiteX2" fmla="*/ 65 w 1231"/>
              <a:gd name="connsiteY2" fmla="*/ 1850906 h 1850906"/>
              <a:gd name="connsiteX0" fmla="*/ 0 w 1231"/>
              <a:gd name="connsiteY0" fmla="*/ 1850906 h 2689106"/>
              <a:gd name="connsiteX1" fmla="*/ 1231 w 1231"/>
              <a:gd name="connsiteY1" fmla="*/ 0 h 2689106"/>
              <a:gd name="connsiteX2" fmla="*/ 65 w 1231"/>
              <a:gd name="connsiteY2" fmla="*/ 1850906 h 2689106"/>
              <a:gd name="connsiteX3" fmla="*/ 65 w 1231"/>
              <a:gd name="connsiteY3" fmla="*/ 2689106 h 2689106"/>
              <a:gd name="connsiteX0" fmla="*/ 0 w 1231"/>
              <a:gd name="connsiteY0" fmla="*/ 1850906 h 2765306"/>
              <a:gd name="connsiteX1" fmla="*/ 1231 w 1231"/>
              <a:gd name="connsiteY1" fmla="*/ 0 h 2765306"/>
              <a:gd name="connsiteX2" fmla="*/ 65 w 1231"/>
              <a:gd name="connsiteY2" fmla="*/ 1850906 h 2765306"/>
              <a:gd name="connsiteX3" fmla="*/ 65 w 1231"/>
              <a:gd name="connsiteY3" fmla="*/ 2689106 h 2765306"/>
              <a:gd name="connsiteX4" fmla="*/ 115 w 1231"/>
              <a:gd name="connsiteY4" fmla="*/ 2765306 h 2765306"/>
              <a:gd name="connsiteX0" fmla="*/ 0 w 1231"/>
              <a:gd name="connsiteY0" fmla="*/ 1850906 h 2841506"/>
              <a:gd name="connsiteX1" fmla="*/ 1231 w 1231"/>
              <a:gd name="connsiteY1" fmla="*/ 0 h 2841506"/>
              <a:gd name="connsiteX2" fmla="*/ 65 w 1231"/>
              <a:gd name="connsiteY2" fmla="*/ 1850906 h 2841506"/>
              <a:gd name="connsiteX3" fmla="*/ 65 w 1231"/>
              <a:gd name="connsiteY3" fmla="*/ 2689106 h 2841506"/>
              <a:gd name="connsiteX4" fmla="*/ 115 w 1231"/>
              <a:gd name="connsiteY4" fmla="*/ 2765306 h 2841506"/>
              <a:gd name="connsiteX5" fmla="*/ 65 w 1231"/>
              <a:gd name="connsiteY5" fmla="*/ 2841506 h 2841506"/>
              <a:gd name="connsiteX0" fmla="*/ 0 w 1231"/>
              <a:gd name="connsiteY0" fmla="*/ 1850906 h 3679706"/>
              <a:gd name="connsiteX1" fmla="*/ 1231 w 1231"/>
              <a:gd name="connsiteY1" fmla="*/ 0 h 3679706"/>
              <a:gd name="connsiteX2" fmla="*/ 65 w 1231"/>
              <a:gd name="connsiteY2" fmla="*/ 1850906 h 3679706"/>
              <a:gd name="connsiteX3" fmla="*/ 65 w 1231"/>
              <a:gd name="connsiteY3" fmla="*/ 2689106 h 3679706"/>
              <a:gd name="connsiteX4" fmla="*/ 115 w 1231"/>
              <a:gd name="connsiteY4" fmla="*/ 2765306 h 3679706"/>
              <a:gd name="connsiteX5" fmla="*/ 65 w 1231"/>
              <a:gd name="connsiteY5" fmla="*/ 2841506 h 3679706"/>
              <a:gd name="connsiteX6" fmla="*/ 65 w 1231"/>
              <a:gd name="connsiteY6" fmla="*/ 3679706 h 3679706"/>
              <a:gd name="connsiteX0" fmla="*/ 0 w 1231"/>
              <a:gd name="connsiteY0" fmla="*/ 1850906 h 3679706"/>
              <a:gd name="connsiteX1" fmla="*/ 1231 w 1231"/>
              <a:gd name="connsiteY1" fmla="*/ 0 h 3679706"/>
              <a:gd name="connsiteX2" fmla="*/ 65 w 1231"/>
              <a:gd name="connsiteY2" fmla="*/ 1850906 h 3679706"/>
              <a:gd name="connsiteX3" fmla="*/ 65 w 1231"/>
              <a:gd name="connsiteY3" fmla="*/ 2689106 h 3679706"/>
              <a:gd name="connsiteX4" fmla="*/ 115 w 1231"/>
              <a:gd name="connsiteY4" fmla="*/ 2765306 h 3679706"/>
              <a:gd name="connsiteX5" fmla="*/ 65 w 1231"/>
              <a:gd name="connsiteY5" fmla="*/ 2841506 h 3679706"/>
              <a:gd name="connsiteX6" fmla="*/ 65 w 1231"/>
              <a:gd name="connsiteY6" fmla="*/ 3679706 h 3679706"/>
              <a:gd name="connsiteX7" fmla="*/ 0 w 1231"/>
              <a:gd name="connsiteY7" fmla="*/ 3679706 h 3679706"/>
              <a:gd name="connsiteX0" fmla="*/ 0 w 1231"/>
              <a:gd name="connsiteY0" fmla="*/ 1850906 h 3679706"/>
              <a:gd name="connsiteX1" fmla="*/ 1231 w 1231"/>
              <a:gd name="connsiteY1" fmla="*/ 0 h 3679706"/>
              <a:gd name="connsiteX2" fmla="*/ 65 w 1231"/>
              <a:gd name="connsiteY2" fmla="*/ 1850906 h 3679706"/>
              <a:gd name="connsiteX3" fmla="*/ 65 w 1231"/>
              <a:gd name="connsiteY3" fmla="*/ 2689106 h 3679706"/>
              <a:gd name="connsiteX4" fmla="*/ 115 w 1231"/>
              <a:gd name="connsiteY4" fmla="*/ 2765306 h 3679706"/>
              <a:gd name="connsiteX5" fmla="*/ 65 w 1231"/>
              <a:gd name="connsiteY5" fmla="*/ 2841506 h 3679706"/>
              <a:gd name="connsiteX6" fmla="*/ 65 w 1231"/>
              <a:gd name="connsiteY6" fmla="*/ 3679706 h 3679706"/>
              <a:gd name="connsiteX7" fmla="*/ 0 w 1231"/>
              <a:gd name="connsiteY7" fmla="*/ 3679706 h 3679706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0 h 1828800"/>
              <a:gd name="connsiteX3" fmla="*/ 65 w 115"/>
              <a:gd name="connsiteY3" fmla="*/ 838200 h 1828800"/>
              <a:gd name="connsiteX4" fmla="*/ 115 w 115"/>
              <a:gd name="connsiteY4" fmla="*/ 914400 h 1828800"/>
              <a:gd name="connsiteX5" fmla="*/ 65 w 115"/>
              <a:gd name="connsiteY5" fmla="*/ 990600 h 1828800"/>
              <a:gd name="connsiteX6" fmla="*/ 65 w 115"/>
              <a:gd name="connsiteY6" fmla="*/ 1828800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38200 h 1828800"/>
              <a:gd name="connsiteX3" fmla="*/ 65 w 115"/>
              <a:gd name="connsiteY3" fmla="*/ 838200 h 1828800"/>
              <a:gd name="connsiteX4" fmla="*/ 115 w 115"/>
              <a:gd name="connsiteY4" fmla="*/ 914400 h 1828800"/>
              <a:gd name="connsiteX5" fmla="*/ 65 w 115"/>
              <a:gd name="connsiteY5" fmla="*/ 990600 h 1828800"/>
              <a:gd name="connsiteX6" fmla="*/ 65 w 115"/>
              <a:gd name="connsiteY6" fmla="*/ 1828800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38200 h 1828800"/>
              <a:gd name="connsiteX3" fmla="*/ 115 w 115"/>
              <a:gd name="connsiteY3" fmla="*/ 914400 h 1828800"/>
              <a:gd name="connsiteX4" fmla="*/ 115 w 115"/>
              <a:gd name="connsiteY4" fmla="*/ 914400 h 1828800"/>
              <a:gd name="connsiteX5" fmla="*/ 65 w 115"/>
              <a:gd name="connsiteY5" fmla="*/ 990600 h 1828800"/>
              <a:gd name="connsiteX6" fmla="*/ 65 w 115"/>
              <a:gd name="connsiteY6" fmla="*/ 1828800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38200 h 1828800"/>
              <a:gd name="connsiteX3" fmla="*/ 115 w 115"/>
              <a:gd name="connsiteY3" fmla="*/ 914400 h 1828800"/>
              <a:gd name="connsiteX4" fmla="*/ 65 w 115"/>
              <a:gd name="connsiteY4" fmla="*/ 990600 h 1828800"/>
              <a:gd name="connsiteX5" fmla="*/ 65 w 115"/>
              <a:gd name="connsiteY5" fmla="*/ 990600 h 1828800"/>
              <a:gd name="connsiteX6" fmla="*/ 65 w 115"/>
              <a:gd name="connsiteY6" fmla="*/ 1828800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38200 h 1828800"/>
              <a:gd name="connsiteX3" fmla="*/ 115 w 115"/>
              <a:gd name="connsiteY3" fmla="*/ 914400 h 1828800"/>
              <a:gd name="connsiteX4" fmla="*/ 65 w 115"/>
              <a:gd name="connsiteY4" fmla="*/ 990600 h 1828800"/>
              <a:gd name="connsiteX5" fmla="*/ 65 w 115"/>
              <a:gd name="connsiteY5" fmla="*/ 1828800 h 1828800"/>
              <a:gd name="connsiteX6" fmla="*/ 65 w 115"/>
              <a:gd name="connsiteY6" fmla="*/ 1828800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38200 h 1828800"/>
              <a:gd name="connsiteX3" fmla="*/ 115 w 115"/>
              <a:gd name="connsiteY3" fmla="*/ 914400 h 1828800"/>
              <a:gd name="connsiteX4" fmla="*/ 65 w 115"/>
              <a:gd name="connsiteY4" fmla="*/ 990600 h 1828800"/>
              <a:gd name="connsiteX5" fmla="*/ 65 w 115"/>
              <a:gd name="connsiteY5" fmla="*/ 1828800 h 1828800"/>
              <a:gd name="connsiteX6" fmla="*/ 0 w 115"/>
              <a:gd name="connsiteY6" fmla="*/ 1828800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38200 h 1828800"/>
              <a:gd name="connsiteX3" fmla="*/ 115 w 115"/>
              <a:gd name="connsiteY3" fmla="*/ 914400 h 1828800"/>
              <a:gd name="connsiteX4" fmla="*/ 65 w 115"/>
              <a:gd name="connsiteY4" fmla="*/ 990600 h 1828800"/>
              <a:gd name="connsiteX5" fmla="*/ 65 w 115"/>
              <a:gd name="connsiteY5" fmla="*/ 1828800 h 1828800"/>
              <a:gd name="connsiteX6" fmla="*/ 0 w 115"/>
              <a:gd name="connsiteY6" fmla="*/ 1828800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53 w 115"/>
              <a:gd name="connsiteY1" fmla="*/ 0 h 1828800"/>
              <a:gd name="connsiteX2" fmla="*/ 65 w 115"/>
              <a:gd name="connsiteY2" fmla="*/ 838200 h 1828800"/>
              <a:gd name="connsiteX3" fmla="*/ 115 w 115"/>
              <a:gd name="connsiteY3" fmla="*/ 914400 h 1828800"/>
              <a:gd name="connsiteX4" fmla="*/ 65 w 115"/>
              <a:gd name="connsiteY4" fmla="*/ 990600 h 1828800"/>
              <a:gd name="connsiteX5" fmla="*/ 65 w 115"/>
              <a:gd name="connsiteY5" fmla="*/ 1828800 h 1828800"/>
              <a:gd name="connsiteX6" fmla="*/ 0 w 115"/>
              <a:gd name="connsiteY6" fmla="*/ 1828800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53 w 115"/>
              <a:gd name="connsiteY1" fmla="*/ 0 h 1828800"/>
              <a:gd name="connsiteX2" fmla="*/ 53 w 115"/>
              <a:gd name="connsiteY2" fmla="*/ 853950 h 1828800"/>
              <a:gd name="connsiteX3" fmla="*/ 115 w 115"/>
              <a:gd name="connsiteY3" fmla="*/ 914400 h 1828800"/>
              <a:gd name="connsiteX4" fmla="*/ 65 w 115"/>
              <a:gd name="connsiteY4" fmla="*/ 990600 h 1828800"/>
              <a:gd name="connsiteX5" fmla="*/ 65 w 115"/>
              <a:gd name="connsiteY5" fmla="*/ 1828800 h 1828800"/>
              <a:gd name="connsiteX6" fmla="*/ 0 w 115"/>
              <a:gd name="connsiteY6" fmla="*/ 1828800 h 1828800"/>
              <a:gd name="connsiteX7" fmla="*/ 0 w 115"/>
              <a:gd name="connsiteY7" fmla="*/ 1828800 h 1828800"/>
              <a:gd name="connsiteX0" fmla="*/ 0 w 94"/>
              <a:gd name="connsiteY0" fmla="*/ 0 h 1828800"/>
              <a:gd name="connsiteX1" fmla="*/ 53 w 94"/>
              <a:gd name="connsiteY1" fmla="*/ 0 h 1828800"/>
              <a:gd name="connsiteX2" fmla="*/ 53 w 94"/>
              <a:gd name="connsiteY2" fmla="*/ 853950 h 1828800"/>
              <a:gd name="connsiteX3" fmla="*/ 94 w 94"/>
              <a:gd name="connsiteY3" fmla="*/ 914400 h 1828800"/>
              <a:gd name="connsiteX4" fmla="*/ 65 w 94"/>
              <a:gd name="connsiteY4" fmla="*/ 990600 h 1828800"/>
              <a:gd name="connsiteX5" fmla="*/ 65 w 94"/>
              <a:gd name="connsiteY5" fmla="*/ 1828800 h 1828800"/>
              <a:gd name="connsiteX6" fmla="*/ 0 w 94"/>
              <a:gd name="connsiteY6" fmla="*/ 1828800 h 1828800"/>
              <a:gd name="connsiteX7" fmla="*/ 0 w 94"/>
              <a:gd name="connsiteY7" fmla="*/ 1828800 h 1828800"/>
              <a:gd name="connsiteX0" fmla="*/ 0 w 94"/>
              <a:gd name="connsiteY0" fmla="*/ 0 h 1828800"/>
              <a:gd name="connsiteX1" fmla="*/ 53 w 94"/>
              <a:gd name="connsiteY1" fmla="*/ 0 h 1828800"/>
              <a:gd name="connsiteX2" fmla="*/ 53 w 94"/>
              <a:gd name="connsiteY2" fmla="*/ 853950 h 1828800"/>
              <a:gd name="connsiteX3" fmla="*/ 94 w 94"/>
              <a:gd name="connsiteY3" fmla="*/ 914400 h 1828800"/>
              <a:gd name="connsiteX4" fmla="*/ 53 w 94"/>
              <a:gd name="connsiteY4" fmla="*/ 974850 h 1828800"/>
              <a:gd name="connsiteX5" fmla="*/ 65 w 94"/>
              <a:gd name="connsiteY5" fmla="*/ 1828800 h 1828800"/>
              <a:gd name="connsiteX6" fmla="*/ 0 w 94"/>
              <a:gd name="connsiteY6" fmla="*/ 1828800 h 1828800"/>
              <a:gd name="connsiteX7" fmla="*/ 0 w 94"/>
              <a:gd name="connsiteY7" fmla="*/ 1828800 h 1828800"/>
              <a:gd name="connsiteX0" fmla="*/ 0 w 94"/>
              <a:gd name="connsiteY0" fmla="*/ 0 h 1828800"/>
              <a:gd name="connsiteX1" fmla="*/ 53 w 94"/>
              <a:gd name="connsiteY1" fmla="*/ 0 h 1828800"/>
              <a:gd name="connsiteX2" fmla="*/ 53 w 94"/>
              <a:gd name="connsiteY2" fmla="*/ 853950 h 1828800"/>
              <a:gd name="connsiteX3" fmla="*/ 94 w 94"/>
              <a:gd name="connsiteY3" fmla="*/ 914400 h 1828800"/>
              <a:gd name="connsiteX4" fmla="*/ 53 w 94"/>
              <a:gd name="connsiteY4" fmla="*/ 974850 h 1828800"/>
              <a:gd name="connsiteX5" fmla="*/ 53 w 94"/>
              <a:gd name="connsiteY5" fmla="*/ 1828800 h 1828800"/>
              <a:gd name="connsiteX6" fmla="*/ 0 w 94"/>
              <a:gd name="connsiteY6" fmla="*/ 1828800 h 1828800"/>
              <a:gd name="connsiteX7" fmla="*/ 0 w 94"/>
              <a:gd name="connsiteY7" fmla="*/ 1828800 h 1828800"/>
              <a:gd name="connsiteX0" fmla="*/ 0 w 94"/>
              <a:gd name="connsiteY0" fmla="*/ 0 h 1828800"/>
              <a:gd name="connsiteX1" fmla="*/ 53 w 94"/>
              <a:gd name="connsiteY1" fmla="*/ 0 h 1828800"/>
              <a:gd name="connsiteX2" fmla="*/ 53 w 94"/>
              <a:gd name="connsiteY2" fmla="*/ 853950 h 1828800"/>
              <a:gd name="connsiteX3" fmla="*/ 94 w 94"/>
              <a:gd name="connsiteY3" fmla="*/ 914400 h 1828800"/>
              <a:gd name="connsiteX4" fmla="*/ 53 w 94"/>
              <a:gd name="connsiteY4" fmla="*/ 974850 h 1828800"/>
              <a:gd name="connsiteX5" fmla="*/ 53 w 94"/>
              <a:gd name="connsiteY5" fmla="*/ 1828800 h 1828800"/>
              <a:gd name="connsiteX6" fmla="*/ 0 w 94"/>
              <a:gd name="connsiteY6" fmla="*/ 1828800 h 1828800"/>
              <a:gd name="connsiteX7" fmla="*/ 0 w 94"/>
              <a:gd name="connsiteY7" fmla="*/ 182880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4" h="1828800">
                <a:moveTo>
                  <a:pt x="0" y="0"/>
                </a:moveTo>
                <a:lnTo>
                  <a:pt x="53" y="0"/>
                </a:lnTo>
                <a:lnTo>
                  <a:pt x="53" y="853950"/>
                </a:lnTo>
                <a:lnTo>
                  <a:pt x="94" y="914400"/>
                </a:lnTo>
                <a:lnTo>
                  <a:pt x="53" y="974850"/>
                </a:lnTo>
                <a:lnTo>
                  <a:pt x="53" y="1828800"/>
                </a:lnTo>
                <a:lnTo>
                  <a:pt x="0" y="1828800"/>
                </a:lnTo>
                <a:lnTo>
                  <a:pt x="0" y="1828800"/>
                </a:lnTo>
              </a:path>
            </a:pathLst>
          </a:custGeom>
          <a:noFill/>
          <a:ln w="19050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43" name="ACET"/>
          <p:cNvSpPr>
            <a:spLocks noChangeArrowheads="1"/>
          </p:cNvSpPr>
          <p:nvPr/>
        </p:nvSpPr>
        <p:spPr bwMode="gray">
          <a:xfrm>
            <a:off x="5547456" y="1141955"/>
            <a:ext cx="5999172" cy="241269"/>
          </a:xfrm>
          <a:prstGeom prst="round2SameRect">
            <a:avLst/>
          </a:prstGeom>
          <a:solidFill>
            <a:schemeClr val="tx2"/>
          </a:solidFill>
          <a:ln>
            <a:noFill/>
          </a:ln>
          <a:effectLst/>
          <a:extLst/>
        </p:spPr>
        <p:txBody>
          <a:bodyPr wrap="square" lIns="72000" tIns="36000" rIns="36000" bIns="18288" anchor="b">
            <a:spAutoFit/>
          </a:bodyPr>
          <a:lstStyle/>
          <a:p>
            <a:pPr algn="ctr"/>
            <a:r>
              <a:rPr lang="en-US" sz="1200" b="1" dirty="0">
                <a:solidFill>
                  <a:schemeClr val="bg2"/>
                </a:solidFill>
                <a:latin typeface="+mn-lt"/>
              </a:rPr>
              <a:t>TO Team</a:t>
            </a:r>
            <a:endParaRPr lang="en-US" sz="12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9" name="ACET"/>
          <p:cNvSpPr>
            <a:spLocks noChangeArrowheads="1"/>
          </p:cNvSpPr>
          <p:nvPr/>
        </p:nvSpPr>
        <p:spPr bwMode="gray">
          <a:xfrm>
            <a:off x="262778" y="1143191"/>
            <a:ext cx="5085384" cy="241269"/>
          </a:xfrm>
          <a:prstGeom prst="round2SameRect">
            <a:avLst/>
          </a:prstGeom>
          <a:solidFill>
            <a:schemeClr val="tx2"/>
          </a:solidFill>
          <a:ln>
            <a:noFill/>
          </a:ln>
          <a:effectLst/>
          <a:extLst/>
        </p:spPr>
        <p:txBody>
          <a:bodyPr lIns="72000" tIns="36000" rIns="36000" bIns="18288" anchor="b">
            <a:spAutoFit/>
          </a:bodyPr>
          <a:lstStyle/>
          <a:p>
            <a:pPr algn="ctr"/>
            <a:r>
              <a:rPr lang="en-US" sz="1200" b="1" dirty="0">
                <a:solidFill>
                  <a:schemeClr val="bg2"/>
                </a:solidFill>
                <a:latin typeface="+mn-lt"/>
              </a:rPr>
              <a:t>Line team</a:t>
            </a:r>
            <a:endParaRPr lang="en-US" sz="12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1" name="Curved Up Arrow 49"/>
          <p:cNvSpPr>
            <a:spLocks noChangeArrowheads="1"/>
          </p:cNvSpPr>
          <p:nvPr/>
        </p:nvSpPr>
        <p:spPr bwMode="auto">
          <a:xfrm rot="9756283">
            <a:off x="4780457" y="3942118"/>
            <a:ext cx="779210" cy="377364"/>
          </a:xfrm>
          <a:prstGeom prst="curvedUpArrow">
            <a:avLst>
              <a:gd name="adj1" fmla="val 24986"/>
              <a:gd name="adj2" fmla="val 49971"/>
              <a:gd name="adj3" fmla="val 25000"/>
            </a:avLst>
          </a:prstGeom>
          <a:solidFill>
            <a:schemeClr val="tx2"/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rot="10800000" wrap="none" lIns="89976" tIns="46788" rIns="89976" bIns="46788" anchor="ctr"/>
          <a:lstStyle/>
          <a:p>
            <a:pPr algn="ctr"/>
            <a:endParaRPr lang="en-US" sz="1200" b="1" dirty="0">
              <a:latin typeface="+mj-lt"/>
            </a:endParaRPr>
          </a:p>
        </p:txBody>
      </p:sp>
      <p:sp>
        <p:nvSpPr>
          <p:cNvPr id="42" name="Curved Up Arrow 49"/>
          <p:cNvSpPr>
            <a:spLocks noChangeArrowheads="1"/>
          </p:cNvSpPr>
          <p:nvPr/>
        </p:nvSpPr>
        <p:spPr bwMode="auto">
          <a:xfrm rot="11930284" flipH="1" flipV="1">
            <a:off x="4781922" y="5402805"/>
            <a:ext cx="779210" cy="377364"/>
          </a:xfrm>
          <a:prstGeom prst="curvedUpArrow">
            <a:avLst>
              <a:gd name="adj1" fmla="val 24986"/>
              <a:gd name="adj2" fmla="val 49971"/>
              <a:gd name="adj3" fmla="val 25000"/>
            </a:avLst>
          </a:prstGeom>
          <a:solidFill>
            <a:schemeClr val="tx2"/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rot="10800000" wrap="none" lIns="89976" tIns="46788" rIns="89976" bIns="46788" anchor="ctr"/>
          <a:lstStyle/>
          <a:p>
            <a:pPr algn="ctr"/>
            <a:endParaRPr lang="en-US" sz="1200" b="1" dirty="0">
              <a:latin typeface="+mj-lt"/>
            </a:endParaRPr>
          </a:p>
        </p:txBody>
      </p:sp>
      <p:sp>
        <p:nvSpPr>
          <p:cNvPr id="16" name="TextBox 15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286454" y="2702937"/>
            <a:ext cx="2981480" cy="282056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200" b="1" i="1" dirty="0" smtClean="0">
                <a:solidFill>
                  <a:schemeClr val="accent4"/>
                </a:solidFill>
              </a:rPr>
              <a:t>Functional/business heads </a:t>
            </a:r>
            <a:r>
              <a:rPr lang="en-US" sz="1200" dirty="0" smtClean="0"/>
              <a:t>(EDs, etc.) provide leadership to each work stream</a:t>
            </a:r>
          </a:p>
          <a:p>
            <a:pPr lvl="1">
              <a:spcBef>
                <a:spcPct val="50000"/>
              </a:spcBef>
            </a:pPr>
            <a:r>
              <a:rPr lang="en-US" sz="1200" b="1" dirty="0" smtClean="0">
                <a:solidFill>
                  <a:schemeClr val="accent4"/>
                </a:solidFill>
              </a:rPr>
              <a:t>Own delivery </a:t>
            </a:r>
            <a:r>
              <a:rPr lang="en-US" sz="1200" dirty="0" smtClean="0"/>
              <a:t>and </a:t>
            </a:r>
            <a:r>
              <a:rPr lang="en-US" sz="1200" b="1" dirty="0" smtClean="0">
                <a:solidFill>
                  <a:schemeClr val="accent4"/>
                </a:solidFill>
              </a:rPr>
              <a:t>implementation</a:t>
            </a:r>
            <a:r>
              <a:rPr lang="en-US" sz="1200" dirty="0" smtClean="0"/>
              <a:t> of aspirations </a:t>
            </a:r>
          </a:p>
          <a:p>
            <a:pPr lvl="1">
              <a:spcBef>
                <a:spcPct val="50000"/>
              </a:spcBef>
            </a:pPr>
            <a:r>
              <a:rPr lang="en-US" sz="1200" b="1" i="1" dirty="0" smtClean="0">
                <a:solidFill>
                  <a:schemeClr val="accent4"/>
                </a:solidFill>
              </a:rPr>
              <a:t>Key roles:</a:t>
            </a:r>
          </a:p>
          <a:p>
            <a:pPr lvl="2">
              <a:spcBef>
                <a:spcPct val="25000"/>
              </a:spcBef>
            </a:pPr>
            <a:r>
              <a:rPr lang="en-US" sz="1200" dirty="0" smtClean="0"/>
              <a:t>Set vision and aspiration </a:t>
            </a:r>
          </a:p>
          <a:p>
            <a:pPr lvl="2">
              <a:spcBef>
                <a:spcPct val="25000"/>
              </a:spcBef>
            </a:pPr>
            <a:r>
              <a:rPr lang="en-US" sz="1200" dirty="0" smtClean="0"/>
              <a:t>Define KPIs and aspirations</a:t>
            </a:r>
          </a:p>
          <a:p>
            <a:pPr lvl="2">
              <a:spcBef>
                <a:spcPct val="25000"/>
              </a:spcBef>
            </a:pPr>
            <a:r>
              <a:rPr lang="en-US" sz="1200" dirty="0" smtClean="0"/>
              <a:t>Provide debottlenecking and problem solving</a:t>
            </a:r>
          </a:p>
          <a:p>
            <a:pPr lvl="2">
              <a:spcBef>
                <a:spcPct val="25000"/>
              </a:spcBef>
            </a:pPr>
            <a:r>
              <a:rPr lang="en-US" sz="1200" dirty="0" smtClean="0"/>
              <a:t>Performance manage implementation</a:t>
            </a:r>
            <a:endParaRPr lang="en-US" sz="1200" dirty="0"/>
          </a:p>
        </p:txBody>
      </p:sp>
      <p:sp>
        <p:nvSpPr>
          <p:cNvPr id="18" name="TextBox 17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7591581" y="1725793"/>
            <a:ext cx="3943572" cy="149493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200" b="1" dirty="0" smtClean="0">
                <a:solidFill>
                  <a:schemeClr val="accent4"/>
                </a:solidFill>
              </a:rPr>
              <a:t>“</a:t>
            </a:r>
            <a:r>
              <a:rPr lang="en-US" sz="1200" b="1" i="1" dirty="0" smtClean="0">
                <a:solidFill>
                  <a:schemeClr val="accent4"/>
                </a:solidFill>
              </a:rPr>
              <a:t>Change leader</a:t>
            </a:r>
            <a:r>
              <a:rPr lang="en-US" sz="1200" dirty="0" smtClean="0"/>
              <a:t>” of company, responsible for spurring a radical </a:t>
            </a:r>
          </a:p>
          <a:p>
            <a:pPr lvl="1">
              <a:spcBef>
                <a:spcPct val="50000"/>
              </a:spcBef>
            </a:pPr>
            <a:r>
              <a:rPr lang="en-US" sz="1200" dirty="0" smtClean="0"/>
              <a:t>Mandate to </a:t>
            </a:r>
            <a:r>
              <a:rPr lang="en-US" sz="1200" b="1" i="1" dirty="0" smtClean="0">
                <a:solidFill>
                  <a:schemeClr val="accent4"/>
                </a:solidFill>
              </a:rPr>
              <a:t>make decisions </a:t>
            </a:r>
            <a:r>
              <a:rPr lang="en-US" sz="1200" dirty="0" smtClean="0"/>
              <a:t>across personnel, investments and operations</a:t>
            </a:r>
          </a:p>
          <a:p>
            <a:pPr lvl="1">
              <a:spcBef>
                <a:spcPct val="50000"/>
              </a:spcBef>
            </a:pPr>
            <a:r>
              <a:rPr lang="en-US" sz="1200" b="1" i="1" dirty="0" smtClean="0">
                <a:solidFill>
                  <a:schemeClr val="accent4"/>
                </a:solidFill>
              </a:rPr>
              <a:t>Pushes managers </a:t>
            </a:r>
            <a:r>
              <a:rPr lang="en-US" sz="1200" dirty="0" smtClean="0"/>
              <a:t>to challenge assumptions about what is possible </a:t>
            </a:r>
            <a:endParaRPr lang="en-US" sz="1200" dirty="0"/>
          </a:p>
        </p:txBody>
      </p:sp>
      <p:sp>
        <p:nvSpPr>
          <p:cNvPr id="20" name="TextBox 19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7591581" y="3605801"/>
            <a:ext cx="3943572" cy="25908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200" b="1" i="1" dirty="0" smtClean="0">
                <a:solidFill>
                  <a:schemeClr val="accent4"/>
                </a:solidFill>
              </a:rPr>
              <a:t>High performers, highly motivated, future-leaders </a:t>
            </a:r>
            <a:r>
              <a:rPr lang="en-US" sz="1200" dirty="0" smtClean="0"/>
              <a:t>selected as leads and coaches of work-streams</a:t>
            </a:r>
          </a:p>
          <a:p>
            <a:pPr lvl="1">
              <a:spcBef>
                <a:spcPct val="50000"/>
              </a:spcBef>
            </a:pPr>
            <a:r>
              <a:rPr lang="en-US" sz="1200" b="1" i="1" dirty="0" smtClean="0">
                <a:solidFill>
                  <a:schemeClr val="accent4"/>
                </a:solidFill>
              </a:rPr>
              <a:t>Fully-dedicated</a:t>
            </a:r>
            <a:r>
              <a:rPr lang="en-US" sz="1200" b="1" dirty="0" smtClean="0">
                <a:solidFill>
                  <a:schemeClr val="accent4"/>
                </a:solidFill>
              </a:rPr>
              <a:t> </a:t>
            </a:r>
            <a:r>
              <a:rPr lang="en-US" sz="1200" dirty="0" smtClean="0"/>
              <a:t>change agents</a:t>
            </a:r>
            <a:r>
              <a:rPr lang="en-US" sz="1200" b="1" dirty="0" smtClean="0">
                <a:solidFill>
                  <a:schemeClr val="accent4"/>
                </a:solidFill>
              </a:rPr>
              <a:t> </a:t>
            </a:r>
            <a:endParaRPr lang="en-US" sz="1200" dirty="0" smtClean="0">
              <a:solidFill>
                <a:schemeClr val="accent4"/>
              </a:solidFill>
            </a:endParaRPr>
          </a:p>
          <a:p>
            <a:pPr lvl="1">
              <a:spcBef>
                <a:spcPct val="50000"/>
              </a:spcBef>
            </a:pPr>
            <a:r>
              <a:rPr lang="en-US" sz="1200" b="1" i="1" dirty="0" smtClean="0">
                <a:solidFill>
                  <a:schemeClr val="accent4"/>
                </a:solidFill>
              </a:rPr>
              <a:t>Coaches focus on</a:t>
            </a:r>
          </a:p>
          <a:p>
            <a:pPr lvl="2">
              <a:spcBef>
                <a:spcPct val="25000"/>
              </a:spcBef>
            </a:pPr>
            <a:r>
              <a:rPr lang="en-US" sz="1200" dirty="0" smtClean="0"/>
              <a:t>Bringing in best practice tools </a:t>
            </a:r>
          </a:p>
          <a:p>
            <a:pPr lvl="2">
              <a:spcBef>
                <a:spcPct val="25000"/>
              </a:spcBef>
            </a:pPr>
            <a:r>
              <a:rPr lang="en-US" sz="1200" dirty="0" smtClean="0"/>
              <a:t>Root-cause problem solving and idea generation</a:t>
            </a:r>
          </a:p>
          <a:p>
            <a:pPr lvl="2">
              <a:spcBef>
                <a:spcPct val="25000"/>
              </a:spcBef>
            </a:pPr>
            <a:r>
              <a:rPr lang="en-US" sz="1200" dirty="0" smtClean="0"/>
              <a:t>Adhering to the TO process </a:t>
            </a:r>
          </a:p>
          <a:p>
            <a:pPr lvl="2">
              <a:spcBef>
                <a:spcPct val="25000"/>
              </a:spcBef>
            </a:pPr>
            <a:r>
              <a:rPr lang="en-US" sz="1200" dirty="0" smtClean="0"/>
              <a:t>Ensuring implementation through the front-line</a:t>
            </a:r>
          </a:p>
          <a:p>
            <a:pPr lvl="1">
              <a:spcBef>
                <a:spcPct val="50000"/>
              </a:spcBef>
            </a:pPr>
            <a:r>
              <a:rPr lang="en-US" sz="1200" b="1" i="1" dirty="0" smtClean="0">
                <a:solidFill>
                  <a:schemeClr val="accent4"/>
                </a:solidFill>
              </a:rPr>
              <a:t>After 12-24 months champions, coaches go back to line roles </a:t>
            </a:r>
            <a:r>
              <a:rPr lang="en-US" sz="1200" dirty="0" smtClean="0"/>
              <a:t>and high performing line managers become new coaches</a:t>
            </a:r>
            <a:endParaRPr lang="en-US" sz="1200" dirty="0"/>
          </a:p>
        </p:txBody>
      </p:sp>
      <p:cxnSp>
        <p:nvCxnSpPr>
          <p:cNvPr id="48" name="Elbow Connector 17"/>
          <p:cNvCxnSpPr>
            <a:stCxn id="47" idx="3"/>
          </p:cNvCxnSpPr>
          <p:nvPr/>
        </p:nvCxnSpPr>
        <p:spPr>
          <a:xfrm flipV="1">
            <a:off x="7338146" y="4963054"/>
            <a:ext cx="264910" cy="1"/>
          </a:xfrm>
          <a:prstGeom prst="straightConnector1">
            <a:avLst/>
          </a:prstGeom>
          <a:ln w="19050">
            <a:solidFill>
              <a:schemeClr val="accent6"/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Elbow Connector 17"/>
          <p:cNvCxnSpPr>
            <a:stCxn id="8" idx="1"/>
          </p:cNvCxnSpPr>
          <p:nvPr/>
        </p:nvCxnSpPr>
        <p:spPr>
          <a:xfrm flipH="1">
            <a:off x="3244258" y="3195626"/>
            <a:ext cx="560046" cy="0"/>
          </a:xfrm>
          <a:prstGeom prst="straightConnector1">
            <a:avLst/>
          </a:prstGeom>
          <a:ln w="19050">
            <a:solidFill>
              <a:schemeClr val="accent6"/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Elbow Connector 17"/>
          <p:cNvCxnSpPr/>
          <p:nvPr/>
        </p:nvCxnSpPr>
        <p:spPr>
          <a:xfrm>
            <a:off x="7052093" y="1855927"/>
            <a:ext cx="550964" cy="0"/>
          </a:xfrm>
          <a:prstGeom prst="straightConnector1">
            <a:avLst/>
          </a:prstGeom>
          <a:ln w="19050">
            <a:solidFill>
              <a:schemeClr val="accent6"/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7292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796857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0181" name="think-cell Slide" r:id="rId20" imgW="530" imgH="531" progId="TCLayout.ActiveDocument.1">
                  <p:embed/>
                </p:oleObj>
              </mc:Choice>
              <mc:Fallback>
                <p:oleObj name="think-cell Slide" r:id="rId20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altLang="en-US" dirty="0"/>
              <a:t>Sales playbook : Five key pillars defined and executed upon to </a:t>
            </a:r>
            <a:r>
              <a:rPr lang="en-US" altLang="en-US" dirty="0" smtClean="0"/>
              <a:t/>
            </a:r>
            <a:br>
              <a:rPr lang="en-US" altLang="en-US" dirty="0" smtClean="0"/>
            </a:br>
            <a:r>
              <a:rPr lang="en-US" altLang="en-US" dirty="0" smtClean="0"/>
              <a:t>deliver </a:t>
            </a:r>
            <a:r>
              <a:rPr lang="en-US" altLang="en-US" dirty="0"/>
              <a:t>commercial and technical excellence to customers</a:t>
            </a:r>
            <a:endParaRPr lang="en-GB" dirty="0"/>
          </a:p>
        </p:txBody>
      </p:sp>
      <p:grpSp>
        <p:nvGrpSpPr>
          <p:cNvPr id="5" name="Group 4"/>
          <p:cNvGrpSpPr/>
          <p:nvPr/>
        </p:nvGrpSpPr>
        <p:grpSpPr>
          <a:xfrm>
            <a:off x="949815" y="1104776"/>
            <a:ext cx="9909779" cy="5266859"/>
            <a:chOff x="966870" y="999915"/>
            <a:chExt cx="9909779" cy="5266859"/>
          </a:xfrm>
        </p:grpSpPr>
        <p:sp>
          <p:nvSpPr>
            <p:cNvPr id="366" name="AutoShape 41"/>
            <p:cNvSpPr>
              <a:spLocks noChangeArrowheads="1"/>
            </p:cNvSpPr>
            <p:nvPr/>
          </p:nvSpPr>
          <p:spPr bwMode="gray">
            <a:xfrm flipH="1">
              <a:off x="2262398" y="999915"/>
              <a:ext cx="8558144" cy="1008480"/>
            </a:xfrm>
            <a:prstGeom prst="triangle">
              <a:avLst>
                <a:gd name="adj" fmla="val 50000"/>
              </a:avLst>
            </a:prstGeom>
            <a:solidFill>
              <a:srgbClr val="00B0F0"/>
            </a:solidFill>
            <a:ln w="12700" algn="ctr">
              <a:solidFill>
                <a:srgbClr val="FFFFFF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72000" tIns="72000" rIns="72000" bIns="7200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 dirty="0">
                <a:solidFill>
                  <a:schemeClr val="accent6"/>
                </a:solidFill>
                <a:latin typeface="+mn-lt"/>
              </a:endParaRPr>
            </a:p>
          </p:txBody>
        </p:sp>
        <p:sp>
          <p:nvSpPr>
            <p:cNvPr id="464" name="Rectangle 42"/>
            <p:cNvSpPr>
              <a:spLocks noChangeArrowheads="1"/>
            </p:cNvSpPr>
            <p:nvPr/>
          </p:nvSpPr>
          <p:spPr bwMode="gray">
            <a:xfrm flipH="1">
              <a:off x="2262398" y="2118834"/>
              <a:ext cx="8614251" cy="156692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C0C0C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9488" tIns="44747" rIns="89488" bIns="44747" anchor="ctr"/>
            <a:lstStyle/>
            <a:p>
              <a:pPr algn="ctr"/>
              <a:endParaRPr lang="en-US" sz="1200" b="1" dirty="0">
                <a:solidFill>
                  <a:srgbClr val="1F497D"/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465" name="TextBox 464"/>
            <p:cNvSpPr txBox="1">
              <a:spLocks/>
            </p:cNvSpPr>
            <p:nvPr/>
          </p:nvSpPr>
          <p:spPr>
            <a:xfrm>
              <a:off x="970122" y="999915"/>
              <a:ext cx="1130502" cy="1047778"/>
            </a:xfrm>
            <a:prstGeom prst="rect">
              <a:avLst/>
            </a:prstGeom>
            <a:solidFill>
              <a:schemeClr val="accent4"/>
            </a:solidFill>
            <a:ln>
              <a:noFill/>
              <a:headEnd/>
              <a:tailEnd/>
            </a:ln>
            <a:effectLst/>
            <a:ex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vert="horz" wrap="square" lIns="73152" tIns="73152" rIns="73152" bIns="73152" numCol="1" anchor="t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2E3094"/>
                </a:buClr>
              </a:pPr>
              <a:r>
                <a:rPr lang="en-US" sz="1200" b="1" dirty="0">
                  <a:solidFill>
                    <a:schemeClr val="bg1"/>
                  </a:solidFill>
                </a:rPr>
                <a:t>Aspiration</a:t>
              </a:r>
            </a:p>
          </p:txBody>
        </p:sp>
        <p:sp>
          <p:nvSpPr>
            <p:cNvPr id="466" name="TextBox 465"/>
            <p:cNvSpPr txBox="1">
              <a:spLocks/>
            </p:cNvSpPr>
            <p:nvPr/>
          </p:nvSpPr>
          <p:spPr>
            <a:xfrm>
              <a:off x="970122" y="2142661"/>
              <a:ext cx="1130502" cy="2792962"/>
            </a:xfrm>
            <a:prstGeom prst="rect">
              <a:avLst/>
            </a:prstGeom>
            <a:solidFill>
              <a:schemeClr val="accent4"/>
            </a:solidFill>
            <a:ln>
              <a:noFill/>
              <a:headEnd/>
              <a:tailEnd/>
            </a:ln>
            <a:effectLst/>
            <a:ex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vert="horz" wrap="square" lIns="73152" tIns="73152" rIns="73152" bIns="73152" numCol="1" anchor="t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2E3094"/>
                </a:buClr>
              </a:pPr>
              <a:r>
                <a:rPr lang="en-US" sz="1200" b="1" dirty="0">
                  <a:solidFill>
                    <a:schemeClr val="bg1"/>
                  </a:solidFill>
                </a:rPr>
                <a:t>Pillars</a:t>
              </a:r>
            </a:p>
          </p:txBody>
        </p:sp>
        <p:sp>
          <p:nvSpPr>
            <p:cNvPr id="471" name="Freeform 52"/>
            <p:cNvSpPr>
              <a:spLocks noEditPoints="1"/>
            </p:cNvSpPr>
            <p:nvPr/>
          </p:nvSpPr>
          <p:spPr bwMode="auto">
            <a:xfrm>
              <a:off x="1238474" y="1392274"/>
              <a:ext cx="593794" cy="600248"/>
            </a:xfrm>
            <a:custGeom>
              <a:avLst/>
              <a:gdLst>
                <a:gd name="T0" fmla="*/ 2892 w 4796"/>
                <a:gd name="T1" fmla="*/ 3026 h 4796"/>
                <a:gd name="T2" fmla="*/ 2624 w 4796"/>
                <a:gd name="T3" fmla="*/ 3157 h 4796"/>
                <a:gd name="T4" fmla="*/ 3211 w 4796"/>
                <a:gd name="T5" fmla="*/ 2930 h 4796"/>
                <a:gd name="T6" fmla="*/ 2976 w 4796"/>
                <a:gd name="T7" fmla="*/ 2671 h 4796"/>
                <a:gd name="T8" fmla="*/ 3015 w 4796"/>
                <a:gd name="T9" fmla="*/ 2905 h 4796"/>
                <a:gd name="T10" fmla="*/ 374 w 4796"/>
                <a:gd name="T11" fmla="*/ 296 h 4796"/>
                <a:gd name="T12" fmla="*/ 2516 w 4796"/>
                <a:gd name="T13" fmla="*/ 2864 h 4796"/>
                <a:gd name="T14" fmla="*/ 2332 w 4796"/>
                <a:gd name="T15" fmla="*/ 2709 h 4796"/>
                <a:gd name="T16" fmla="*/ 2257 w 4796"/>
                <a:gd name="T17" fmla="*/ 3910 h 4796"/>
                <a:gd name="T18" fmla="*/ 3514 w 4796"/>
                <a:gd name="T19" fmla="*/ 3240 h 4796"/>
                <a:gd name="T20" fmla="*/ 3574 w 4796"/>
                <a:gd name="T21" fmla="*/ 1975 h 4796"/>
                <a:gd name="T22" fmla="*/ 2586 w 4796"/>
                <a:gd name="T23" fmla="*/ 2436 h 4796"/>
                <a:gd name="T24" fmla="*/ 2895 w 4796"/>
                <a:gd name="T25" fmla="*/ 2459 h 4796"/>
                <a:gd name="T26" fmla="*/ 3345 w 4796"/>
                <a:gd name="T27" fmla="*/ 2301 h 4796"/>
                <a:gd name="T28" fmla="*/ 3298 w 4796"/>
                <a:gd name="T29" fmla="*/ 3170 h 4796"/>
                <a:gd name="T30" fmla="*/ 2304 w 4796"/>
                <a:gd name="T31" fmla="*/ 3388 h 4796"/>
                <a:gd name="T32" fmla="*/ 2460 w 4796"/>
                <a:gd name="T33" fmla="*/ 2893 h 4796"/>
                <a:gd name="T34" fmla="*/ 835 w 4796"/>
                <a:gd name="T35" fmla="*/ 721 h 4796"/>
                <a:gd name="T36" fmla="*/ 868 w 4796"/>
                <a:gd name="T37" fmla="*/ 423 h 4796"/>
                <a:gd name="T38" fmla="*/ 441 w 4796"/>
                <a:gd name="T39" fmla="*/ 5 h 4796"/>
                <a:gd name="T40" fmla="*/ 835 w 4796"/>
                <a:gd name="T41" fmla="*/ 721 h 4796"/>
                <a:gd name="T42" fmla="*/ 19 w 4796"/>
                <a:gd name="T43" fmla="*/ 437 h 4796"/>
                <a:gd name="T44" fmla="*/ 453 w 4796"/>
                <a:gd name="T45" fmla="*/ 878 h 4796"/>
                <a:gd name="T46" fmla="*/ 732 w 4796"/>
                <a:gd name="T47" fmla="*/ 843 h 4796"/>
                <a:gd name="T48" fmla="*/ 4777 w 4796"/>
                <a:gd name="T49" fmla="*/ 2020 h 4796"/>
                <a:gd name="T50" fmla="*/ 4617 w 4796"/>
                <a:gd name="T51" fmla="*/ 1942 h 4796"/>
                <a:gd name="T52" fmla="*/ 3268 w 4796"/>
                <a:gd name="T53" fmla="*/ 4115 h 4796"/>
                <a:gd name="T54" fmla="*/ 1598 w 4796"/>
                <a:gd name="T55" fmla="*/ 4500 h 4796"/>
                <a:gd name="T56" fmla="*/ 2004 w 4796"/>
                <a:gd name="T57" fmla="*/ 4776 h 4796"/>
                <a:gd name="T58" fmla="*/ 2275 w 4796"/>
                <a:gd name="T59" fmla="*/ 4793 h 4796"/>
                <a:gd name="T60" fmla="*/ 4095 w 4796"/>
                <a:gd name="T61" fmla="*/ 3683 h 4796"/>
                <a:gd name="T62" fmla="*/ 4796 w 4796"/>
                <a:gd name="T63" fmla="*/ 2216 h 4796"/>
                <a:gd name="T64" fmla="*/ 2076 w 4796"/>
                <a:gd name="T65" fmla="*/ 4570 h 4796"/>
                <a:gd name="T66" fmla="*/ 4252 w 4796"/>
                <a:gd name="T67" fmla="*/ 2943 h 4796"/>
                <a:gd name="T68" fmla="*/ 4111 w 4796"/>
                <a:gd name="T69" fmla="*/ 1340 h 4796"/>
                <a:gd name="T70" fmla="*/ 2299 w 4796"/>
                <a:gd name="T71" fmla="*/ 2135 h 4796"/>
                <a:gd name="T72" fmla="*/ 2453 w 4796"/>
                <a:gd name="T73" fmla="*/ 2275 h 4796"/>
                <a:gd name="T74" fmla="*/ 3840 w 4796"/>
                <a:gd name="T75" fmla="*/ 1652 h 4796"/>
                <a:gd name="T76" fmla="*/ 4028 w 4796"/>
                <a:gd name="T77" fmla="*/ 2880 h 4796"/>
                <a:gd name="T78" fmla="*/ 2039 w 4796"/>
                <a:gd name="T79" fmla="*/ 4240 h 4796"/>
                <a:gd name="T80" fmla="*/ 1746 w 4796"/>
                <a:gd name="T81" fmla="*/ 3257 h 4796"/>
                <a:gd name="T82" fmla="*/ 2145 w 4796"/>
                <a:gd name="T83" fmla="*/ 2291 h 4796"/>
                <a:gd name="T84" fmla="*/ 1342 w 4796"/>
                <a:gd name="T85" fmla="*/ 3679 h 4796"/>
                <a:gd name="T86" fmla="*/ 2076 w 4796"/>
                <a:gd name="T87" fmla="*/ 4570 h 47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796" h="4796">
                  <a:moveTo>
                    <a:pt x="2516" y="2864"/>
                  </a:moveTo>
                  <a:cubicBezTo>
                    <a:pt x="2649" y="2915"/>
                    <a:pt x="2776" y="2964"/>
                    <a:pt x="2907" y="3013"/>
                  </a:cubicBezTo>
                  <a:cubicBezTo>
                    <a:pt x="2900" y="3019"/>
                    <a:pt x="2895" y="3022"/>
                    <a:pt x="2892" y="3026"/>
                  </a:cubicBezTo>
                  <a:cubicBezTo>
                    <a:pt x="2875" y="3044"/>
                    <a:pt x="2857" y="3046"/>
                    <a:pt x="2833" y="3036"/>
                  </a:cubicBezTo>
                  <a:cubicBezTo>
                    <a:pt x="2781" y="3013"/>
                    <a:pt x="2728" y="2995"/>
                    <a:pt x="2674" y="2974"/>
                  </a:cubicBezTo>
                  <a:cubicBezTo>
                    <a:pt x="2642" y="3022"/>
                    <a:pt x="2620" y="3104"/>
                    <a:pt x="2624" y="3157"/>
                  </a:cubicBezTo>
                  <a:cubicBezTo>
                    <a:pt x="2629" y="3215"/>
                    <a:pt x="2658" y="3250"/>
                    <a:pt x="2715" y="3264"/>
                  </a:cubicBezTo>
                  <a:cubicBezTo>
                    <a:pt x="2761" y="3275"/>
                    <a:pt x="2805" y="3266"/>
                    <a:pt x="2848" y="3250"/>
                  </a:cubicBezTo>
                  <a:cubicBezTo>
                    <a:pt x="3008" y="3188"/>
                    <a:pt x="3126" y="3078"/>
                    <a:pt x="3211" y="2930"/>
                  </a:cubicBezTo>
                  <a:cubicBezTo>
                    <a:pt x="3244" y="2874"/>
                    <a:pt x="3266" y="2815"/>
                    <a:pt x="3266" y="2749"/>
                  </a:cubicBezTo>
                  <a:cubicBezTo>
                    <a:pt x="3267" y="2691"/>
                    <a:pt x="3238" y="2646"/>
                    <a:pt x="3187" y="2632"/>
                  </a:cubicBezTo>
                  <a:cubicBezTo>
                    <a:pt x="3111" y="2611"/>
                    <a:pt x="3044" y="2639"/>
                    <a:pt x="2976" y="2671"/>
                  </a:cubicBezTo>
                  <a:cubicBezTo>
                    <a:pt x="2999" y="2731"/>
                    <a:pt x="3021" y="2789"/>
                    <a:pt x="3042" y="2846"/>
                  </a:cubicBezTo>
                  <a:cubicBezTo>
                    <a:pt x="3044" y="2852"/>
                    <a:pt x="3047" y="2861"/>
                    <a:pt x="3044" y="2866"/>
                  </a:cubicBezTo>
                  <a:cubicBezTo>
                    <a:pt x="3037" y="2879"/>
                    <a:pt x="3027" y="2890"/>
                    <a:pt x="3015" y="2905"/>
                  </a:cubicBezTo>
                  <a:cubicBezTo>
                    <a:pt x="2965" y="2773"/>
                    <a:pt x="2916" y="2645"/>
                    <a:pt x="2866" y="2514"/>
                  </a:cubicBezTo>
                  <a:cubicBezTo>
                    <a:pt x="2834" y="2575"/>
                    <a:pt x="2804" y="2633"/>
                    <a:pt x="2772" y="2694"/>
                  </a:cubicBezTo>
                  <a:cubicBezTo>
                    <a:pt x="1971" y="1892"/>
                    <a:pt x="1171" y="1093"/>
                    <a:pt x="374" y="296"/>
                  </a:cubicBezTo>
                  <a:cubicBezTo>
                    <a:pt x="348" y="322"/>
                    <a:pt x="323" y="347"/>
                    <a:pt x="296" y="374"/>
                  </a:cubicBezTo>
                  <a:cubicBezTo>
                    <a:pt x="1094" y="1172"/>
                    <a:pt x="1893" y="1971"/>
                    <a:pt x="2694" y="2772"/>
                  </a:cubicBezTo>
                  <a:cubicBezTo>
                    <a:pt x="2635" y="2802"/>
                    <a:pt x="2578" y="2832"/>
                    <a:pt x="2516" y="2864"/>
                  </a:cubicBezTo>
                  <a:close/>
                  <a:moveTo>
                    <a:pt x="2581" y="2732"/>
                  </a:moveTo>
                  <a:cubicBezTo>
                    <a:pt x="2533" y="2684"/>
                    <a:pt x="2485" y="2636"/>
                    <a:pt x="2435" y="2586"/>
                  </a:cubicBezTo>
                  <a:cubicBezTo>
                    <a:pt x="2402" y="2626"/>
                    <a:pt x="2366" y="2667"/>
                    <a:pt x="2332" y="2709"/>
                  </a:cubicBezTo>
                  <a:cubicBezTo>
                    <a:pt x="2203" y="2871"/>
                    <a:pt x="2095" y="3044"/>
                    <a:pt x="2026" y="3241"/>
                  </a:cubicBezTo>
                  <a:cubicBezTo>
                    <a:pt x="1987" y="3356"/>
                    <a:pt x="1963" y="3473"/>
                    <a:pt x="1976" y="3596"/>
                  </a:cubicBezTo>
                  <a:cubicBezTo>
                    <a:pt x="1993" y="3761"/>
                    <a:pt x="2094" y="3875"/>
                    <a:pt x="2257" y="3910"/>
                  </a:cubicBezTo>
                  <a:cubicBezTo>
                    <a:pt x="2331" y="3926"/>
                    <a:pt x="2406" y="3922"/>
                    <a:pt x="2481" y="3910"/>
                  </a:cubicBezTo>
                  <a:cubicBezTo>
                    <a:pt x="2639" y="3884"/>
                    <a:pt x="2784" y="3821"/>
                    <a:pt x="2921" y="3741"/>
                  </a:cubicBezTo>
                  <a:cubicBezTo>
                    <a:pt x="3149" y="3610"/>
                    <a:pt x="3344" y="3439"/>
                    <a:pt x="3514" y="3240"/>
                  </a:cubicBezTo>
                  <a:cubicBezTo>
                    <a:pt x="3654" y="3076"/>
                    <a:pt x="3771" y="2897"/>
                    <a:pt x="3849" y="2694"/>
                  </a:cubicBezTo>
                  <a:cubicBezTo>
                    <a:pt x="3896" y="2572"/>
                    <a:pt x="3926" y="2447"/>
                    <a:pt x="3916" y="2315"/>
                  </a:cubicBezTo>
                  <a:cubicBezTo>
                    <a:pt x="3902" y="2119"/>
                    <a:pt x="3771" y="1988"/>
                    <a:pt x="3574" y="1975"/>
                  </a:cubicBezTo>
                  <a:cubicBezTo>
                    <a:pt x="3440" y="1967"/>
                    <a:pt x="3313" y="1998"/>
                    <a:pt x="3190" y="2046"/>
                  </a:cubicBezTo>
                  <a:cubicBezTo>
                    <a:pt x="3014" y="2115"/>
                    <a:pt x="2857" y="2214"/>
                    <a:pt x="2710" y="2331"/>
                  </a:cubicBezTo>
                  <a:cubicBezTo>
                    <a:pt x="2668" y="2365"/>
                    <a:pt x="2627" y="2401"/>
                    <a:pt x="2586" y="2436"/>
                  </a:cubicBezTo>
                  <a:cubicBezTo>
                    <a:pt x="2636" y="2486"/>
                    <a:pt x="2685" y="2534"/>
                    <a:pt x="2731" y="2580"/>
                  </a:cubicBezTo>
                  <a:cubicBezTo>
                    <a:pt x="2807" y="2546"/>
                    <a:pt x="2836" y="2473"/>
                    <a:pt x="2872" y="2400"/>
                  </a:cubicBezTo>
                  <a:cubicBezTo>
                    <a:pt x="2881" y="2423"/>
                    <a:pt x="2888" y="2440"/>
                    <a:pt x="2895" y="2459"/>
                  </a:cubicBezTo>
                  <a:cubicBezTo>
                    <a:pt x="2903" y="2455"/>
                    <a:pt x="2908" y="2451"/>
                    <a:pt x="2914" y="2448"/>
                  </a:cubicBezTo>
                  <a:cubicBezTo>
                    <a:pt x="2958" y="2424"/>
                    <a:pt x="3001" y="2397"/>
                    <a:pt x="3045" y="2376"/>
                  </a:cubicBezTo>
                  <a:cubicBezTo>
                    <a:pt x="3140" y="2330"/>
                    <a:pt x="3239" y="2299"/>
                    <a:pt x="3345" y="2301"/>
                  </a:cubicBezTo>
                  <a:cubicBezTo>
                    <a:pt x="3485" y="2303"/>
                    <a:pt x="3574" y="2384"/>
                    <a:pt x="3589" y="2523"/>
                  </a:cubicBezTo>
                  <a:cubicBezTo>
                    <a:pt x="3599" y="2612"/>
                    <a:pt x="3577" y="2696"/>
                    <a:pt x="3546" y="2779"/>
                  </a:cubicBezTo>
                  <a:cubicBezTo>
                    <a:pt x="3489" y="2926"/>
                    <a:pt x="3402" y="3054"/>
                    <a:pt x="3298" y="3170"/>
                  </a:cubicBezTo>
                  <a:cubicBezTo>
                    <a:pt x="3158" y="3325"/>
                    <a:pt x="2999" y="3453"/>
                    <a:pt x="2806" y="3536"/>
                  </a:cubicBezTo>
                  <a:cubicBezTo>
                    <a:pt x="2717" y="3574"/>
                    <a:pt x="2626" y="3598"/>
                    <a:pt x="2528" y="3592"/>
                  </a:cubicBezTo>
                  <a:cubicBezTo>
                    <a:pt x="2404" y="3585"/>
                    <a:pt x="2321" y="3511"/>
                    <a:pt x="2304" y="3388"/>
                  </a:cubicBezTo>
                  <a:cubicBezTo>
                    <a:pt x="2298" y="3344"/>
                    <a:pt x="2300" y="3297"/>
                    <a:pt x="2307" y="3253"/>
                  </a:cubicBezTo>
                  <a:cubicBezTo>
                    <a:pt x="2326" y="3129"/>
                    <a:pt x="2381" y="3019"/>
                    <a:pt x="2447" y="2914"/>
                  </a:cubicBezTo>
                  <a:cubicBezTo>
                    <a:pt x="2451" y="2908"/>
                    <a:pt x="2455" y="2901"/>
                    <a:pt x="2460" y="2893"/>
                  </a:cubicBezTo>
                  <a:cubicBezTo>
                    <a:pt x="2441" y="2886"/>
                    <a:pt x="2423" y="2879"/>
                    <a:pt x="2401" y="2870"/>
                  </a:cubicBezTo>
                  <a:cubicBezTo>
                    <a:pt x="2476" y="2835"/>
                    <a:pt x="2547" y="2803"/>
                    <a:pt x="2581" y="2732"/>
                  </a:cubicBezTo>
                  <a:close/>
                  <a:moveTo>
                    <a:pt x="835" y="721"/>
                  </a:moveTo>
                  <a:cubicBezTo>
                    <a:pt x="839" y="725"/>
                    <a:pt x="844" y="728"/>
                    <a:pt x="850" y="733"/>
                  </a:cubicBezTo>
                  <a:cubicBezTo>
                    <a:pt x="861" y="635"/>
                    <a:pt x="871" y="540"/>
                    <a:pt x="880" y="446"/>
                  </a:cubicBezTo>
                  <a:cubicBezTo>
                    <a:pt x="881" y="438"/>
                    <a:pt x="874" y="429"/>
                    <a:pt x="868" y="423"/>
                  </a:cubicBezTo>
                  <a:cubicBezTo>
                    <a:pt x="732" y="286"/>
                    <a:pt x="595" y="149"/>
                    <a:pt x="458" y="13"/>
                  </a:cubicBezTo>
                  <a:cubicBezTo>
                    <a:pt x="454" y="9"/>
                    <a:pt x="450" y="5"/>
                    <a:pt x="444" y="0"/>
                  </a:cubicBezTo>
                  <a:cubicBezTo>
                    <a:pt x="442" y="3"/>
                    <a:pt x="441" y="4"/>
                    <a:pt x="441" y="5"/>
                  </a:cubicBezTo>
                  <a:cubicBezTo>
                    <a:pt x="431" y="98"/>
                    <a:pt x="421" y="190"/>
                    <a:pt x="412" y="283"/>
                  </a:cubicBezTo>
                  <a:cubicBezTo>
                    <a:pt x="411" y="291"/>
                    <a:pt x="416" y="301"/>
                    <a:pt x="422" y="307"/>
                  </a:cubicBezTo>
                  <a:cubicBezTo>
                    <a:pt x="559" y="445"/>
                    <a:pt x="697" y="583"/>
                    <a:pt x="835" y="721"/>
                  </a:cubicBezTo>
                  <a:close/>
                  <a:moveTo>
                    <a:pt x="305" y="416"/>
                  </a:moveTo>
                  <a:cubicBezTo>
                    <a:pt x="300" y="411"/>
                    <a:pt x="291" y="409"/>
                    <a:pt x="284" y="409"/>
                  </a:cubicBezTo>
                  <a:cubicBezTo>
                    <a:pt x="196" y="418"/>
                    <a:pt x="107" y="428"/>
                    <a:pt x="19" y="437"/>
                  </a:cubicBezTo>
                  <a:cubicBezTo>
                    <a:pt x="14" y="438"/>
                    <a:pt x="8" y="440"/>
                    <a:pt x="0" y="441"/>
                  </a:cubicBezTo>
                  <a:cubicBezTo>
                    <a:pt x="145" y="587"/>
                    <a:pt x="287" y="729"/>
                    <a:pt x="430" y="871"/>
                  </a:cubicBezTo>
                  <a:cubicBezTo>
                    <a:pt x="435" y="876"/>
                    <a:pt x="445" y="878"/>
                    <a:pt x="453" y="878"/>
                  </a:cubicBezTo>
                  <a:cubicBezTo>
                    <a:pt x="487" y="875"/>
                    <a:pt x="521" y="871"/>
                    <a:pt x="554" y="867"/>
                  </a:cubicBezTo>
                  <a:cubicBezTo>
                    <a:pt x="614" y="861"/>
                    <a:pt x="673" y="855"/>
                    <a:pt x="734" y="848"/>
                  </a:cubicBezTo>
                  <a:cubicBezTo>
                    <a:pt x="732" y="844"/>
                    <a:pt x="732" y="843"/>
                    <a:pt x="732" y="843"/>
                  </a:cubicBezTo>
                  <a:cubicBezTo>
                    <a:pt x="590" y="700"/>
                    <a:pt x="448" y="558"/>
                    <a:pt x="305" y="416"/>
                  </a:cubicBezTo>
                  <a:close/>
                  <a:moveTo>
                    <a:pt x="4793" y="2145"/>
                  </a:moveTo>
                  <a:cubicBezTo>
                    <a:pt x="4788" y="2103"/>
                    <a:pt x="4784" y="2061"/>
                    <a:pt x="4777" y="2020"/>
                  </a:cubicBezTo>
                  <a:cubicBezTo>
                    <a:pt x="4748" y="1833"/>
                    <a:pt x="4626" y="1706"/>
                    <a:pt x="4491" y="1587"/>
                  </a:cubicBezTo>
                  <a:cubicBezTo>
                    <a:pt x="4493" y="1590"/>
                    <a:pt x="4494" y="1592"/>
                    <a:pt x="4495" y="1594"/>
                  </a:cubicBezTo>
                  <a:cubicBezTo>
                    <a:pt x="4572" y="1698"/>
                    <a:pt x="4607" y="1815"/>
                    <a:pt x="4617" y="1942"/>
                  </a:cubicBezTo>
                  <a:cubicBezTo>
                    <a:pt x="4629" y="2089"/>
                    <a:pt x="4607" y="2232"/>
                    <a:pt x="4569" y="2373"/>
                  </a:cubicBezTo>
                  <a:cubicBezTo>
                    <a:pt x="4506" y="2608"/>
                    <a:pt x="4403" y="2824"/>
                    <a:pt x="4275" y="3030"/>
                  </a:cubicBezTo>
                  <a:cubicBezTo>
                    <a:pt x="4010" y="3457"/>
                    <a:pt x="3671" y="3816"/>
                    <a:pt x="3268" y="4115"/>
                  </a:cubicBezTo>
                  <a:cubicBezTo>
                    <a:pt x="3028" y="4293"/>
                    <a:pt x="2771" y="4440"/>
                    <a:pt x="2487" y="4536"/>
                  </a:cubicBezTo>
                  <a:cubicBezTo>
                    <a:pt x="2315" y="4594"/>
                    <a:pt x="2141" y="4631"/>
                    <a:pt x="1959" y="4620"/>
                  </a:cubicBezTo>
                  <a:cubicBezTo>
                    <a:pt x="1828" y="4612"/>
                    <a:pt x="1705" y="4579"/>
                    <a:pt x="1598" y="4500"/>
                  </a:cubicBezTo>
                  <a:cubicBezTo>
                    <a:pt x="1595" y="4499"/>
                    <a:pt x="1592" y="4498"/>
                    <a:pt x="1590" y="4497"/>
                  </a:cubicBezTo>
                  <a:cubicBezTo>
                    <a:pt x="1624" y="4536"/>
                    <a:pt x="1661" y="4571"/>
                    <a:pt x="1697" y="4608"/>
                  </a:cubicBezTo>
                  <a:cubicBezTo>
                    <a:pt x="1781" y="4697"/>
                    <a:pt x="1885" y="4751"/>
                    <a:pt x="2004" y="4776"/>
                  </a:cubicBezTo>
                  <a:cubicBezTo>
                    <a:pt x="2045" y="4785"/>
                    <a:pt x="2087" y="4789"/>
                    <a:pt x="2128" y="4796"/>
                  </a:cubicBezTo>
                  <a:cubicBezTo>
                    <a:pt x="2260" y="4796"/>
                    <a:pt x="2260" y="4796"/>
                    <a:pt x="2260" y="4796"/>
                  </a:cubicBezTo>
                  <a:cubicBezTo>
                    <a:pt x="2265" y="4795"/>
                    <a:pt x="2270" y="4794"/>
                    <a:pt x="2275" y="4793"/>
                  </a:cubicBezTo>
                  <a:cubicBezTo>
                    <a:pt x="2355" y="4780"/>
                    <a:pt x="2435" y="4771"/>
                    <a:pt x="2513" y="4752"/>
                  </a:cubicBezTo>
                  <a:cubicBezTo>
                    <a:pt x="2744" y="4697"/>
                    <a:pt x="2956" y="4598"/>
                    <a:pt x="3158" y="4477"/>
                  </a:cubicBezTo>
                  <a:cubicBezTo>
                    <a:pt x="3515" y="4265"/>
                    <a:pt x="3824" y="3996"/>
                    <a:pt x="4095" y="3683"/>
                  </a:cubicBezTo>
                  <a:cubicBezTo>
                    <a:pt x="4314" y="3432"/>
                    <a:pt x="4499" y="3159"/>
                    <a:pt x="4634" y="2853"/>
                  </a:cubicBezTo>
                  <a:cubicBezTo>
                    <a:pt x="4709" y="2685"/>
                    <a:pt x="4764" y="2511"/>
                    <a:pt x="4786" y="2327"/>
                  </a:cubicBezTo>
                  <a:cubicBezTo>
                    <a:pt x="4790" y="2290"/>
                    <a:pt x="4793" y="2253"/>
                    <a:pt x="4796" y="2216"/>
                  </a:cubicBezTo>
                  <a:cubicBezTo>
                    <a:pt x="4796" y="2168"/>
                    <a:pt x="4796" y="2168"/>
                    <a:pt x="4796" y="2168"/>
                  </a:cubicBezTo>
                  <a:cubicBezTo>
                    <a:pt x="4795" y="2160"/>
                    <a:pt x="4794" y="2152"/>
                    <a:pt x="4793" y="2145"/>
                  </a:cubicBezTo>
                  <a:close/>
                  <a:moveTo>
                    <a:pt x="2076" y="4570"/>
                  </a:moveTo>
                  <a:cubicBezTo>
                    <a:pt x="2254" y="4553"/>
                    <a:pt x="2424" y="4502"/>
                    <a:pt x="2589" y="4433"/>
                  </a:cubicBezTo>
                  <a:cubicBezTo>
                    <a:pt x="2823" y="4335"/>
                    <a:pt x="3039" y="4206"/>
                    <a:pt x="3241" y="4053"/>
                  </a:cubicBezTo>
                  <a:cubicBezTo>
                    <a:pt x="3647" y="3747"/>
                    <a:pt x="3989" y="3380"/>
                    <a:pt x="4252" y="2943"/>
                  </a:cubicBezTo>
                  <a:cubicBezTo>
                    <a:pt x="4380" y="2730"/>
                    <a:pt x="4482" y="2505"/>
                    <a:pt x="4538" y="2262"/>
                  </a:cubicBezTo>
                  <a:cubicBezTo>
                    <a:pt x="4573" y="2107"/>
                    <a:pt x="4589" y="1951"/>
                    <a:pt x="4555" y="1794"/>
                  </a:cubicBezTo>
                  <a:cubicBezTo>
                    <a:pt x="4503" y="1549"/>
                    <a:pt x="4355" y="1396"/>
                    <a:pt x="4111" y="1340"/>
                  </a:cubicBezTo>
                  <a:cubicBezTo>
                    <a:pt x="3986" y="1311"/>
                    <a:pt x="3861" y="1315"/>
                    <a:pt x="3735" y="1334"/>
                  </a:cubicBezTo>
                  <a:cubicBezTo>
                    <a:pt x="3529" y="1366"/>
                    <a:pt x="3336" y="1438"/>
                    <a:pt x="3150" y="1530"/>
                  </a:cubicBezTo>
                  <a:cubicBezTo>
                    <a:pt x="2835" y="1687"/>
                    <a:pt x="2555" y="1894"/>
                    <a:pt x="2299" y="2135"/>
                  </a:cubicBezTo>
                  <a:cubicBezTo>
                    <a:pt x="2297" y="2138"/>
                    <a:pt x="2294" y="2141"/>
                    <a:pt x="2294" y="2142"/>
                  </a:cubicBezTo>
                  <a:cubicBezTo>
                    <a:pt x="2343" y="2191"/>
                    <a:pt x="2390" y="2239"/>
                    <a:pt x="2439" y="2287"/>
                  </a:cubicBezTo>
                  <a:cubicBezTo>
                    <a:pt x="2443" y="2284"/>
                    <a:pt x="2448" y="2280"/>
                    <a:pt x="2453" y="2275"/>
                  </a:cubicBezTo>
                  <a:cubicBezTo>
                    <a:pt x="2558" y="2178"/>
                    <a:pt x="2670" y="2087"/>
                    <a:pt x="2788" y="2004"/>
                  </a:cubicBezTo>
                  <a:cubicBezTo>
                    <a:pt x="2984" y="1869"/>
                    <a:pt x="3190" y="1757"/>
                    <a:pt x="3419" y="1691"/>
                  </a:cubicBezTo>
                  <a:cubicBezTo>
                    <a:pt x="3557" y="1651"/>
                    <a:pt x="3697" y="1631"/>
                    <a:pt x="3840" y="1652"/>
                  </a:cubicBezTo>
                  <a:cubicBezTo>
                    <a:pt x="4041" y="1681"/>
                    <a:pt x="4184" y="1809"/>
                    <a:pt x="4231" y="2005"/>
                  </a:cubicBezTo>
                  <a:cubicBezTo>
                    <a:pt x="4259" y="2122"/>
                    <a:pt x="4252" y="2240"/>
                    <a:pt x="4230" y="2356"/>
                  </a:cubicBezTo>
                  <a:cubicBezTo>
                    <a:pt x="4194" y="2543"/>
                    <a:pt x="4122" y="2716"/>
                    <a:pt x="4028" y="2880"/>
                  </a:cubicBezTo>
                  <a:cubicBezTo>
                    <a:pt x="3775" y="3325"/>
                    <a:pt x="3428" y="3682"/>
                    <a:pt x="2999" y="3959"/>
                  </a:cubicBezTo>
                  <a:cubicBezTo>
                    <a:pt x="2823" y="4072"/>
                    <a:pt x="2635" y="4162"/>
                    <a:pt x="2431" y="4215"/>
                  </a:cubicBezTo>
                  <a:cubicBezTo>
                    <a:pt x="2302" y="4247"/>
                    <a:pt x="2171" y="4264"/>
                    <a:pt x="2039" y="4240"/>
                  </a:cubicBezTo>
                  <a:cubicBezTo>
                    <a:pt x="1871" y="4209"/>
                    <a:pt x="1747" y="4121"/>
                    <a:pt x="1682" y="3959"/>
                  </a:cubicBezTo>
                  <a:cubicBezTo>
                    <a:pt x="1649" y="3878"/>
                    <a:pt x="1640" y="3792"/>
                    <a:pt x="1642" y="3704"/>
                  </a:cubicBezTo>
                  <a:cubicBezTo>
                    <a:pt x="1647" y="3548"/>
                    <a:pt x="1688" y="3400"/>
                    <a:pt x="1746" y="3257"/>
                  </a:cubicBezTo>
                  <a:cubicBezTo>
                    <a:pt x="1858" y="2981"/>
                    <a:pt x="2024" y="2738"/>
                    <a:pt x="2219" y="2515"/>
                  </a:cubicBezTo>
                  <a:cubicBezTo>
                    <a:pt x="2243" y="2488"/>
                    <a:pt x="2267" y="2462"/>
                    <a:pt x="2290" y="2436"/>
                  </a:cubicBezTo>
                  <a:cubicBezTo>
                    <a:pt x="2241" y="2387"/>
                    <a:pt x="2193" y="2339"/>
                    <a:pt x="2145" y="2291"/>
                  </a:cubicBezTo>
                  <a:cubicBezTo>
                    <a:pt x="2142" y="2293"/>
                    <a:pt x="2139" y="2296"/>
                    <a:pt x="2136" y="2299"/>
                  </a:cubicBezTo>
                  <a:cubicBezTo>
                    <a:pt x="1923" y="2524"/>
                    <a:pt x="1736" y="2769"/>
                    <a:pt x="1586" y="3041"/>
                  </a:cubicBezTo>
                  <a:cubicBezTo>
                    <a:pt x="1475" y="3242"/>
                    <a:pt x="1387" y="3452"/>
                    <a:pt x="1342" y="3679"/>
                  </a:cubicBezTo>
                  <a:cubicBezTo>
                    <a:pt x="1313" y="3827"/>
                    <a:pt x="1304" y="3975"/>
                    <a:pt x="1340" y="4123"/>
                  </a:cubicBezTo>
                  <a:cubicBezTo>
                    <a:pt x="1388" y="4322"/>
                    <a:pt x="1505" y="4461"/>
                    <a:pt x="1699" y="4531"/>
                  </a:cubicBezTo>
                  <a:cubicBezTo>
                    <a:pt x="1821" y="4576"/>
                    <a:pt x="1948" y="4582"/>
                    <a:pt x="2076" y="457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solidFill>
                  <a:schemeClr val="bg1"/>
                </a:solidFill>
              </a:endParaRPr>
            </a:p>
          </p:txBody>
        </p:sp>
        <p:sp>
          <p:nvSpPr>
            <p:cNvPr id="472" name="Freeform 8"/>
            <p:cNvSpPr>
              <a:spLocks noEditPoints="1"/>
            </p:cNvSpPr>
            <p:nvPr/>
          </p:nvSpPr>
          <p:spPr bwMode="auto">
            <a:xfrm>
              <a:off x="1400405" y="3881002"/>
              <a:ext cx="570992" cy="483522"/>
            </a:xfrm>
            <a:custGeom>
              <a:avLst/>
              <a:gdLst>
                <a:gd name="T0" fmla="*/ 2777 w 3442"/>
                <a:gd name="T1" fmla="*/ 903 h 2884"/>
                <a:gd name="T2" fmla="*/ 2777 w 3442"/>
                <a:gd name="T3" fmla="*/ 2596 h 2884"/>
                <a:gd name="T4" fmla="*/ 3154 w 3442"/>
                <a:gd name="T5" fmla="*/ 2596 h 2884"/>
                <a:gd name="T6" fmla="*/ 3154 w 3442"/>
                <a:gd name="T7" fmla="*/ 1109 h 2884"/>
                <a:gd name="T8" fmla="*/ 2777 w 3442"/>
                <a:gd name="T9" fmla="*/ 903 h 2884"/>
                <a:gd name="T10" fmla="*/ 664 w 3442"/>
                <a:gd name="T11" fmla="*/ 903 h 2884"/>
                <a:gd name="T12" fmla="*/ 288 w 3442"/>
                <a:gd name="T13" fmla="*/ 1109 h 2884"/>
                <a:gd name="T14" fmla="*/ 288 w 3442"/>
                <a:gd name="T15" fmla="*/ 2596 h 2884"/>
                <a:gd name="T16" fmla="*/ 664 w 3442"/>
                <a:gd name="T17" fmla="*/ 2596 h 2884"/>
                <a:gd name="T18" fmla="*/ 664 w 3442"/>
                <a:gd name="T19" fmla="*/ 903 h 2884"/>
                <a:gd name="T20" fmla="*/ 2489 w 3442"/>
                <a:gd name="T21" fmla="*/ 419 h 2884"/>
                <a:gd name="T22" fmla="*/ 3442 w 3442"/>
                <a:gd name="T23" fmla="*/ 938 h 2884"/>
                <a:gd name="T24" fmla="*/ 3442 w 3442"/>
                <a:gd name="T25" fmla="*/ 2884 h 2884"/>
                <a:gd name="T26" fmla="*/ 2489 w 3442"/>
                <a:gd name="T27" fmla="*/ 2884 h 2884"/>
                <a:gd name="T28" fmla="*/ 2489 w 3442"/>
                <a:gd name="T29" fmla="*/ 419 h 2884"/>
                <a:gd name="T30" fmla="*/ 953 w 3442"/>
                <a:gd name="T31" fmla="*/ 419 h 2884"/>
                <a:gd name="T32" fmla="*/ 953 w 3442"/>
                <a:gd name="T33" fmla="*/ 2884 h 2884"/>
                <a:gd name="T34" fmla="*/ 0 w 3442"/>
                <a:gd name="T35" fmla="*/ 2884 h 2884"/>
                <a:gd name="T36" fmla="*/ 0 w 3442"/>
                <a:gd name="T37" fmla="*/ 1472 h 2884"/>
                <a:gd name="T38" fmla="*/ 0 w 3442"/>
                <a:gd name="T39" fmla="*/ 938 h 2884"/>
                <a:gd name="T40" fmla="*/ 953 w 3442"/>
                <a:gd name="T41" fmla="*/ 419 h 2884"/>
                <a:gd name="T42" fmla="*/ 1721 w 3442"/>
                <a:gd name="T43" fmla="*/ 328 h 2884"/>
                <a:gd name="T44" fmla="*/ 1433 w 3442"/>
                <a:gd name="T45" fmla="*/ 485 h 2884"/>
                <a:gd name="T46" fmla="*/ 1433 w 3442"/>
                <a:gd name="T47" fmla="*/ 2596 h 2884"/>
                <a:gd name="T48" fmla="*/ 2009 w 3442"/>
                <a:gd name="T49" fmla="*/ 2596 h 2884"/>
                <a:gd name="T50" fmla="*/ 2009 w 3442"/>
                <a:gd name="T51" fmla="*/ 485 h 2884"/>
                <a:gd name="T52" fmla="*/ 1721 w 3442"/>
                <a:gd name="T53" fmla="*/ 328 h 2884"/>
                <a:gd name="T54" fmla="*/ 1721 w 3442"/>
                <a:gd name="T55" fmla="*/ 0 h 2884"/>
                <a:gd name="T56" fmla="*/ 2297 w 3442"/>
                <a:gd name="T57" fmla="*/ 314 h 2884"/>
                <a:gd name="T58" fmla="*/ 2297 w 3442"/>
                <a:gd name="T59" fmla="*/ 2884 h 2884"/>
                <a:gd name="T60" fmla="*/ 1144 w 3442"/>
                <a:gd name="T61" fmla="*/ 2884 h 2884"/>
                <a:gd name="T62" fmla="*/ 1144 w 3442"/>
                <a:gd name="T63" fmla="*/ 314 h 2884"/>
                <a:gd name="T64" fmla="*/ 1721 w 3442"/>
                <a:gd name="T65" fmla="*/ 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442" h="2884">
                  <a:moveTo>
                    <a:pt x="2777" y="903"/>
                  </a:moveTo>
                  <a:lnTo>
                    <a:pt x="2777" y="2596"/>
                  </a:lnTo>
                  <a:lnTo>
                    <a:pt x="3154" y="2596"/>
                  </a:lnTo>
                  <a:lnTo>
                    <a:pt x="3154" y="1109"/>
                  </a:lnTo>
                  <a:lnTo>
                    <a:pt x="2777" y="903"/>
                  </a:lnTo>
                  <a:close/>
                  <a:moveTo>
                    <a:pt x="664" y="903"/>
                  </a:moveTo>
                  <a:lnTo>
                    <a:pt x="288" y="1109"/>
                  </a:lnTo>
                  <a:lnTo>
                    <a:pt x="288" y="2596"/>
                  </a:lnTo>
                  <a:lnTo>
                    <a:pt x="664" y="2596"/>
                  </a:lnTo>
                  <a:lnTo>
                    <a:pt x="664" y="903"/>
                  </a:lnTo>
                  <a:close/>
                  <a:moveTo>
                    <a:pt x="2489" y="419"/>
                  </a:moveTo>
                  <a:lnTo>
                    <a:pt x="3442" y="938"/>
                  </a:lnTo>
                  <a:lnTo>
                    <a:pt x="3442" y="2884"/>
                  </a:lnTo>
                  <a:lnTo>
                    <a:pt x="2489" y="2884"/>
                  </a:lnTo>
                  <a:lnTo>
                    <a:pt x="2489" y="419"/>
                  </a:lnTo>
                  <a:close/>
                  <a:moveTo>
                    <a:pt x="953" y="419"/>
                  </a:moveTo>
                  <a:lnTo>
                    <a:pt x="953" y="2884"/>
                  </a:lnTo>
                  <a:lnTo>
                    <a:pt x="0" y="2884"/>
                  </a:lnTo>
                  <a:lnTo>
                    <a:pt x="0" y="1472"/>
                  </a:lnTo>
                  <a:lnTo>
                    <a:pt x="0" y="938"/>
                  </a:lnTo>
                  <a:lnTo>
                    <a:pt x="953" y="419"/>
                  </a:lnTo>
                  <a:close/>
                  <a:moveTo>
                    <a:pt x="1721" y="328"/>
                  </a:moveTo>
                  <a:lnTo>
                    <a:pt x="1433" y="485"/>
                  </a:lnTo>
                  <a:lnTo>
                    <a:pt x="1433" y="2596"/>
                  </a:lnTo>
                  <a:lnTo>
                    <a:pt x="2009" y="2596"/>
                  </a:lnTo>
                  <a:lnTo>
                    <a:pt x="2009" y="485"/>
                  </a:lnTo>
                  <a:lnTo>
                    <a:pt x="1721" y="328"/>
                  </a:lnTo>
                  <a:close/>
                  <a:moveTo>
                    <a:pt x="1721" y="0"/>
                  </a:moveTo>
                  <a:lnTo>
                    <a:pt x="2297" y="314"/>
                  </a:lnTo>
                  <a:lnTo>
                    <a:pt x="2297" y="2884"/>
                  </a:lnTo>
                  <a:lnTo>
                    <a:pt x="1144" y="2884"/>
                  </a:lnTo>
                  <a:lnTo>
                    <a:pt x="1144" y="314"/>
                  </a:lnTo>
                  <a:lnTo>
                    <a:pt x="172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solidFill>
                  <a:schemeClr val="bg1"/>
                </a:solidFill>
              </a:endParaRPr>
            </a:p>
          </p:txBody>
        </p:sp>
        <p:sp>
          <p:nvSpPr>
            <p:cNvPr id="474" name="TextBox 473"/>
            <p:cNvSpPr txBox="1">
              <a:spLocks/>
            </p:cNvSpPr>
            <p:nvPr/>
          </p:nvSpPr>
          <p:spPr>
            <a:xfrm>
              <a:off x="5536475" y="1119291"/>
              <a:ext cx="2009990" cy="4150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spcBef>
                  <a:spcPts val="0"/>
                </a:spcBef>
              </a:pPr>
              <a:r>
                <a:rPr lang="en-US" sz="1200" b="1" dirty="0">
                  <a:solidFill>
                    <a:schemeClr val="bg1"/>
                  </a:solidFill>
                  <a:ea typeface="Arial Unicode MS"/>
                  <a:cs typeface="Arial Unicode MS"/>
                </a:rPr>
                <a:t>2.0 </a:t>
              </a:r>
              <a:r>
                <a:rPr lang="en-US" sz="1050" b="1" dirty="0">
                  <a:solidFill>
                    <a:schemeClr val="bg1"/>
                  </a:solidFill>
                  <a:ea typeface="Arial Unicode MS"/>
                  <a:cs typeface="Arial Unicode MS"/>
                </a:rPr>
                <a:t>MTPA</a:t>
              </a:r>
              <a:br>
                <a:rPr lang="en-US" sz="1050" b="1" dirty="0">
                  <a:solidFill>
                    <a:schemeClr val="bg1"/>
                  </a:solidFill>
                  <a:ea typeface="Arial Unicode MS"/>
                  <a:cs typeface="Arial Unicode MS"/>
                </a:rPr>
              </a:br>
              <a:r>
                <a:rPr lang="en-US" sz="1050" dirty="0">
                  <a:solidFill>
                    <a:schemeClr val="bg1"/>
                  </a:solidFill>
                  <a:ea typeface="Arial Unicode MS"/>
                  <a:cs typeface="Arial Unicode MS"/>
                </a:rPr>
                <a:t>Plates volume</a:t>
              </a:r>
            </a:p>
          </p:txBody>
        </p:sp>
        <p:sp>
          <p:nvSpPr>
            <p:cNvPr id="475" name="TextBox 474"/>
            <p:cNvSpPr txBox="1">
              <a:spLocks/>
            </p:cNvSpPr>
            <p:nvPr/>
          </p:nvSpPr>
          <p:spPr>
            <a:xfrm>
              <a:off x="4391302" y="1619778"/>
              <a:ext cx="4475797" cy="2887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spcBef>
                  <a:spcPts val="0"/>
                </a:spcBef>
              </a:pPr>
              <a:r>
                <a:rPr lang="en-US" b="1" dirty="0">
                  <a:solidFill>
                    <a:schemeClr val="bg1"/>
                  </a:solidFill>
                  <a:ea typeface="Arial Unicode MS"/>
                  <a:cs typeface="Arial Unicode MS"/>
                </a:rPr>
                <a:t>~800 Cr </a:t>
              </a:r>
              <a:r>
                <a:rPr lang="en-US" sz="1100" b="1" dirty="0">
                  <a:solidFill>
                    <a:schemeClr val="bg1"/>
                  </a:solidFill>
                  <a:ea typeface="Arial Unicode MS"/>
                  <a:cs typeface="Arial Unicode MS"/>
                </a:rPr>
                <a:t>Incremental EBITDA</a:t>
              </a:r>
              <a:endParaRPr lang="en-US" sz="1100" dirty="0">
                <a:solidFill>
                  <a:schemeClr val="bg1"/>
                </a:solidFill>
                <a:ea typeface="Arial Unicode MS"/>
                <a:cs typeface="Arial Unicode MS"/>
              </a:endParaRPr>
            </a:p>
          </p:txBody>
        </p:sp>
        <p:cxnSp>
          <p:nvCxnSpPr>
            <p:cNvPr id="476" name="Straight Connector 475"/>
            <p:cNvCxnSpPr>
              <a:cxnSpLocks/>
            </p:cNvCxnSpPr>
            <p:nvPr/>
          </p:nvCxnSpPr>
          <p:spPr>
            <a:xfrm>
              <a:off x="5204817" y="2047692"/>
              <a:ext cx="2673309" cy="0"/>
            </a:xfrm>
            <a:prstGeom prst="line">
              <a:avLst/>
            </a:prstGeom>
            <a:ln w="28575">
              <a:solidFill>
                <a:schemeClr val="bg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8" name="Rectangle 44"/>
            <p:cNvSpPr>
              <a:spLocks noChangeArrowheads="1"/>
            </p:cNvSpPr>
            <p:nvPr/>
          </p:nvSpPr>
          <p:spPr bwMode="gray">
            <a:xfrm flipH="1">
              <a:off x="7881585" y="2460458"/>
              <a:ext cx="932660" cy="14437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479" name="Rectangle 45"/>
            <p:cNvSpPr>
              <a:spLocks noChangeArrowheads="1"/>
            </p:cNvSpPr>
            <p:nvPr/>
          </p:nvSpPr>
          <p:spPr bwMode="gray">
            <a:xfrm flipH="1">
              <a:off x="7825480" y="2367451"/>
              <a:ext cx="1044872" cy="7079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480" name="AutoShape 46"/>
            <p:cNvSpPr>
              <a:spLocks noChangeArrowheads="1"/>
            </p:cNvSpPr>
            <p:nvPr/>
          </p:nvSpPr>
          <p:spPr bwMode="gray">
            <a:xfrm flipH="1">
              <a:off x="7884024" y="2604829"/>
              <a:ext cx="927782" cy="24988"/>
            </a:xfrm>
            <a:custGeom>
              <a:avLst/>
              <a:gdLst>
                <a:gd name="G0" fmla="+- 1561 0 0"/>
                <a:gd name="G1" fmla="+- 21600 0 1561"/>
                <a:gd name="G2" fmla="*/ 1561 1 2"/>
                <a:gd name="G3" fmla="+- 21600 0 G2"/>
                <a:gd name="G4" fmla="+/ 1561 21600 2"/>
                <a:gd name="G5" fmla="+/ G1 0 2"/>
                <a:gd name="G6" fmla="*/ 21600 21600 1561"/>
                <a:gd name="G7" fmla="*/ G6 1 2"/>
                <a:gd name="G8" fmla="+- 21600 0 G7"/>
                <a:gd name="G9" fmla="*/ 21600 1 2"/>
                <a:gd name="G10" fmla="+- 1561 0 G9"/>
                <a:gd name="G11" fmla="?: G10 G8 0"/>
                <a:gd name="G12" fmla="?: G10 G7 21600"/>
                <a:gd name="T0" fmla="*/ 20819 w 21600"/>
                <a:gd name="T1" fmla="*/ 10800 h 21600"/>
                <a:gd name="T2" fmla="*/ 10800 w 21600"/>
                <a:gd name="T3" fmla="*/ 21600 h 21600"/>
                <a:gd name="T4" fmla="*/ 781 w 21600"/>
                <a:gd name="T5" fmla="*/ 10800 h 21600"/>
                <a:gd name="T6" fmla="*/ 10800 w 21600"/>
                <a:gd name="T7" fmla="*/ 0 h 21600"/>
                <a:gd name="T8" fmla="*/ 2581 w 21600"/>
                <a:gd name="T9" fmla="*/ 2581 h 21600"/>
                <a:gd name="T10" fmla="*/ 19019 w 21600"/>
                <a:gd name="T11" fmla="*/ 19019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1561" y="21600"/>
                  </a:lnTo>
                  <a:lnTo>
                    <a:pt x="20039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481" name="AutoShape 47"/>
            <p:cNvSpPr>
              <a:spLocks noChangeArrowheads="1"/>
            </p:cNvSpPr>
            <p:nvPr/>
          </p:nvSpPr>
          <p:spPr bwMode="gray">
            <a:xfrm flipH="1">
              <a:off x="7825480" y="2438248"/>
              <a:ext cx="1041619" cy="27763"/>
            </a:xfrm>
            <a:custGeom>
              <a:avLst/>
              <a:gdLst>
                <a:gd name="G0" fmla="+- 1335 0 0"/>
                <a:gd name="G1" fmla="+- 21600 0 1335"/>
                <a:gd name="G2" fmla="*/ 1335 1 2"/>
                <a:gd name="G3" fmla="+- 21600 0 G2"/>
                <a:gd name="G4" fmla="+/ 1335 21600 2"/>
                <a:gd name="G5" fmla="+/ G1 0 2"/>
                <a:gd name="G6" fmla="*/ 21600 21600 1335"/>
                <a:gd name="G7" fmla="*/ G6 1 2"/>
                <a:gd name="G8" fmla="+- 21600 0 G7"/>
                <a:gd name="G9" fmla="*/ 21600 1 2"/>
                <a:gd name="G10" fmla="+- 1335 0 G9"/>
                <a:gd name="G11" fmla="?: G10 G8 0"/>
                <a:gd name="G12" fmla="?: G10 G7 21600"/>
                <a:gd name="T0" fmla="*/ 20932 w 21600"/>
                <a:gd name="T1" fmla="*/ 10800 h 21600"/>
                <a:gd name="T2" fmla="*/ 10800 w 21600"/>
                <a:gd name="T3" fmla="*/ 21600 h 21600"/>
                <a:gd name="T4" fmla="*/ 668 w 21600"/>
                <a:gd name="T5" fmla="*/ 10800 h 21600"/>
                <a:gd name="T6" fmla="*/ 10800 w 21600"/>
                <a:gd name="T7" fmla="*/ 0 h 21600"/>
                <a:gd name="T8" fmla="*/ 2468 w 21600"/>
                <a:gd name="T9" fmla="*/ 2468 h 21600"/>
                <a:gd name="T10" fmla="*/ 19132 w 21600"/>
                <a:gd name="T11" fmla="*/ 19132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1335" y="21600"/>
                  </a:lnTo>
                  <a:lnTo>
                    <a:pt x="20265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482" name="Rectangle 58"/>
            <p:cNvSpPr>
              <a:spLocks noChangeArrowheads="1"/>
            </p:cNvSpPr>
            <p:nvPr/>
          </p:nvSpPr>
          <p:spPr bwMode="gray">
            <a:xfrm flipH="1" flipV="1">
              <a:off x="7881585" y="4578818"/>
              <a:ext cx="932660" cy="14437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483" name="Rectangle 59"/>
            <p:cNvSpPr>
              <a:spLocks noChangeArrowheads="1"/>
            </p:cNvSpPr>
            <p:nvPr/>
          </p:nvSpPr>
          <p:spPr bwMode="gray">
            <a:xfrm flipH="1" flipV="1">
              <a:off x="7825480" y="4745399"/>
              <a:ext cx="1044872" cy="17016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484" name="AutoShape 60"/>
            <p:cNvSpPr>
              <a:spLocks noChangeArrowheads="1"/>
            </p:cNvSpPr>
            <p:nvPr/>
          </p:nvSpPr>
          <p:spPr bwMode="gray">
            <a:xfrm flipH="1" flipV="1">
              <a:off x="7916461" y="2621487"/>
              <a:ext cx="862908" cy="1957331"/>
            </a:xfrm>
            <a:prstGeom prst="rect">
              <a:avLst/>
            </a:prstGeom>
            <a:gradFill rotWithShape="0">
              <a:gsLst>
                <a:gs pos="0">
                  <a:srgbClr val="DDDDDD"/>
                </a:gs>
                <a:gs pos="50000">
                  <a:srgbClr val="FFFFFF"/>
                </a:gs>
                <a:gs pos="100000">
                  <a:srgbClr val="DDDDDD"/>
                </a:gs>
              </a:gsLst>
              <a:lin ang="0" scaled="1"/>
            </a:gradFill>
            <a:ln w="12700" algn="ctr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ctr"/>
              <a:endParaRPr lang="en-US" sz="1200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485" name="AutoShape 61"/>
            <p:cNvSpPr>
              <a:spLocks noChangeArrowheads="1"/>
            </p:cNvSpPr>
            <p:nvPr/>
          </p:nvSpPr>
          <p:spPr bwMode="gray">
            <a:xfrm flipH="1" flipV="1">
              <a:off x="7825480" y="4717637"/>
              <a:ext cx="1041619" cy="27763"/>
            </a:xfrm>
            <a:custGeom>
              <a:avLst/>
              <a:gdLst>
                <a:gd name="G0" fmla="+- 1335 0 0"/>
                <a:gd name="G1" fmla="+- 21600 0 1335"/>
                <a:gd name="G2" fmla="*/ 1335 1 2"/>
                <a:gd name="G3" fmla="+- 21600 0 G2"/>
                <a:gd name="G4" fmla="+/ 1335 21600 2"/>
                <a:gd name="G5" fmla="+/ G1 0 2"/>
                <a:gd name="G6" fmla="*/ 21600 21600 1335"/>
                <a:gd name="G7" fmla="*/ G6 1 2"/>
                <a:gd name="G8" fmla="+- 21600 0 G7"/>
                <a:gd name="G9" fmla="*/ 21600 1 2"/>
                <a:gd name="G10" fmla="+- 1335 0 G9"/>
                <a:gd name="G11" fmla="?: G10 G8 0"/>
                <a:gd name="G12" fmla="?: G10 G7 21600"/>
                <a:gd name="T0" fmla="*/ 20932 w 21600"/>
                <a:gd name="T1" fmla="*/ 10800 h 21600"/>
                <a:gd name="T2" fmla="*/ 10800 w 21600"/>
                <a:gd name="T3" fmla="*/ 21600 h 21600"/>
                <a:gd name="T4" fmla="*/ 668 w 21600"/>
                <a:gd name="T5" fmla="*/ 10800 h 21600"/>
                <a:gd name="T6" fmla="*/ 10800 w 21600"/>
                <a:gd name="T7" fmla="*/ 0 h 21600"/>
                <a:gd name="T8" fmla="*/ 2468 w 21600"/>
                <a:gd name="T9" fmla="*/ 2468 h 21600"/>
                <a:gd name="T10" fmla="*/ 19132 w 21600"/>
                <a:gd name="T11" fmla="*/ 19132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1335" y="21600"/>
                  </a:lnTo>
                  <a:lnTo>
                    <a:pt x="20265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0">
              <a:noFill/>
              <a:miter lim="800000"/>
              <a:headEnd/>
              <a:tailEnd/>
            </a:ln>
            <a:effectLst/>
            <a:extLst/>
          </p:spPr>
          <p:txBody>
            <a:bodyPr rot="10800000" vert="horz" wrap="non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488" name="Oval 50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8177806" y="2688835"/>
              <a:ext cx="340220" cy="343622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rgbClr val="8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200" dirty="0">
                <a:solidFill>
                  <a:schemeClr val="bg2"/>
                </a:solidFill>
              </a:endParaRPr>
            </a:p>
          </p:txBody>
        </p:sp>
        <p:sp>
          <p:nvSpPr>
            <p:cNvPr id="489" name="Oval 51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8203871" y="2718051"/>
              <a:ext cx="288090" cy="28519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sz="1200" dirty="0">
                <a:solidFill>
                  <a:schemeClr val="bg2"/>
                </a:solidFill>
              </a:endParaRPr>
            </a:p>
          </p:txBody>
        </p:sp>
        <p:sp>
          <p:nvSpPr>
            <p:cNvPr id="490" name="Oval 52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8207390" y="2718289"/>
              <a:ext cx="281052" cy="284715"/>
            </a:xfrm>
            <a:prstGeom prst="ellipse">
              <a:avLst/>
            </a:prstGeom>
            <a:solidFill>
              <a:schemeClr val="accent4"/>
            </a:solidFill>
            <a:ln w="12700" algn="ctr">
              <a:solidFill>
                <a:schemeClr val="bg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en-GB" sz="1200" b="1" dirty="0">
                  <a:solidFill>
                    <a:schemeClr val="bg2"/>
                  </a:solidFill>
                </a:rPr>
                <a:t>4</a:t>
              </a:r>
            </a:p>
          </p:txBody>
        </p:sp>
        <p:sp>
          <p:nvSpPr>
            <p:cNvPr id="491" name="Rectangle 44"/>
            <p:cNvSpPr>
              <a:spLocks noChangeArrowheads="1"/>
            </p:cNvSpPr>
            <p:nvPr/>
          </p:nvSpPr>
          <p:spPr bwMode="gray">
            <a:xfrm flipH="1">
              <a:off x="4172864" y="2460458"/>
              <a:ext cx="932660" cy="14437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492" name="Rectangle 45"/>
            <p:cNvSpPr>
              <a:spLocks noChangeArrowheads="1"/>
            </p:cNvSpPr>
            <p:nvPr/>
          </p:nvSpPr>
          <p:spPr bwMode="gray">
            <a:xfrm flipH="1">
              <a:off x="4116760" y="2367451"/>
              <a:ext cx="1044872" cy="7079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493" name="AutoShape 46"/>
            <p:cNvSpPr>
              <a:spLocks noChangeArrowheads="1"/>
            </p:cNvSpPr>
            <p:nvPr/>
          </p:nvSpPr>
          <p:spPr bwMode="gray">
            <a:xfrm flipH="1">
              <a:off x="4175304" y="2604829"/>
              <a:ext cx="927782" cy="24988"/>
            </a:xfrm>
            <a:custGeom>
              <a:avLst/>
              <a:gdLst>
                <a:gd name="G0" fmla="+- 1561 0 0"/>
                <a:gd name="G1" fmla="+- 21600 0 1561"/>
                <a:gd name="G2" fmla="*/ 1561 1 2"/>
                <a:gd name="G3" fmla="+- 21600 0 G2"/>
                <a:gd name="G4" fmla="+/ 1561 21600 2"/>
                <a:gd name="G5" fmla="+/ G1 0 2"/>
                <a:gd name="G6" fmla="*/ 21600 21600 1561"/>
                <a:gd name="G7" fmla="*/ G6 1 2"/>
                <a:gd name="G8" fmla="+- 21600 0 G7"/>
                <a:gd name="G9" fmla="*/ 21600 1 2"/>
                <a:gd name="G10" fmla="+- 1561 0 G9"/>
                <a:gd name="G11" fmla="?: G10 G8 0"/>
                <a:gd name="G12" fmla="?: G10 G7 21600"/>
                <a:gd name="T0" fmla="*/ 20819 w 21600"/>
                <a:gd name="T1" fmla="*/ 10800 h 21600"/>
                <a:gd name="T2" fmla="*/ 10800 w 21600"/>
                <a:gd name="T3" fmla="*/ 21600 h 21600"/>
                <a:gd name="T4" fmla="*/ 781 w 21600"/>
                <a:gd name="T5" fmla="*/ 10800 h 21600"/>
                <a:gd name="T6" fmla="*/ 10800 w 21600"/>
                <a:gd name="T7" fmla="*/ 0 h 21600"/>
                <a:gd name="T8" fmla="*/ 2581 w 21600"/>
                <a:gd name="T9" fmla="*/ 2581 h 21600"/>
                <a:gd name="T10" fmla="*/ 19019 w 21600"/>
                <a:gd name="T11" fmla="*/ 19019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1561" y="21600"/>
                  </a:lnTo>
                  <a:lnTo>
                    <a:pt x="20039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494" name="AutoShape 47"/>
            <p:cNvSpPr>
              <a:spLocks noChangeArrowheads="1"/>
            </p:cNvSpPr>
            <p:nvPr/>
          </p:nvSpPr>
          <p:spPr bwMode="gray">
            <a:xfrm flipH="1">
              <a:off x="4116760" y="2438248"/>
              <a:ext cx="1041619" cy="27763"/>
            </a:xfrm>
            <a:custGeom>
              <a:avLst/>
              <a:gdLst>
                <a:gd name="G0" fmla="+- 1335 0 0"/>
                <a:gd name="G1" fmla="+- 21600 0 1335"/>
                <a:gd name="G2" fmla="*/ 1335 1 2"/>
                <a:gd name="G3" fmla="+- 21600 0 G2"/>
                <a:gd name="G4" fmla="+/ 1335 21600 2"/>
                <a:gd name="G5" fmla="+/ G1 0 2"/>
                <a:gd name="G6" fmla="*/ 21600 21600 1335"/>
                <a:gd name="G7" fmla="*/ G6 1 2"/>
                <a:gd name="G8" fmla="+- 21600 0 G7"/>
                <a:gd name="G9" fmla="*/ 21600 1 2"/>
                <a:gd name="G10" fmla="+- 1335 0 G9"/>
                <a:gd name="G11" fmla="?: G10 G8 0"/>
                <a:gd name="G12" fmla="?: G10 G7 21600"/>
                <a:gd name="T0" fmla="*/ 20932 w 21600"/>
                <a:gd name="T1" fmla="*/ 10800 h 21600"/>
                <a:gd name="T2" fmla="*/ 10800 w 21600"/>
                <a:gd name="T3" fmla="*/ 21600 h 21600"/>
                <a:gd name="T4" fmla="*/ 668 w 21600"/>
                <a:gd name="T5" fmla="*/ 10800 h 21600"/>
                <a:gd name="T6" fmla="*/ 10800 w 21600"/>
                <a:gd name="T7" fmla="*/ 0 h 21600"/>
                <a:gd name="T8" fmla="*/ 2468 w 21600"/>
                <a:gd name="T9" fmla="*/ 2468 h 21600"/>
                <a:gd name="T10" fmla="*/ 19132 w 21600"/>
                <a:gd name="T11" fmla="*/ 19132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1335" y="21600"/>
                  </a:lnTo>
                  <a:lnTo>
                    <a:pt x="20265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495" name="Rectangle 58"/>
            <p:cNvSpPr>
              <a:spLocks noChangeArrowheads="1"/>
            </p:cNvSpPr>
            <p:nvPr/>
          </p:nvSpPr>
          <p:spPr bwMode="gray">
            <a:xfrm flipH="1" flipV="1">
              <a:off x="4172864" y="4578818"/>
              <a:ext cx="932660" cy="14437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496" name="Rectangle 59"/>
            <p:cNvSpPr>
              <a:spLocks noChangeArrowheads="1"/>
            </p:cNvSpPr>
            <p:nvPr/>
          </p:nvSpPr>
          <p:spPr bwMode="gray">
            <a:xfrm flipH="1" flipV="1">
              <a:off x="4116760" y="4745399"/>
              <a:ext cx="1044872" cy="17016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497" name="AutoShape 60"/>
            <p:cNvSpPr>
              <a:spLocks noChangeArrowheads="1"/>
            </p:cNvSpPr>
            <p:nvPr/>
          </p:nvSpPr>
          <p:spPr bwMode="gray">
            <a:xfrm flipH="1" flipV="1">
              <a:off x="4207741" y="2621486"/>
              <a:ext cx="862908" cy="1957331"/>
            </a:xfrm>
            <a:prstGeom prst="rect">
              <a:avLst/>
            </a:prstGeom>
            <a:gradFill rotWithShape="0">
              <a:gsLst>
                <a:gs pos="0">
                  <a:srgbClr val="DDDDDD"/>
                </a:gs>
                <a:gs pos="50000">
                  <a:srgbClr val="FFFFFF"/>
                </a:gs>
                <a:gs pos="100000">
                  <a:srgbClr val="DDDDDD"/>
                </a:gs>
              </a:gsLst>
              <a:lin ang="0" scaled="1"/>
            </a:gradFill>
            <a:ln w="12700" algn="ctr">
              <a:noFill/>
              <a:miter lim="800000"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algn="ctr"/>
              <a:endParaRPr lang="en-US" sz="1200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498" name="AutoShape 61"/>
            <p:cNvSpPr>
              <a:spLocks noChangeArrowheads="1"/>
            </p:cNvSpPr>
            <p:nvPr/>
          </p:nvSpPr>
          <p:spPr bwMode="gray">
            <a:xfrm flipH="1" flipV="1">
              <a:off x="4116760" y="4717637"/>
              <a:ext cx="1041619" cy="27763"/>
            </a:xfrm>
            <a:custGeom>
              <a:avLst/>
              <a:gdLst>
                <a:gd name="G0" fmla="+- 1335 0 0"/>
                <a:gd name="G1" fmla="+- 21600 0 1335"/>
                <a:gd name="G2" fmla="*/ 1335 1 2"/>
                <a:gd name="G3" fmla="+- 21600 0 G2"/>
                <a:gd name="G4" fmla="+/ 1335 21600 2"/>
                <a:gd name="G5" fmla="+/ G1 0 2"/>
                <a:gd name="G6" fmla="*/ 21600 21600 1335"/>
                <a:gd name="G7" fmla="*/ G6 1 2"/>
                <a:gd name="G8" fmla="+- 21600 0 G7"/>
                <a:gd name="G9" fmla="*/ 21600 1 2"/>
                <a:gd name="G10" fmla="+- 1335 0 G9"/>
                <a:gd name="G11" fmla="?: G10 G8 0"/>
                <a:gd name="G12" fmla="?: G10 G7 21600"/>
                <a:gd name="T0" fmla="*/ 20932 w 21600"/>
                <a:gd name="T1" fmla="*/ 10800 h 21600"/>
                <a:gd name="T2" fmla="*/ 10800 w 21600"/>
                <a:gd name="T3" fmla="*/ 21600 h 21600"/>
                <a:gd name="T4" fmla="*/ 668 w 21600"/>
                <a:gd name="T5" fmla="*/ 10800 h 21600"/>
                <a:gd name="T6" fmla="*/ 10800 w 21600"/>
                <a:gd name="T7" fmla="*/ 0 h 21600"/>
                <a:gd name="T8" fmla="*/ 2468 w 21600"/>
                <a:gd name="T9" fmla="*/ 2468 h 21600"/>
                <a:gd name="T10" fmla="*/ 19132 w 21600"/>
                <a:gd name="T11" fmla="*/ 19132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1335" y="21600"/>
                  </a:lnTo>
                  <a:lnTo>
                    <a:pt x="20265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0">
              <a:noFill/>
              <a:miter lim="800000"/>
              <a:headEnd/>
              <a:tailEnd/>
            </a:ln>
            <a:effectLst/>
            <a:extLst/>
          </p:spPr>
          <p:txBody>
            <a:bodyPr rot="10800000" vert="horz" wrap="non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501" name="Oval 50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4469086" y="2691508"/>
              <a:ext cx="340220" cy="343622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rgbClr val="8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200" dirty="0">
                <a:solidFill>
                  <a:schemeClr val="bg2"/>
                </a:solidFill>
              </a:endParaRPr>
            </a:p>
          </p:txBody>
        </p:sp>
        <p:sp>
          <p:nvSpPr>
            <p:cNvPr id="502" name="Oval 51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4495151" y="2720724"/>
              <a:ext cx="288090" cy="28519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sz="1200" dirty="0">
                <a:solidFill>
                  <a:schemeClr val="bg2"/>
                </a:solidFill>
              </a:endParaRPr>
            </a:p>
          </p:txBody>
        </p:sp>
        <p:sp>
          <p:nvSpPr>
            <p:cNvPr id="503" name="Oval 52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4498670" y="2720962"/>
              <a:ext cx="281052" cy="284715"/>
            </a:xfrm>
            <a:prstGeom prst="ellipse">
              <a:avLst/>
            </a:prstGeom>
            <a:solidFill>
              <a:schemeClr val="accent4"/>
            </a:solidFill>
            <a:ln w="12700" algn="ctr">
              <a:solidFill>
                <a:schemeClr val="bg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en-GB" sz="1200" b="1" dirty="0">
                  <a:solidFill>
                    <a:schemeClr val="bg2"/>
                  </a:solidFill>
                </a:rPr>
                <a:t>2</a:t>
              </a:r>
            </a:p>
          </p:txBody>
        </p:sp>
        <p:sp>
          <p:nvSpPr>
            <p:cNvPr id="504" name="Rectangle 44"/>
            <p:cNvSpPr>
              <a:spLocks noChangeArrowheads="1"/>
            </p:cNvSpPr>
            <p:nvPr/>
          </p:nvSpPr>
          <p:spPr bwMode="gray">
            <a:xfrm flipH="1">
              <a:off x="9735945" y="2460458"/>
              <a:ext cx="932660" cy="14437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505" name="Rectangle 45"/>
            <p:cNvSpPr>
              <a:spLocks noChangeArrowheads="1"/>
            </p:cNvSpPr>
            <p:nvPr/>
          </p:nvSpPr>
          <p:spPr bwMode="gray">
            <a:xfrm flipH="1">
              <a:off x="9679840" y="2367451"/>
              <a:ext cx="1044872" cy="7079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506" name="AutoShape 46"/>
            <p:cNvSpPr>
              <a:spLocks noChangeArrowheads="1"/>
            </p:cNvSpPr>
            <p:nvPr/>
          </p:nvSpPr>
          <p:spPr bwMode="gray">
            <a:xfrm flipH="1">
              <a:off x="9738383" y="2604829"/>
              <a:ext cx="927782" cy="24988"/>
            </a:xfrm>
            <a:custGeom>
              <a:avLst/>
              <a:gdLst>
                <a:gd name="G0" fmla="+- 1561 0 0"/>
                <a:gd name="G1" fmla="+- 21600 0 1561"/>
                <a:gd name="G2" fmla="*/ 1561 1 2"/>
                <a:gd name="G3" fmla="+- 21600 0 G2"/>
                <a:gd name="G4" fmla="+/ 1561 21600 2"/>
                <a:gd name="G5" fmla="+/ G1 0 2"/>
                <a:gd name="G6" fmla="*/ 21600 21600 1561"/>
                <a:gd name="G7" fmla="*/ G6 1 2"/>
                <a:gd name="G8" fmla="+- 21600 0 G7"/>
                <a:gd name="G9" fmla="*/ 21600 1 2"/>
                <a:gd name="G10" fmla="+- 1561 0 G9"/>
                <a:gd name="G11" fmla="?: G10 G8 0"/>
                <a:gd name="G12" fmla="?: G10 G7 21600"/>
                <a:gd name="T0" fmla="*/ 20819 w 21600"/>
                <a:gd name="T1" fmla="*/ 10800 h 21600"/>
                <a:gd name="T2" fmla="*/ 10800 w 21600"/>
                <a:gd name="T3" fmla="*/ 21600 h 21600"/>
                <a:gd name="T4" fmla="*/ 781 w 21600"/>
                <a:gd name="T5" fmla="*/ 10800 h 21600"/>
                <a:gd name="T6" fmla="*/ 10800 w 21600"/>
                <a:gd name="T7" fmla="*/ 0 h 21600"/>
                <a:gd name="T8" fmla="*/ 2581 w 21600"/>
                <a:gd name="T9" fmla="*/ 2581 h 21600"/>
                <a:gd name="T10" fmla="*/ 19019 w 21600"/>
                <a:gd name="T11" fmla="*/ 19019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1561" y="21600"/>
                  </a:lnTo>
                  <a:lnTo>
                    <a:pt x="20039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507" name="AutoShape 47"/>
            <p:cNvSpPr>
              <a:spLocks noChangeArrowheads="1"/>
            </p:cNvSpPr>
            <p:nvPr/>
          </p:nvSpPr>
          <p:spPr bwMode="gray">
            <a:xfrm flipH="1">
              <a:off x="9679840" y="2438248"/>
              <a:ext cx="1041619" cy="27763"/>
            </a:xfrm>
            <a:custGeom>
              <a:avLst/>
              <a:gdLst>
                <a:gd name="G0" fmla="+- 1335 0 0"/>
                <a:gd name="G1" fmla="+- 21600 0 1335"/>
                <a:gd name="G2" fmla="*/ 1335 1 2"/>
                <a:gd name="G3" fmla="+- 21600 0 G2"/>
                <a:gd name="G4" fmla="+/ 1335 21600 2"/>
                <a:gd name="G5" fmla="+/ G1 0 2"/>
                <a:gd name="G6" fmla="*/ 21600 21600 1335"/>
                <a:gd name="G7" fmla="*/ G6 1 2"/>
                <a:gd name="G8" fmla="+- 21600 0 G7"/>
                <a:gd name="G9" fmla="*/ 21600 1 2"/>
                <a:gd name="G10" fmla="+- 1335 0 G9"/>
                <a:gd name="G11" fmla="?: G10 G8 0"/>
                <a:gd name="G12" fmla="?: G10 G7 21600"/>
                <a:gd name="T0" fmla="*/ 20932 w 21600"/>
                <a:gd name="T1" fmla="*/ 10800 h 21600"/>
                <a:gd name="T2" fmla="*/ 10800 w 21600"/>
                <a:gd name="T3" fmla="*/ 21600 h 21600"/>
                <a:gd name="T4" fmla="*/ 668 w 21600"/>
                <a:gd name="T5" fmla="*/ 10800 h 21600"/>
                <a:gd name="T6" fmla="*/ 10800 w 21600"/>
                <a:gd name="T7" fmla="*/ 0 h 21600"/>
                <a:gd name="T8" fmla="*/ 2468 w 21600"/>
                <a:gd name="T9" fmla="*/ 2468 h 21600"/>
                <a:gd name="T10" fmla="*/ 19132 w 21600"/>
                <a:gd name="T11" fmla="*/ 19132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1335" y="21600"/>
                  </a:lnTo>
                  <a:lnTo>
                    <a:pt x="20265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508" name="Rectangle 58"/>
            <p:cNvSpPr>
              <a:spLocks noChangeArrowheads="1"/>
            </p:cNvSpPr>
            <p:nvPr/>
          </p:nvSpPr>
          <p:spPr bwMode="gray">
            <a:xfrm flipH="1" flipV="1">
              <a:off x="9735945" y="4578818"/>
              <a:ext cx="932660" cy="14437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509" name="Rectangle 59"/>
            <p:cNvSpPr>
              <a:spLocks noChangeArrowheads="1"/>
            </p:cNvSpPr>
            <p:nvPr/>
          </p:nvSpPr>
          <p:spPr bwMode="gray">
            <a:xfrm flipH="1" flipV="1">
              <a:off x="9679840" y="4745399"/>
              <a:ext cx="1044872" cy="17016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510" name="AutoShape 60"/>
            <p:cNvSpPr>
              <a:spLocks noChangeArrowheads="1"/>
            </p:cNvSpPr>
            <p:nvPr/>
          </p:nvSpPr>
          <p:spPr bwMode="gray">
            <a:xfrm flipH="1" flipV="1">
              <a:off x="9770822" y="2621487"/>
              <a:ext cx="862908" cy="1957331"/>
            </a:xfrm>
            <a:prstGeom prst="rect">
              <a:avLst/>
            </a:prstGeom>
            <a:gradFill rotWithShape="0">
              <a:gsLst>
                <a:gs pos="0">
                  <a:srgbClr val="DDDDDD"/>
                </a:gs>
                <a:gs pos="50000">
                  <a:srgbClr val="FFFFFF"/>
                </a:gs>
                <a:gs pos="100000">
                  <a:srgbClr val="DDDDDD"/>
                </a:gs>
              </a:gsLst>
              <a:lin ang="0" scaled="1"/>
            </a:gradFill>
            <a:ln w="12700" algn="ctr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ctr"/>
              <a:endParaRPr lang="en-US" sz="1200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513" name="AutoShape 61"/>
            <p:cNvSpPr>
              <a:spLocks noChangeArrowheads="1"/>
            </p:cNvSpPr>
            <p:nvPr/>
          </p:nvSpPr>
          <p:spPr bwMode="gray">
            <a:xfrm flipH="1" flipV="1">
              <a:off x="9679840" y="4717637"/>
              <a:ext cx="1041619" cy="27763"/>
            </a:xfrm>
            <a:custGeom>
              <a:avLst/>
              <a:gdLst>
                <a:gd name="G0" fmla="+- 1335 0 0"/>
                <a:gd name="G1" fmla="+- 21600 0 1335"/>
                <a:gd name="G2" fmla="*/ 1335 1 2"/>
                <a:gd name="G3" fmla="+- 21600 0 G2"/>
                <a:gd name="G4" fmla="+/ 1335 21600 2"/>
                <a:gd name="G5" fmla="+/ G1 0 2"/>
                <a:gd name="G6" fmla="*/ 21600 21600 1335"/>
                <a:gd name="G7" fmla="*/ G6 1 2"/>
                <a:gd name="G8" fmla="+- 21600 0 G7"/>
                <a:gd name="G9" fmla="*/ 21600 1 2"/>
                <a:gd name="G10" fmla="+- 1335 0 G9"/>
                <a:gd name="G11" fmla="?: G10 G8 0"/>
                <a:gd name="G12" fmla="?: G10 G7 21600"/>
                <a:gd name="T0" fmla="*/ 20932 w 21600"/>
                <a:gd name="T1" fmla="*/ 10800 h 21600"/>
                <a:gd name="T2" fmla="*/ 10800 w 21600"/>
                <a:gd name="T3" fmla="*/ 21600 h 21600"/>
                <a:gd name="T4" fmla="*/ 668 w 21600"/>
                <a:gd name="T5" fmla="*/ 10800 h 21600"/>
                <a:gd name="T6" fmla="*/ 10800 w 21600"/>
                <a:gd name="T7" fmla="*/ 0 h 21600"/>
                <a:gd name="T8" fmla="*/ 2468 w 21600"/>
                <a:gd name="T9" fmla="*/ 2468 h 21600"/>
                <a:gd name="T10" fmla="*/ 19132 w 21600"/>
                <a:gd name="T11" fmla="*/ 19132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1335" y="21600"/>
                  </a:lnTo>
                  <a:lnTo>
                    <a:pt x="20265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0">
              <a:noFill/>
              <a:miter lim="800000"/>
              <a:headEnd/>
              <a:tailEnd/>
            </a:ln>
            <a:effectLst/>
            <a:extLst/>
          </p:spPr>
          <p:txBody>
            <a:bodyPr rot="10800000" vert="horz" wrap="non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514" name="Rectangle 8"/>
            <p:cNvSpPr txBox="1">
              <a:spLocks/>
            </p:cNvSpPr>
            <p:nvPr/>
          </p:nvSpPr>
          <p:spPr>
            <a:xfrm>
              <a:off x="4092693" y="3296388"/>
              <a:ext cx="1081672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algn="ctr" defTabSz="895350" eaLnBrk="1" hangingPunct="1">
                <a:buClr>
                  <a:schemeClr val="tx2"/>
                </a:buClr>
                <a:defRPr sz="12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b="1" i="1" dirty="0">
                  <a:solidFill>
                    <a:schemeClr val="tx2"/>
                  </a:solidFill>
                </a:rPr>
                <a:t>Improve service levels</a:t>
              </a:r>
            </a:p>
          </p:txBody>
        </p:sp>
        <p:sp>
          <p:nvSpPr>
            <p:cNvPr id="516" name="Oval 50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10032166" y="2691508"/>
              <a:ext cx="340220" cy="343622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rgbClr val="8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200" dirty="0">
                <a:solidFill>
                  <a:schemeClr val="bg2"/>
                </a:solidFill>
              </a:endParaRPr>
            </a:p>
          </p:txBody>
        </p:sp>
        <p:sp>
          <p:nvSpPr>
            <p:cNvPr id="517" name="Oval 51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0058231" y="2720724"/>
              <a:ext cx="288090" cy="28519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sz="1200" dirty="0">
                <a:solidFill>
                  <a:schemeClr val="bg2"/>
                </a:solidFill>
              </a:endParaRPr>
            </a:p>
          </p:txBody>
        </p:sp>
        <p:sp>
          <p:nvSpPr>
            <p:cNvPr id="518" name="Oval 52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0061750" y="2720962"/>
              <a:ext cx="281052" cy="284715"/>
            </a:xfrm>
            <a:prstGeom prst="ellipse">
              <a:avLst/>
            </a:prstGeom>
            <a:solidFill>
              <a:schemeClr val="accent4"/>
            </a:solidFill>
            <a:ln w="12700" algn="ctr">
              <a:solidFill>
                <a:schemeClr val="bg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en-GB" sz="1200" b="1" dirty="0">
                  <a:solidFill>
                    <a:schemeClr val="bg2"/>
                  </a:solidFill>
                </a:rPr>
                <a:t>5</a:t>
              </a:r>
            </a:p>
          </p:txBody>
        </p:sp>
        <p:sp>
          <p:nvSpPr>
            <p:cNvPr id="520" name="Rectangle 44"/>
            <p:cNvSpPr>
              <a:spLocks noChangeArrowheads="1"/>
            </p:cNvSpPr>
            <p:nvPr/>
          </p:nvSpPr>
          <p:spPr bwMode="gray">
            <a:xfrm flipH="1">
              <a:off x="2318505" y="2460458"/>
              <a:ext cx="932660" cy="14437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521" name="Rectangle 45"/>
            <p:cNvSpPr>
              <a:spLocks noChangeArrowheads="1"/>
            </p:cNvSpPr>
            <p:nvPr/>
          </p:nvSpPr>
          <p:spPr bwMode="gray">
            <a:xfrm flipH="1">
              <a:off x="2262399" y="2367451"/>
              <a:ext cx="1044872" cy="7079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522" name="AutoShape 46"/>
            <p:cNvSpPr>
              <a:spLocks noChangeArrowheads="1"/>
            </p:cNvSpPr>
            <p:nvPr/>
          </p:nvSpPr>
          <p:spPr bwMode="gray">
            <a:xfrm flipH="1">
              <a:off x="2320944" y="2604829"/>
              <a:ext cx="927782" cy="24988"/>
            </a:xfrm>
            <a:custGeom>
              <a:avLst/>
              <a:gdLst>
                <a:gd name="G0" fmla="+- 1561 0 0"/>
                <a:gd name="G1" fmla="+- 21600 0 1561"/>
                <a:gd name="G2" fmla="*/ 1561 1 2"/>
                <a:gd name="G3" fmla="+- 21600 0 G2"/>
                <a:gd name="G4" fmla="+/ 1561 21600 2"/>
                <a:gd name="G5" fmla="+/ G1 0 2"/>
                <a:gd name="G6" fmla="*/ 21600 21600 1561"/>
                <a:gd name="G7" fmla="*/ G6 1 2"/>
                <a:gd name="G8" fmla="+- 21600 0 G7"/>
                <a:gd name="G9" fmla="*/ 21600 1 2"/>
                <a:gd name="G10" fmla="+- 1561 0 G9"/>
                <a:gd name="G11" fmla="?: G10 G8 0"/>
                <a:gd name="G12" fmla="?: G10 G7 21600"/>
                <a:gd name="T0" fmla="*/ 20819 w 21600"/>
                <a:gd name="T1" fmla="*/ 10800 h 21600"/>
                <a:gd name="T2" fmla="*/ 10800 w 21600"/>
                <a:gd name="T3" fmla="*/ 21600 h 21600"/>
                <a:gd name="T4" fmla="*/ 781 w 21600"/>
                <a:gd name="T5" fmla="*/ 10800 h 21600"/>
                <a:gd name="T6" fmla="*/ 10800 w 21600"/>
                <a:gd name="T7" fmla="*/ 0 h 21600"/>
                <a:gd name="T8" fmla="*/ 2581 w 21600"/>
                <a:gd name="T9" fmla="*/ 2581 h 21600"/>
                <a:gd name="T10" fmla="*/ 19019 w 21600"/>
                <a:gd name="T11" fmla="*/ 19019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1561" y="21600"/>
                  </a:lnTo>
                  <a:lnTo>
                    <a:pt x="20039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523" name="AutoShape 47"/>
            <p:cNvSpPr>
              <a:spLocks noChangeArrowheads="1"/>
            </p:cNvSpPr>
            <p:nvPr/>
          </p:nvSpPr>
          <p:spPr bwMode="gray">
            <a:xfrm flipH="1">
              <a:off x="2262399" y="2438248"/>
              <a:ext cx="1041619" cy="27763"/>
            </a:xfrm>
            <a:custGeom>
              <a:avLst/>
              <a:gdLst>
                <a:gd name="G0" fmla="+- 1335 0 0"/>
                <a:gd name="G1" fmla="+- 21600 0 1335"/>
                <a:gd name="G2" fmla="*/ 1335 1 2"/>
                <a:gd name="G3" fmla="+- 21600 0 G2"/>
                <a:gd name="G4" fmla="+/ 1335 21600 2"/>
                <a:gd name="G5" fmla="+/ G1 0 2"/>
                <a:gd name="G6" fmla="*/ 21600 21600 1335"/>
                <a:gd name="G7" fmla="*/ G6 1 2"/>
                <a:gd name="G8" fmla="+- 21600 0 G7"/>
                <a:gd name="G9" fmla="*/ 21600 1 2"/>
                <a:gd name="G10" fmla="+- 1335 0 G9"/>
                <a:gd name="G11" fmla="?: G10 G8 0"/>
                <a:gd name="G12" fmla="?: G10 G7 21600"/>
                <a:gd name="T0" fmla="*/ 20932 w 21600"/>
                <a:gd name="T1" fmla="*/ 10800 h 21600"/>
                <a:gd name="T2" fmla="*/ 10800 w 21600"/>
                <a:gd name="T3" fmla="*/ 21600 h 21600"/>
                <a:gd name="T4" fmla="*/ 668 w 21600"/>
                <a:gd name="T5" fmla="*/ 10800 h 21600"/>
                <a:gd name="T6" fmla="*/ 10800 w 21600"/>
                <a:gd name="T7" fmla="*/ 0 h 21600"/>
                <a:gd name="T8" fmla="*/ 2468 w 21600"/>
                <a:gd name="T9" fmla="*/ 2468 h 21600"/>
                <a:gd name="T10" fmla="*/ 19132 w 21600"/>
                <a:gd name="T11" fmla="*/ 19132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1335" y="21600"/>
                  </a:lnTo>
                  <a:lnTo>
                    <a:pt x="20265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524" name="Rectangle 58"/>
            <p:cNvSpPr>
              <a:spLocks noChangeArrowheads="1"/>
            </p:cNvSpPr>
            <p:nvPr/>
          </p:nvSpPr>
          <p:spPr bwMode="gray">
            <a:xfrm flipH="1" flipV="1">
              <a:off x="2318505" y="4578818"/>
              <a:ext cx="932660" cy="14437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noFill/>
              <a:miter lim="800000"/>
              <a:headEnd/>
              <a:tailEnd/>
            </a:ln>
            <a:effectLst/>
            <a:extLst/>
          </p:spPr>
          <p:txBody>
            <a:bodyPr rot="10800000" vert="horz" wrap="non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525" name="Rectangle 59"/>
            <p:cNvSpPr>
              <a:spLocks noChangeArrowheads="1"/>
            </p:cNvSpPr>
            <p:nvPr/>
          </p:nvSpPr>
          <p:spPr bwMode="gray">
            <a:xfrm flipH="1" flipV="1">
              <a:off x="2262399" y="4745399"/>
              <a:ext cx="1044872" cy="17016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noFill/>
              <a:miter lim="800000"/>
              <a:headEnd/>
              <a:tailEnd/>
            </a:ln>
            <a:effectLst/>
            <a:extLst/>
          </p:spPr>
          <p:txBody>
            <a:bodyPr rot="10800000" vert="horz" wrap="non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526" name="AutoShape 60"/>
            <p:cNvSpPr>
              <a:spLocks noChangeArrowheads="1"/>
            </p:cNvSpPr>
            <p:nvPr/>
          </p:nvSpPr>
          <p:spPr bwMode="gray">
            <a:xfrm flipH="1" flipV="1">
              <a:off x="2353381" y="2621487"/>
              <a:ext cx="862908" cy="1957331"/>
            </a:xfrm>
            <a:prstGeom prst="rect">
              <a:avLst/>
            </a:prstGeom>
            <a:gradFill rotWithShape="0">
              <a:gsLst>
                <a:gs pos="0">
                  <a:srgbClr val="DDDDDD"/>
                </a:gs>
                <a:gs pos="50000">
                  <a:srgbClr val="FFFFFF"/>
                </a:gs>
                <a:gs pos="100000">
                  <a:srgbClr val="DDDDDD"/>
                </a:gs>
              </a:gsLst>
              <a:lin ang="0" scaled="1"/>
            </a:gradFill>
            <a:ln w="12700" algn="ctr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ctr"/>
              <a:endParaRPr lang="en-US" sz="1200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527" name="AutoShape 61"/>
            <p:cNvSpPr>
              <a:spLocks noChangeArrowheads="1"/>
            </p:cNvSpPr>
            <p:nvPr/>
          </p:nvSpPr>
          <p:spPr bwMode="gray">
            <a:xfrm flipH="1" flipV="1">
              <a:off x="2262399" y="4717637"/>
              <a:ext cx="1041619" cy="27763"/>
            </a:xfrm>
            <a:custGeom>
              <a:avLst/>
              <a:gdLst>
                <a:gd name="G0" fmla="+- 1335 0 0"/>
                <a:gd name="G1" fmla="+- 21600 0 1335"/>
                <a:gd name="G2" fmla="*/ 1335 1 2"/>
                <a:gd name="G3" fmla="+- 21600 0 G2"/>
                <a:gd name="G4" fmla="+/ 1335 21600 2"/>
                <a:gd name="G5" fmla="+/ G1 0 2"/>
                <a:gd name="G6" fmla="*/ 21600 21600 1335"/>
                <a:gd name="G7" fmla="*/ G6 1 2"/>
                <a:gd name="G8" fmla="+- 21600 0 G7"/>
                <a:gd name="G9" fmla="*/ 21600 1 2"/>
                <a:gd name="G10" fmla="+- 1335 0 G9"/>
                <a:gd name="G11" fmla="?: G10 G8 0"/>
                <a:gd name="G12" fmla="?: G10 G7 21600"/>
                <a:gd name="T0" fmla="*/ 20932 w 21600"/>
                <a:gd name="T1" fmla="*/ 10800 h 21600"/>
                <a:gd name="T2" fmla="*/ 10800 w 21600"/>
                <a:gd name="T3" fmla="*/ 21600 h 21600"/>
                <a:gd name="T4" fmla="*/ 668 w 21600"/>
                <a:gd name="T5" fmla="*/ 10800 h 21600"/>
                <a:gd name="T6" fmla="*/ 10800 w 21600"/>
                <a:gd name="T7" fmla="*/ 0 h 21600"/>
                <a:gd name="T8" fmla="*/ 2468 w 21600"/>
                <a:gd name="T9" fmla="*/ 2468 h 21600"/>
                <a:gd name="T10" fmla="*/ 19132 w 21600"/>
                <a:gd name="T11" fmla="*/ 19132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1335" y="21600"/>
                  </a:lnTo>
                  <a:lnTo>
                    <a:pt x="20265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0">
              <a:noFill/>
              <a:miter lim="800000"/>
              <a:headEnd/>
              <a:tailEnd/>
            </a:ln>
            <a:effectLst/>
            <a:extLst/>
          </p:spPr>
          <p:txBody>
            <a:bodyPr rot="10800000" vert="horz" wrap="non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528" name="Rectangle 8"/>
            <p:cNvSpPr txBox="1">
              <a:spLocks/>
            </p:cNvSpPr>
            <p:nvPr/>
          </p:nvSpPr>
          <p:spPr>
            <a:xfrm>
              <a:off x="2167798" y="3265226"/>
              <a:ext cx="1197935" cy="7386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1200" b="1" i="1" dirty="0">
                  <a:solidFill>
                    <a:schemeClr val="tx2"/>
                  </a:solidFill>
                </a:rPr>
                <a:t>Develop meaningful customer segmentation</a:t>
              </a:r>
            </a:p>
          </p:txBody>
        </p:sp>
        <p:sp>
          <p:nvSpPr>
            <p:cNvPr id="530" name="Oval 50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2614725" y="2691508"/>
              <a:ext cx="340220" cy="343622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rgbClr val="8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200" dirty="0">
                <a:solidFill>
                  <a:schemeClr val="bg2"/>
                </a:solidFill>
              </a:endParaRPr>
            </a:p>
          </p:txBody>
        </p:sp>
        <p:sp>
          <p:nvSpPr>
            <p:cNvPr id="531" name="Oval 51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2640791" y="2720724"/>
              <a:ext cx="288090" cy="28519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sz="1200" dirty="0">
                <a:solidFill>
                  <a:schemeClr val="bg2"/>
                </a:solidFill>
              </a:endParaRPr>
            </a:p>
          </p:txBody>
        </p:sp>
        <p:sp>
          <p:nvSpPr>
            <p:cNvPr id="532" name="Oval 52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2644309" y="2720962"/>
              <a:ext cx="281052" cy="284715"/>
            </a:xfrm>
            <a:prstGeom prst="ellipse">
              <a:avLst/>
            </a:prstGeom>
            <a:solidFill>
              <a:schemeClr val="accent4"/>
            </a:solidFill>
            <a:ln w="12700" algn="ctr">
              <a:solidFill>
                <a:schemeClr val="bg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en-GB" sz="1200" b="1" dirty="0">
                  <a:solidFill>
                    <a:schemeClr val="bg2"/>
                  </a:solidFill>
                </a:rPr>
                <a:t>1</a:t>
              </a:r>
            </a:p>
          </p:txBody>
        </p:sp>
        <p:sp>
          <p:nvSpPr>
            <p:cNvPr id="533" name="Rectangle 44"/>
            <p:cNvSpPr>
              <a:spLocks noChangeArrowheads="1"/>
            </p:cNvSpPr>
            <p:nvPr/>
          </p:nvSpPr>
          <p:spPr bwMode="gray">
            <a:xfrm flipH="1">
              <a:off x="6027225" y="2460458"/>
              <a:ext cx="932660" cy="14437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534" name="Rectangle 45"/>
            <p:cNvSpPr>
              <a:spLocks noChangeArrowheads="1"/>
            </p:cNvSpPr>
            <p:nvPr/>
          </p:nvSpPr>
          <p:spPr bwMode="gray">
            <a:xfrm flipH="1">
              <a:off x="5971119" y="2367451"/>
              <a:ext cx="1044872" cy="7079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535" name="AutoShape 46"/>
            <p:cNvSpPr>
              <a:spLocks noChangeArrowheads="1"/>
            </p:cNvSpPr>
            <p:nvPr/>
          </p:nvSpPr>
          <p:spPr bwMode="gray">
            <a:xfrm flipH="1">
              <a:off x="6029664" y="2604829"/>
              <a:ext cx="927782" cy="24988"/>
            </a:xfrm>
            <a:custGeom>
              <a:avLst/>
              <a:gdLst>
                <a:gd name="G0" fmla="+- 1561 0 0"/>
                <a:gd name="G1" fmla="+- 21600 0 1561"/>
                <a:gd name="G2" fmla="*/ 1561 1 2"/>
                <a:gd name="G3" fmla="+- 21600 0 G2"/>
                <a:gd name="G4" fmla="+/ 1561 21600 2"/>
                <a:gd name="G5" fmla="+/ G1 0 2"/>
                <a:gd name="G6" fmla="*/ 21600 21600 1561"/>
                <a:gd name="G7" fmla="*/ G6 1 2"/>
                <a:gd name="G8" fmla="+- 21600 0 G7"/>
                <a:gd name="G9" fmla="*/ 21600 1 2"/>
                <a:gd name="G10" fmla="+- 1561 0 G9"/>
                <a:gd name="G11" fmla="?: G10 G8 0"/>
                <a:gd name="G12" fmla="?: G10 G7 21600"/>
                <a:gd name="T0" fmla="*/ 20819 w 21600"/>
                <a:gd name="T1" fmla="*/ 10800 h 21600"/>
                <a:gd name="T2" fmla="*/ 10800 w 21600"/>
                <a:gd name="T3" fmla="*/ 21600 h 21600"/>
                <a:gd name="T4" fmla="*/ 781 w 21600"/>
                <a:gd name="T5" fmla="*/ 10800 h 21600"/>
                <a:gd name="T6" fmla="*/ 10800 w 21600"/>
                <a:gd name="T7" fmla="*/ 0 h 21600"/>
                <a:gd name="T8" fmla="*/ 2581 w 21600"/>
                <a:gd name="T9" fmla="*/ 2581 h 21600"/>
                <a:gd name="T10" fmla="*/ 19019 w 21600"/>
                <a:gd name="T11" fmla="*/ 19019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1561" y="21600"/>
                  </a:lnTo>
                  <a:lnTo>
                    <a:pt x="20039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536" name="AutoShape 47"/>
            <p:cNvSpPr>
              <a:spLocks noChangeArrowheads="1"/>
            </p:cNvSpPr>
            <p:nvPr/>
          </p:nvSpPr>
          <p:spPr bwMode="gray">
            <a:xfrm flipH="1">
              <a:off x="5971119" y="2438248"/>
              <a:ext cx="1041619" cy="27763"/>
            </a:xfrm>
            <a:custGeom>
              <a:avLst/>
              <a:gdLst>
                <a:gd name="G0" fmla="+- 1335 0 0"/>
                <a:gd name="G1" fmla="+- 21600 0 1335"/>
                <a:gd name="G2" fmla="*/ 1335 1 2"/>
                <a:gd name="G3" fmla="+- 21600 0 G2"/>
                <a:gd name="G4" fmla="+/ 1335 21600 2"/>
                <a:gd name="G5" fmla="+/ G1 0 2"/>
                <a:gd name="G6" fmla="*/ 21600 21600 1335"/>
                <a:gd name="G7" fmla="*/ G6 1 2"/>
                <a:gd name="G8" fmla="+- 21600 0 G7"/>
                <a:gd name="G9" fmla="*/ 21600 1 2"/>
                <a:gd name="G10" fmla="+- 1335 0 G9"/>
                <a:gd name="G11" fmla="?: G10 G8 0"/>
                <a:gd name="G12" fmla="?: G10 G7 21600"/>
                <a:gd name="T0" fmla="*/ 20932 w 21600"/>
                <a:gd name="T1" fmla="*/ 10800 h 21600"/>
                <a:gd name="T2" fmla="*/ 10800 w 21600"/>
                <a:gd name="T3" fmla="*/ 21600 h 21600"/>
                <a:gd name="T4" fmla="*/ 668 w 21600"/>
                <a:gd name="T5" fmla="*/ 10800 h 21600"/>
                <a:gd name="T6" fmla="*/ 10800 w 21600"/>
                <a:gd name="T7" fmla="*/ 0 h 21600"/>
                <a:gd name="T8" fmla="*/ 2468 w 21600"/>
                <a:gd name="T9" fmla="*/ 2468 h 21600"/>
                <a:gd name="T10" fmla="*/ 19132 w 21600"/>
                <a:gd name="T11" fmla="*/ 19132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1335" y="21600"/>
                  </a:lnTo>
                  <a:lnTo>
                    <a:pt x="20265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537" name="Rectangle 58"/>
            <p:cNvSpPr>
              <a:spLocks noChangeArrowheads="1"/>
            </p:cNvSpPr>
            <p:nvPr/>
          </p:nvSpPr>
          <p:spPr bwMode="gray">
            <a:xfrm flipH="1" flipV="1">
              <a:off x="6027225" y="4578818"/>
              <a:ext cx="932660" cy="14437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538" name="Rectangle 59"/>
            <p:cNvSpPr>
              <a:spLocks noChangeArrowheads="1"/>
            </p:cNvSpPr>
            <p:nvPr/>
          </p:nvSpPr>
          <p:spPr bwMode="gray">
            <a:xfrm flipH="1" flipV="1">
              <a:off x="5971119" y="4745399"/>
              <a:ext cx="1044872" cy="17016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rgbClr val="FFFFFF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539" name="AutoShape 60"/>
            <p:cNvSpPr>
              <a:spLocks noChangeArrowheads="1"/>
            </p:cNvSpPr>
            <p:nvPr/>
          </p:nvSpPr>
          <p:spPr bwMode="gray">
            <a:xfrm flipH="1" flipV="1">
              <a:off x="6062101" y="2621487"/>
              <a:ext cx="862908" cy="1957331"/>
            </a:xfrm>
            <a:prstGeom prst="rect">
              <a:avLst/>
            </a:prstGeom>
            <a:gradFill rotWithShape="0">
              <a:gsLst>
                <a:gs pos="0">
                  <a:srgbClr val="DDDDDD"/>
                </a:gs>
                <a:gs pos="50000">
                  <a:srgbClr val="FFFFFF"/>
                </a:gs>
                <a:gs pos="100000">
                  <a:srgbClr val="DDDDDD"/>
                </a:gs>
              </a:gsLst>
              <a:lin ang="0" scaled="1"/>
            </a:gradFill>
            <a:ln w="12700" algn="ctr">
              <a:noFill/>
              <a:miter lim="800000"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algn="ctr"/>
              <a:endParaRPr lang="en-US" sz="1200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540" name="AutoShape 61"/>
            <p:cNvSpPr>
              <a:spLocks noChangeArrowheads="1"/>
            </p:cNvSpPr>
            <p:nvPr/>
          </p:nvSpPr>
          <p:spPr bwMode="gray">
            <a:xfrm flipH="1" flipV="1">
              <a:off x="5971119" y="4717637"/>
              <a:ext cx="1041619" cy="27763"/>
            </a:xfrm>
            <a:custGeom>
              <a:avLst/>
              <a:gdLst>
                <a:gd name="G0" fmla="+- 1335 0 0"/>
                <a:gd name="G1" fmla="+- 21600 0 1335"/>
                <a:gd name="G2" fmla="*/ 1335 1 2"/>
                <a:gd name="G3" fmla="+- 21600 0 G2"/>
                <a:gd name="G4" fmla="+/ 1335 21600 2"/>
                <a:gd name="G5" fmla="+/ G1 0 2"/>
                <a:gd name="G6" fmla="*/ 21600 21600 1335"/>
                <a:gd name="G7" fmla="*/ G6 1 2"/>
                <a:gd name="G8" fmla="+- 21600 0 G7"/>
                <a:gd name="G9" fmla="*/ 21600 1 2"/>
                <a:gd name="G10" fmla="+- 1335 0 G9"/>
                <a:gd name="G11" fmla="?: G10 G8 0"/>
                <a:gd name="G12" fmla="?: G10 G7 21600"/>
                <a:gd name="T0" fmla="*/ 20932 w 21600"/>
                <a:gd name="T1" fmla="*/ 10800 h 21600"/>
                <a:gd name="T2" fmla="*/ 10800 w 21600"/>
                <a:gd name="T3" fmla="*/ 21600 h 21600"/>
                <a:gd name="T4" fmla="*/ 668 w 21600"/>
                <a:gd name="T5" fmla="*/ 10800 h 21600"/>
                <a:gd name="T6" fmla="*/ 10800 w 21600"/>
                <a:gd name="T7" fmla="*/ 0 h 21600"/>
                <a:gd name="T8" fmla="*/ 2468 w 21600"/>
                <a:gd name="T9" fmla="*/ 2468 h 21600"/>
                <a:gd name="T10" fmla="*/ 19132 w 21600"/>
                <a:gd name="T11" fmla="*/ 19132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1335" y="21600"/>
                  </a:lnTo>
                  <a:lnTo>
                    <a:pt x="20265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0">
              <a:noFill/>
              <a:miter lim="800000"/>
              <a:headEnd/>
              <a:tailEnd/>
            </a:ln>
            <a:effectLst/>
            <a:extLst/>
          </p:spPr>
          <p:txBody>
            <a:bodyPr rot="10800000" vert="horz" wrap="non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543" name="Oval 50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323446" y="2682475"/>
              <a:ext cx="340220" cy="343622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rgbClr val="8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200" dirty="0">
                <a:solidFill>
                  <a:schemeClr val="bg2"/>
                </a:solidFill>
              </a:endParaRPr>
            </a:p>
          </p:txBody>
        </p:sp>
        <p:sp>
          <p:nvSpPr>
            <p:cNvPr id="544" name="Oval 51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349512" y="2711691"/>
              <a:ext cx="288090" cy="28519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sz="1200" dirty="0">
                <a:solidFill>
                  <a:schemeClr val="bg2"/>
                </a:solidFill>
              </a:endParaRPr>
            </a:p>
          </p:txBody>
        </p:sp>
        <p:sp>
          <p:nvSpPr>
            <p:cNvPr id="545" name="Oval 52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6353030" y="2711929"/>
              <a:ext cx="281052" cy="284715"/>
            </a:xfrm>
            <a:prstGeom prst="ellipse">
              <a:avLst/>
            </a:prstGeom>
            <a:solidFill>
              <a:schemeClr val="accent4"/>
            </a:solidFill>
            <a:ln w="12700" algn="ctr">
              <a:solidFill>
                <a:schemeClr val="bg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en-GB" sz="1200" b="1" dirty="0">
                  <a:solidFill>
                    <a:schemeClr val="bg2"/>
                  </a:solidFill>
                </a:rPr>
                <a:t>3</a:t>
              </a:r>
            </a:p>
          </p:txBody>
        </p:sp>
        <p:sp>
          <p:nvSpPr>
            <p:cNvPr id="547" name="Rectangle 8"/>
            <p:cNvSpPr txBox="1">
              <a:spLocks/>
            </p:cNvSpPr>
            <p:nvPr/>
          </p:nvSpPr>
          <p:spPr>
            <a:xfrm>
              <a:off x="9537283" y="3265226"/>
              <a:ext cx="1308472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1200" b="1" i="1" dirty="0">
                  <a:solidFill>
                    <a:schemeClr val="tx2"/>
                  </a:solidFill>
                </a:rPr>
                <a:t>Drive for pricing and contracting excellence</a:t>
              </a:r>
            </a:p>
          </p:txBody>
        </p:sp>
        <p:sp>
          <p:nvSpPr>
            <p:cNvPr id="548" name="Rectangle 8"/>
            <p:cNvSpPr txBox="1">
              <a:spLocks/>
            </p:cNvSpPr>
            <p:nvPr/>
          </p:nvSpPr>
          <p:spPr>
            <a:xfrm>
              <a:off x="5846985" y="3265226"/>
              <a:ext cx="1288236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algn="ctr" defTabSz="895350" eaLnBrk="1" hangingPunct="1">
                <a:buClr>
                  <a:schemeClr val="tx2"/>
                </a:buClr>
                <a:defRPr sz="12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b="1" i="1" dirty="0">
                  <a:solidFill>
                    <a:schemeClr val="tx2"/>
                  </a:solidFill>
                </a:rPr>
                <a:t>Differentiated Value and technical selling</a:t>
              </a:r>
            </a:p>
          </p:txBody>
        </p:sp>
        <p:sp>
          <p:nvSpPr>
            <p:cNvPr id="549" name="Rectangle 8"/>
            <p:cNvSpPr txBox="1">
              <a:spLocks/>
            </p:cNvSpPr>
            <p:nvPr/>
          </p:nvSpPr>
          <p:spPr>
            <a:xfrm>
              <a:off x="7714594" y="3265226"/>
              <a:ext cx="1189840" cy="7386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1200" b="1" i="1" dirty="0">
                  <a:solidFill>
                    <a:schemeClr val="tx2"/>
                  </a:solidFill>
                </a:rPr>
                <a:t>Drive excellence in account management</a:t>
              </a:r>
              <a:endParaRPr lang="en-US" sz="1200" i="1" dirty="0">
                <a:solidFill>
                  <a:schemeClr val="tx2"/>
                </a:solidFill>
              </a:endParaRPr>
            </a:p>
          </p:txBody>
        </p:sp>
        <p:sp>
          <p:nvSpPr>
            <p:cNvPr id="149" name="TextBox 148"/>
            <p:cNvSpPr txBox="1">
              <a:spLocks/>
            </p:cNvSpPr>
            <p:nvPr/>
          </p:nvSpPr>
          <p:spPr>
            <a:xfrm>
              <a:off x="970122" y="5060462"/>
              <a:ext cx="9754589" cy="335875"/>
            </a:xfrm>
            <a:prstGeom prst="rect">
              <a:avLst/>
            </a:prstGeom>
            <a:solidFill>
              <a:schemeClr val="accent4"/>
            </a:solidFill>
            <a:ln>
              <a:noFill/>
              <a:headEnd/>
              <a:tailEnd/>
            </a:ln>
            <a:effectLst/>
            <a:ex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vert="horz" wrap="square" lIns="73152" tIns="73152" rIns="73152" bIns="73152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1200" b="1" dirty="0">
                  <a:solidFill>
                    <a:prstClr val="white"/>
                  </a:solidFill>
                </a:rPr>
                <a:t>Get the basics right: </a:t>
              </a:r>
              <a:r>
                <a:rPr lang="en-US" sz="1200" i="1" dirty="0">
                  <a:solidFill>
                    <a:prstClr val="white"/>
                  </a:solidFill>
                </a:rPr>
                <a:t>100% compliance to delivery and quality (no rejections) is a </a:t>
              </a:r>
              <a:r>
                <a:rPr lang="en-US" sz="1200" i="1" dirty="0" smtClean="0">
                  <a:solidFill>
                    <a:prstClr val="white"/>
                  </a:solidFill>
                </a:rPr>
                <a:t>non-negotiable</a:t>
              </a:r>
              <a:r>
                <a:rPr lang="en-US" sz="1200" b="1" dirty="0" smtClean="0">
                  <a:solidFill>
                    <a:prstClr val="white"/>
                  </a:solidFill>
                </a:rPr>
                <a:t> </a:t>
              </a:r>
              <a:endParaRPr lang="en-GB" sz="1200" b="1" dirty="0">
                <a:solidFill>
                  <a:prstClr val="white"/>
                </a:solidFill>
              </a:endParaRPr>
            </a:p>
          </p:txBody>
        </p:sp>
        <p:sp>
          <p:nvSpPr>
            <p:cNvPr id="150" name="TextBox 149"/>
            <p:cNvSpPr txBox="1">
              <a:spLocks/>
            </p:cNvSpPr>
            <p:nvPr/>
          </p:nvSpPr>
          <p:spPr>
            <a:xfrm>
              <a:off x="970120" y="5495680"/>
              <a:ext cx="9754589" cy="335875"/>
            </a:xfrm>
            <a:prstGeom prst="rect">
              <a:avLst/>
            </a:prstGeom>
            <a:solidFill>
              <a:schemeClr val="accent4"/>
            </a:solidFill>
            <a:ln>
              <a:noFill/>
              <a:headEnd/>
              <a:tailEnd/>
            </a:ln>
            <a:effectLst/>
            <a:ex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vert="horz" wrap="square" lIns="73152" tIns="73152" rIns="73152" bIns="73152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GB" sz="1200" b="1" dirty="0">
                  <a:solidFill>
                    <a:prstClr val="white"/>
                  </a:solidFill>
                </a:rPr>
                <a:t>Customer education is key to success: </a:t>
              </a:r>
              <a:r>
                <a:rPr lang="en-US" sz="1200" i="1" dirty="0">
                  <a:solidFill>
                    <a:prstClr val="white"/>
                  </a:solidFill>
                </a:rPr>
                <a:t>Don’t sell to the customer; help the customer sell better</a:t>
              </a:r>
            </a:p>
          </p:txBody>
        </p:sp>
        <p:sp>
          <p:nvSpPr>
            <p:cNvPr id="91" name="TextBox 90"/>
            <p:cNvSpPr txBox="1">
              <a:spLocks/>
            </p:cNvSpPr>
            <p:nvPr/>
          </p:nvSpPr>
          <p:spPr>
            <a:xfrm>
              <a:off x="966870" y="5930899"/>
              <a:ext cx="9754589" cy="335875"/>
            </a:xfrm>
            <a:prstGeom prst="rect">
              <a:avLst/>
            </a:prstGeom>
            <a:solidFill>
              <a:schemeClr val="accent4"/>
            </a:solidFill>
            <a:ln>
              <a:noFill/>
              <a:headEnd/>
              <a:tailEnd/>
            </a:ln>
            <a:effectLst/>
            <a:ex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vert="horz" wrap="square" lIns="73152" tIns="73152" rIns="73152" bIns="73152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GB" sz="1200" b="1" dirty="0">
                  <a:solidFill>
                    <a:prstClr val="white"/>
                  </a:solidFill>
                </a:rPr>
                <a:t>Branding is a consequence: </a:t>
              </a:r>
              <a:r>
                <a:rPr lang="en-US" sz="1200" i="1" dirty="0">
                  <a:solidFill>
                    <a:prstClr val="white"/>
                  </a:solidFill>
                </a:rPr>
                <a:t>Consistency in service and value delivery is what builds the </a:t>
              </a:r>
              <a:r>
                <a:rPr lang="en-US" sz="1200" i="1" dirty="0" smtClean="0">
                  <a:solidFill>
                    <a:prstClr val="white"/>
                  </a:solidFill>
                </a:rPr>
                <a:t>brand</a:t>
              </a:r>
              <a:endParaRPr lang="en-US" sz="1200" b="1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06950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9160" name="AutoShape 24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6669863"/>
              </p:ext>
            </p:extLst>
          </p:nvPr>
        </p:nvGraphicFramePr>
        <p:xfrm>
          <a:off x="1493837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206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93837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 bwMode="auto"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481805" y="882400"/>
            <a:ext cx="10845798" cy="5342279"/>
            <a:chOff x="368301" y="956386"/>
            <a:chExt cx="10845798" cy="5342279"/>
          </a:xfrm>
        </p:grpSpPr>
        <p:sp>
          <p:nvSpPr>
            <p:cNvPr id="219163" name="Chevron 219162"/>
            <p:cNvSpPr/>
            <p:nvPr/>
          </p:nvSpPr>
          <p:spPr>
            <a:xfrm rot="5400000">
              <a:off x="5522996" y="5124979"/>
              <a:ext cx="380403" cy="585106"/>
            </a:xfrm>
            <a:prstGeom prst="chevron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128" name="Rectangle 127"/>
            <p:cNvSpPr>
              <a:spLocks/>
            </p:cNvSpPr>
            <p:nvPr/>
          </p:nvSpPr>
          <p:spPr>
            <a:xfrm>
              <a:off x="368301" y="5768066"/>
              <a:ext cx="10845798" cy="530599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129" name="Rectangle 128"/>
            <p:cNvSpPr>
              <a:spLocks/>
            </p:cNvSpPr>
            <p:nvPr/>
          </p:nvSpPr>
          <p:spPr>
            <a:xfrm>
              <a:off x="798895" y="5894866"/>
              <a:ext cx="9984611" cy="276999"/>
            </a:xfrm>
            <a:prstGeom prst="rect">
              <a:avLst/>
            </a:prstGeom>
            <a:noFill/>
            <a:ln w="1905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spAutoFit/>
            </a:bodyPr>
            <a:lstStyle/>
            <a:p>
              <a:pPr algn="ctr"/>
              <a:r>
                <a:rPr lang="en-US" sz="1800" b="1" dirty="0">
                  <a:solidFill>
                    <a:schemeClr val="bg1"/>
                  </a:solidFill>
                </a:rPr>
                <a:t>New opportunities identified to create value for the customers</a:t>
              </a:r>
            </a:p>
          </p:txBody>
        </p:sp>
        <p:grpSp>
          <p:nvGrpSpPr>
            <p:cNvPr id="9" name="Group 8"/>
            <p:cNvGrpSpPr/>
            <p:nvPr/>
          </p:nvGrpSpPr>
          <p:grpSpPr>
            <a:xfrm>
              <a:off x="368301" y="956386"/>
              <a:ext cx="10845798" cy="4110611"/>
              <a:chOff x="368301" y="791286"/>
              <a:chExt cx="10845798" cy="4110611"/>
            </a:xfrm>
          </p:grpSpPr>
          <p:grpSp>
            <p:nvGrpSpPr>
              <p:cNvPr id="54" name="Group 53"/>
              <p:cNvGrpSpPr/>
              <p:nvPr/>
            </p:nvGrpSpPr>
            <p:grpSpPr>
              <a:xfrm>
                <a:off x="3827729" y="1139329"/>
                <a:ext cx="3768844" cy="3762568"/>
                <a:chOff x="-2557462" y="1119188"/>
                <a:chExt cx="2859088" cy="2854326"/>
              </a:xfrm>
              <a:solidFill>
                <a:schemeClr val="accent3"/>
              </a:solidFill>
            </p:grpSpPr>
            <p:sp>
              <p:nvSpPr>
                <p:cNvPr id="47" name="Freeform 8"/>
                <p:cNvSpPr>
                  <a:spLocks/>
                </p:cNvSpPr>
                <p:nvPr/>
              </p:nvSpPr>
              <p:spPr bwMode="auto">
                <a:xfrm>
                  <a:off x="-1127124" y="1119188"/>
                  <a:ext cx="1228725" cy="1427163"/>
                </a:xfrm>
                <a:custGeom>
                  <a:avLst/>
                  <a:gdLst>
                    <a:gd name="T0" fmla="*/ 129 w 129"/>
                    <a:gd name="T1" fmla="*/ 74 h 150"/>
                    <a:gd name="T2" fmla="*/ 0 w 129"/>
                    <a:gd name="T3" fmla="*/ 1 h 150"/>
                    <a:gd name="T4" fmla="*/ 0 w 129"/>
                    <a:gd name="T5" fmla="*/ 1 h 150"/>
                    <a:gd name="T6" fmla="*/ 0 w 129"/>
                    <a:gd name="T7" fmla="*/ 150 h 150"/>
                    <a:gd name="T8" fmla="*/ 129 w 129"/>
                    <a:gd name="T9" fmla="*/ 74 h 1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9" h="150">
                      <a:moveTo>
                        <a:pt x="129" y="74"/>
                      </a:moveTo>
                      <a:cubicBezTo>
                        <a:pt x="102" y="29"/>
                        <a:pt x="53" y="1"/>
                        <a:pt x="0" y="1"/>
                      </a:cubicBezTo>
                      <a:cubicBezTo>
                        <a:pt x="0" y="0"/>
                        <a:pt x="0" y="1"/>
                        <a:pt x="0" y="1"/>
                      </a:cubicBezTo>
                      <a:lnTo>
                        <a:pt x="0" y="150"/>
                      </a:lnTo>
                      <a:lnTo>
                        <a:pt x="129" y="74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 w="38100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8" name="Freeform 9"/>
                <p:cNvSpPr>
                  <a:spLocks/>
                </p:cNvSpPr>
                <p:nvPr/>
              </p:nvSpPr>
              <p:spPr bwMode="auto">
                <a:xfrm>
                  <a:off x="-1127124" y="1822451"/>
                  <a:ext cx="1428750" cy="1436688"/>
                </a:xfrm>
                <a:custGeom>
                  <a:avLst/>
                  <a:gdLst>
                    <a:gd name="T0" fmla="*/ 129 w 150"/>
                    <a:gd name="T1" fmla="*/ 151 h 151"/>
                    <a:gd name="T2" fmla="*/ 150 w 150"/>
                    <a:gd name="T3" fmla="*/ 76 h 151"/>
                    <a:gd name="T4" fmla="*/ 129 w 150"/>
                    <a:gd name="T5" fmla="*/ 0 h 151"/>
                    <a:gd name="T6" fmla="*/ 0 w 150"/>
                    <a:gd name="T7" fmla="*/ 76 h 151"/>
                    <a:gd name="T8" fmla="*/ 129 w 150"/>
                    <a:gd name="T9" fmla="*/ 151 h 1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50" h="151">
                      <a:moveTo>
                        <a:pt x="129" y="151"/>
                      </a:moveTo>
                      <a:cubicBezTo>
                        <a:pt x="143" y="128"/>
                        <a:pt x="150" y="102"/>
                        <a:pt x="150" y="76"/>
                      </a:cubicBezTo>
                      <a:cubicBezTo>
                        <a:pt x="150" y="49"/>
                        <a:pt x="142" y="23"/>
                        <a:pt x="129" y="0"/>
                      </a:cubicBezTo>
                      <a:lnTo>
                        <a:pt x="0" y="76"/>
                      </a:lnTo>
                      <a:lnTo>
                        <a:pt x="129" y="151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 w="38100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9" name="Freeform 10"/>
                <p:cNvSpPr>
                  <a:spLocks/>
                </p:cNvSpPr>
                <p:nvPr/>
              </p:nvSpPr>
              <p:spPr bwMode="auto">
                <a:xfrm>
                  <a:off x="-1136649" y="2546351"/>
                  <a:ext cx="1238250" cy="1427163"/>
                </a:xfrm>
                <a:custGeom>
                  <a:avLst/>
                  <a:gdLst>
                    <a:gd name="T0" fmla="*/ 0 w 130"/>
                    <a:gd name="T1" fmla="*/ 149 h 150"/>
                    <a:gd name="T2" fmla="*/ 1 w 130"/>
                    <a:gd name="T3" fmla="*/ 150 h 150"/>
                    <a:gd name="T4" fmla="*/ 130 w 130"/>
                    <a:gd name="T5" fmla="*/ 75 h 150"/>
                    <a:gd name="T6" fmla="*/ 1 w 130"/>
                    <a:gd name="T7" fmla="*/ 0 h 150"/>
                    <a:gd name="T8" fmla="*/ 0 w 130"/>
                    <a:gd name="T9" fmla="*/ 149 h 1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0" h="150">
                      <a:moveTo>
                        <a:pt x="0" y="149"/>
                      </a:moveTo>
                      <a:cubicBezTo>
                        <a:pt x="1" y="149"/>
                        <a:pt x="1" y="150"/>
                        <a:pt x="1" y="150"/>
                      </a:cubicBezTo>
                      <a:cubicBezTo>
                        <a:pt x="54" y="149"/>
                        <a:pt x="104" y="121"/>
                        <a:pt x="130" y="75"/>
                      </a:cubicBezTo>
                      <a:lnTo>
                        <a:pt x="1" y="0"/>
                      </a:lnTo>
                      <a:lnTo>
                        <a:pt x="0" y="149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 w="38100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0" name="Freeform 11"/>
                <p:cNvSpPr>
                  <a:spLocks/>
                </p:cNvSpPr>
                <p:nvPr/>
              </p:nvSpPr>
              <p:spPr bwMode="auto">
                <a:xfrm>
                  <a:off x="-2365374" y="2546351"/>
                  <a:ext cx="1238250" cy="1417638"/>
                </a:xfrm>
                <a:custGeom>
                  <a:avLst/>
                  <a:gdLst>
                    <a:gd name="T0" fmla="*/ 0 w 130"/>
                    <a:gd name="T1" fmla="*/ 75 h 149"/>
                    <a:gd name="T2" fmla="*/ 129 w 130"/>
                    <a:gd name="T3" fmla="*/ 149 h 149"/>
                    <a:gd name="T4" fmla="*/ 130 w 130"/>
                    <a:gd name="T5" fmla="*/ 0 h 149"/>
                    <a:gd name="T6" fmla="*/ 0 w 130"/>
                    <a:gd name="T7" fmla="*/ 75 h 1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30" h="149">
                      <a:moveTo>
                        <a:pt x="0" y="75"/>
                      </a:moveTo>
                      <a:cubicBezTo>
                        <a:pt x="27" y="121"/>
                        <a:pt x="76" y="149"/>
                        <a:pt x="129" y="149"/>
                      </a:cubicBezTo>
                      <a:lnTo>
                        <a:pt x="130" y="0"/>
                      </a:lnTo>
                      <a:lnTo>
                        <a:pt x="0" y="75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 w="38100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1" name="Freeform 12"/>
                <p:cNvSpPr>
                  <a:spLocks/>
                </p:cNvSpPr>
                <p:nvPr/>
              </p:nvSpPr>
              <p:spPr bwMode="auto">
                <a:xfrm>
                  <a:off x="-2557462" y="1831976"/>
                  <a:ext cx="1430338" cy="1427163"/>
                </a:xfrm>
                <a:custGeom>
                  <a:avLst/>
                  <a:gdLst>
                    <a:gd name="T0" fmla="*/ 21 w 150"/>
                    <a:gd name="T1" fmla="*/ 0 h 150"/>
                    <a:gd name="T2" fmla="*/ 1 w 150"/>
                    <a:gd name="T3" fmla="*/ 75 h 150"/>
                    <a:gd name="T4" fmla="*/ 20 w 150"/>
                    <a:gd name="T5" fmla="*/ 150 h 150"/>
                    <a:gd name="T6" fmla="*/ 150 w 150"/>
                    <a:gd name="T7" fmla="*/ 75 h 150"/>
                    <a:gd name="T8" fmla="*/ 21 w 150"/>
                    <a:gd name="T9" fmla="*/ 0 h 1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50" h="150">
                      <a:moveTo>
                        <a:pt x="21" y="0"/>
                      </a:moveTo>
                      <a:cubicBezTo>
                        <a:pt x="8" y="23"/>
                        <a:pt x="1" y="49"/>
                        <a:pt x="1" y="75"/>
                      </a:cubicBezTo>
                      <a:cubicBezTo>
                        <a:pt x="0" y="101"/>
                        <a:pt x="7" y="127"/>
                        <a:pt x="20" y="150"/>
                      </a:cubicBezTo>
                      <a:lnTo>
                        <a:pt x="150" y="75"/>
                      </a:lnTo>
                      <a:lnTo>
                        <a:pt x="21" y="0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 w="38100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2" name="Freeform 13"/>
                <p:cNvSpPr>
                  <a:spLocks/>
                </p:cNvSpPr>
                <p:nvPr/>
              </p:nvSpPr>
              <p:spPr bwMode="auto">
                <a:xfrm>
                  <a:off x="-2355849" y="1128713"/>
                  <a:ext cx="1228725" cy="1417638"/>
                </a:xfrm>
                <a:custGeom>
                  <a:avLst/>
                  <a:gdLst>
                    <a:gd name="T0" fmla="*/ 129 w 129"/>
                    <a:gd name="T1" fmla="*/ 0 h 149"/>
                    <a:gd name="T2" fmla="*/ 0 w 129"/>
                    <a:gd name="T3" fmla="*/ 74 h 149"/>
                    <a:gd name="T4" fmla="*/ 129 w 129"/>
                    <a:gd name="T5" fmla="*/ 149 h 149"/>
                    <a:gd name="T6" fmla="*/ 129 w 129"/>
                    <a:gd name="T7" fmla="*/ 0 h 1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29" h="149">
                      <a:moveTo>
                        <a:pt x="129" y="0"/>
                      </a:moveTo>
                      <a:cubicBezTo>
                        <a:pt x="75" y="0"/>
                        <a:pt x="27" y="28"/>
                        <a:pt x="0" y="74"/>
                      </a:cubicBezTo>
                      <a:lnTo>
                        <a:pt x="129" y="149"/>
                      </a:lnTo>
                      <a:lnTo>
                        <a:pt x="129" y="0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 w="38100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</p:grpSp>
          <p:sp>
            <p:nvSpPr>
              <p:cNvPr id="55" name="Oval 54"/>
              <p:cNvSpPr/>
              <p:nvPr/>
            </p:nvSpPr>
            <p:spPr>
              <a:xfrm>
                <a:off x="4242613" y="1551074"/>
                <a:ext cx="2939080" cy="2939081"/>
              </a:xfrm>
              <a:prstGeom prst="ellipse">
                <a:avLst/>
              </a:prstGeom>
              <a:solidFill>
                <a:schemeClr val="accent2">
                  <a:lumMod val="50000"/>
                </a:schemeClr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5" name="Group 4"/>
              <p:cNvGrpSpPr/>
              <p:nvPr/>
            </p:nvGrpSpPr>
            <p:grpSpPr>
              <a:xfrm>
                <a:off x="8190869" y="2588297"/>
                <a:ext cx="3023230" cy="907831"/>
                <a:chOff x="8190869" y="2238469"/>
                <a:chExt cx="3023230" cy="907831"/>
              </a:xfrm>
            </p:grpSpPr>
            <p:sp>
              <p:nvSpPr>
                <p:cNvPr id="59" name="TextBox 58"/>
                <p:cNvSpPr txBox="1">
                  <a:spLocks/>
                </p:cNvSpPr>
                <p:nvPr/>
              </p:nvSpPr>
              <p:spPr>
                <a:xfrm>
                  <a:off x="8190869" y="2592302"/>
                  <a:ext cx="3023230" cy="55399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lvl1pPr marL="0" lvl="0" indent="0" defTabSz="895350" eaLnBrk="1" latinLnBrk="0" hangingPunct="1">
                    <a:buClr>
                      <a:schemeClr val="tx2"/>
                    </a:buClr>
                    <a:buSzPct val="100000"/>
                    <a:defRPr sz="1400" baseline="0">
                      <a:latin typeface="+mn-lt"/>
                    </a:defRPr>
                  </a:lvl1pPr>
                  <a:lvl2pPr marL="193675" lvl="1" indent="-192088" defTabSz="895350" eaLnBrk="1" latinLnBrk="0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sz="1400" baseline="0">
                      <a:latin typeface="+mn-lt"/>
                    </a:defRPr>
                  </a:lvl2pPr>
                  <a:lvl3pPr marL="457200" lvl="2" indent="-261938" defTabSz="895350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sz="1400" baseline="0">
                      <a:latin typeface="+mn-lt"/>
                    </a:defRPr>
                  </a:lvl3pPr>
                  <a:lvl4pPr marL="614363" lvl="3" indent="-155575" defTabSz="895350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sz="1400" baseline="0">
                      <a:latin typeface="+mn-lt"/>
                    </a:defRPr>
                  </a:lvl4pPr>
                  <a:lvl5pPr marL="749808" lvl="4" indent="-130175" defTabSz="895350" eaLnBrk="1" latinLnBrk="0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1400" baseline="0">
                      <a:latin typeface="+mn-lt"/>
                    </a:defRPr>
                  </a:lvl5pPr>
                  <a:lvl6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6pPr>
                  <a:lvl7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7pPr>
                  <a:lvl8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8pPr>
                  <a:lvl9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9pPr>
                </a:lstStyle>
                <a:p>
                  <a:pPr>
                    <a:spcBef>
                      <a:spcPct val="50000"/>
                    </a:spcBef>
                  </a:pPr>
                  <a:r>
                    <a:rPr lang="en-US" sz="1800" dirty="0"/>
                    <a:t>Delivery needs of customer designed by logistics teams</a:t>
                  </a:r>
                </a:p>
              </p:txBody>
            </p:sp>
            <p:sp>
              <p:nvSpPr>
                <p:cNvPr id="219137" name="TextBox 219136"/>
                <p:cNvSpPr txBox="1">
                  <a:spLocks/>
                </p:cNvSpPr>
                <p:nvPr/>
              </p:nvSpPr>
              <p:spPr>
                <a:xfrm>
                  <a:off x="8190869" y="2238469"/>
                  <a:ext cx="3023230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ctr" anchorCtr="0">
                  <a:noAutofit/>
                </a:bodyPr>
                <a:lstStyle>
                  <a:lvl1pPr marL="0" lvl="0" indent="0" defTabSz="895350" eaLnBrk="1" latinLnBrk="0" hangingPunct="1">
                    <a:buClr>
                      <a:schemeClr val="tx2"/>
                    </a:buClr>
                    <a:buSzPct val="100000"/>
                    <a:defRPr sz="1400" baseline="0">
                      <a:latin typeface="+mn-lt"/>
                    </a:defRPr>
                  </a:lvl1pPr>
                  <a:lvl2pPr marL="193675" lvl="1" indent="-192088" defTabSz="895350" eaLnBrk="1" latinLnBrk="0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sz="1400" baseline="0">
                      <a:latin typeface="+mn-lt"/>
                    </a:defRPr>
                  </a:lvl2pPr>
                  <a:lvl3pPr marL="457200" lvl="2" indent="-261938" defTabSz="895350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sz="1400" baseline="0">
                      <a:latin typeface="+mn-lt"/>
                    </a:defRPr>
                  </a:lvl3pPr>
                  <a:lvl4pPr marL="614363" lvl="3" indent="-155575" defTabSz="895350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sz="1400" baseline="0">
                      <a:latin typeface="+mn-lt"/>
                    </a:defRPr>
                  </a:lvl4pPr>
                  <a:lvl5pPr marL="749808" lvl="4" indent="-130175" defTabSz="895350" eaLnBrk="1" latinLnBrk="0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1400" baseline="0">
                      <a:latin typeface="+mn-lt"/>
                    </a:defRPr>
                  </a:lvl5pPr>
                  <a:lvl6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6pPr>
                  <a:lvl7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7pPr>
                  <a:lvl8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8pPr>
                  <a:lvl9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9pPr>
                </a:lstStyle>
                <a:p>
                  <a:r>
                    <a:rPr lang="en-US" sz="1800" b="1" dirty="0">
                      <a:solidFill>
                        <a:schemeClr val="tx2"/>
                      </a:solidFill>
                    </a:rPr>
                    <a:t>Logistics</a:t>
                  </a:r>
                </a:p>
              </p:txBody>
            </p:sp>
          </p:grpSp>
          <p:grpSp>
            <p:nvGrpSpPr>
              <p:cNvPr id="7" name="Group 6"/>
              <p:cNvGrpSpPr/>
              <p:nvPr/>
            </p:nvGrpSpPr>
            <p:grpSpPr>
              <a:xfrm>
                <a:off x="368301" y="2572286"/>
                <a:ext cx="2836736" cy="896652"/>
                <a:chOff x="342901" y="2568325"/>
                <a:chExt cx="2836736" cy="896652"/>
              </a:xfrm>
            </p:grpSpPr>
            <p:sp>
              <p:nvSpPr>
                <p:cNvPr id="93" name="Rectangle 92"/>
                <p:cNvSpPr>
                  <a:spLocks/>
                </p:cNvSpPr>
                <p:nvPr/>
              </p:nvSpPr>
              <p:spPr>
                <a:xfrm>
                  <a:off x="342901" y="2568325"/>
                  <a:ext cx="2836736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ctr" anchorCtr="0">
                  <a:noAutofit/>
                </a:bodyPr>
                <a:lstStyle/>
                <a:p>
                  <a:pPr defTabSz="895350">
                    <a:buClr>
                      <a:schemeClr val="tx2"/>
                    </a:buClr>
                    <a:buSzPct val="100000"/>
                  </a:pPr>
                  <a:r>
                    <a:rPr lang="en-US" sz="1800" b="1" dirty="0">
                      <a:solidFill>
                        <a:schemeClr val="tx2"/>
                      </a:solidFill>
                    </a:rPr>
                    <a:t>Technical Engineers</a:t>
                  </a:r>
                </a:p>
              </p:txBody>
            </p:sp>
            <p:sp>
              <p:nvSpPr>
                <p:cNvPr id="219145" name="TextBox 219144"/>
                <p:cNvSpPr txBox="1">
                  <a:spLocks/>
                </p:cNvSpPr>
                <p:nvPr/>
              </p:nvSpPr>
              <p:spPr>
                <a:xfrm>
                  <a:off x="342901" y="2910979"/>
                  <a:ext cx="2836736" cy="55399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lvl1pPr marL="0" lvl="0" indent="0" defTabSz="895350" eaLnBrk="1" latinLnBrk="0" hangingPunct="1">
                    <a:buClr>
                      <a:schemeClr val="tx2"/>
                    </a:buClr>
                    <a:buSzPct val="100000"/>
                    <a:defRPr sz="1400" baseline="0">
                      <a:latin typeface="+mn-lt"/>
                    </a:defRPr>
                  </a:lvl1pPr>
                  <a:lvl2pPr marL="193675" lvl="1" indent="-192088" defTabSz="895350" eaLnBrk="1" latinLnBrk="0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sz="1400" baseline="0">
                      <a:latin typeface="+mn-lt"/>
                    </a:defRPr>
                  </a:lvl2pPr>
                  <a:lvl3pPr marL="457200" lvl="2" indent="-261938" defTabSz="895350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sz="1400" baseline="0">
                      <a:latin typeface="+mn-lt"/>
                    </a:defRPr>
                  </a:lvl3pPr>
                  <a:lvl4pPr marL="614363" lvl="3" indent="-155575" defTabSz="895350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sz="1400" baseline="0">
                      <a:latin typeface="+mn-lt"/>
                    </a:defRPr>
                  </a:lvl4pPr>
                  <a:lvl5pPr marL="749808" lvl="4" indent="-130175" defTabSz="895350" eaLnBrk="1" latinLnBrk="0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1400" baseline="0">
                      <a:latin typeface="+mn-lt"/>
                    </a:defRPr>
                  </a:lvl5pPr>
                  <a:lvl6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6pPr>
                  <a:lvl7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7pPr>
                  <a:lvl8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8pPr>
                  <a:lvl9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9pPr>
                </a:lstStyle>
                <a:p>
                  <a:pPr>
                    <a:spcBef>
                      <a:spcPct val="70000"/>
                    </a:spcBef>
                  </a:pPr>
                  <a:r>
                    <a:rPr lang="en-US" sz="1800" dirty="0"/>
                    <a:t>Value selling and identifying new opportunities</a:t>
                  </a:r>
                </a:p>
              </p:txBody>
            </p:sp>
          </p:grpSp>
          <p:grpSp>
            <p:nvGrpSpPr>
              <p:cNvPr id="8" name="Group 7"/>
              <p:cNvGrpSpPr>
                <a:grpSpLocks/>
              </p:cNvGrpSpPr>
              <p:nvPr/>
            </p:nvGrpSpPr>
            <p:grpSpPr>
              <a:xfrm>
                <a:off x="368301" y="806067"/>
                <a:ext cx="10845798" cy="1184832"/>
                <a:chOff x="368301" y="806067"/>
                <a:chExt cx="10845798" cy="1184832"/>
              </a:xfrm>
            </p:grpSpPr>
            <p:grpSp>
              <p:nvGrpSpPr>
                <p:cNvPr id="4" name="Group 3"/>
                <p:cNvGrpSpPr/>
                <p:nvPr/>
              </p:nvGrpSpPr>
              <p:grpSpPr>
                <a:xfrm>
                  <a:off x="8190869" y="806067"/>
                  <a:ext cx="3023230" cy="1184832"/>
                  <a:chOff x="8190869" y="936768"/>
                  <a:chExt cx="3023230" cy="1184832"/>
                </a:xfrm>
              </p:grpSpPr>
              <p:sp>
                <p:nvSpPr>
                  <p:cNvPr id="61" name="TextBox 60"/>
                  <p:cNvSpPr txBox="1">
                    <a:spLocks/>
                  </p:cNvSpPr>
                  <p:nvPr/>
                </p:nvSpPr>
                <p:spPr>
                  <a:xfrm>
                    <a:off x="8190869" y="1290603"/>
                    <a:ext cx="3023230" cy="83099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 anchorCtr="0">
                    <a:spAutoFit/>
                  </a:bodyPr>
                  <a:lstStyle>
                    <a:lvl1pPr marL="0" lvl="0" indent="0" defTabSz="895350" eaLnBrk="1" latinLnBrk="0" hangingPunct="1">
                      <a:buClr>
                        <a:schemeClr val="tx2"/>
                      </a:buClr>
                      <a:buSzPct val="100000"/>
                      <a:defRPr sz="1400" baseline="0">
                        <a:latin typeface="+mn-lt"/>
                      </a:defRPr>
                    </a:lvl1pPr>
                    <a:lvl2pPr marL="193675" lvl="1" indent="-192088" defTabSz="895350" eaLnBrk="1" latinLnBrk="0" hangingPunct="1">
                      <a:buClr>
                        <a:schemeClr val="tx2"/>
                      </a:buClr>
                      <a:buSzPct val="125000"/>
                      <a:buFont typeface="Arial" charset="0"/>
                      <a:buChar char="▪"/>
                      <a:defRPr sz="1400" baseline="0">
                        <a:latin typeface="+mn-lt"/>
                      </a:defRPr>
                    </a:lvl2pPr>
                    <a:lvl3pPr marL="457200" lvl="2" indent="-261938" defTabSz="895350" eaLnBrk="1" latinLnBrk="0" hangingPunct="1">
                      <a:buClr>
                        <a:schemeClr val="tx2"/>
                      </a:buClr>
                      <a:buSzPct val="120000"/>
                      <a:buFont typeface="Arial" charset="0"/>
                      <a:buChar char="–"/>
                      <a:defRPr sz="1400" baseline="0">
                        <a:latin typeface="+mn-lt"/>
                      </a:defRPr>
                    </a:lvl3pPr>
                    <a:lvl4pPr marL="614363" lvl="3" indent="-155575" defTabSz="895350" eaLnBrk="1" latinLnBrk="0" hangingPunct="1">
                      <a:buClr>
                        <a:schemeClr val="tx2"/>
                      </a:buClr>
                      <a:buSzPct val="120000"/>
                      <a:buFont typeface="Arial" charset="0"/>
                      <a:buChar char="▫"/>
                      <a:defRPr sz="1400" baseline="0">
                        <a:latin typeface="+mn-lt"/>
                      </a:defRPr>
                    </a:lvl4pPr>
                    <a:lvl5pPr marL="749808" lvl="4" indent="-130175" defTabSz="895350" eaLnBrk="1" latinLnBrk="0" hangingPunct="1">
                      <a:buClr>
                        <a:schemeClr val="tx2"/>
                      </a:buClr>
                      <a:buSzPct val="89000"/>
                      <a:buFont typeface="Arial" charset="0"/>
                      <a:buChar char="-"/>
                      <a:defRPr sz="1400" baseline="0">
                        <a:latin typeface="+mn-lt"/>
                      </a:defRPr>
                    </a:lvl5pPr>
                    <a:lvl6pPr marL="749808" indent="-130175" defTabSz="895350" fontAlgn="base">
                      <a:spcBef>
                        <a:spcPct val="0"/>
                      </a:spcBef>
                      <a:spcAft>
                        <a:spcPct val="0"/>
                      </a:spcAft>
                      <a:buClr>
                        <a:schemeClr val="tx2"/>
                      </a:buClr>
                      <a:buSzPct val="89000"/>
                      <a:buFont typeface="Arial" charset="0"/>
                      <a:buChar char="-"/>
                      <a:defRPr baseline="0">
                        <a:latin typeface="+mn-lt"/>
                      </a:defRPr>
                    </a:lvl6pPr>
                    <a:lvl7pPr marL="749808" indent="-130175" defTabSz="895350" fontAlgn="base">
                      <a:spcBef>
                        <a:spcPct val="0"/>
                      </a:spcBef>
                      <a:spcAft>
                        <a:spcPct val="0"/>
                      </a:spcAft>
                      <a:buClr>
                        <a:schemeClr val="tx2"/>
                      </a:buClr>
                      <a:buSzPct val="89000"/>
                      <a:buFont typeface="Arial" charset="0"/>
                      <a:buChar char="-"/>
                      <a:defRPr baseline="0">
                        <a:latin typeface="+mn-lt"/>
                      </a:defRPr>
                    </a:lvl7pPr>
                    <a:lvl8pPr marL="749808" indent="-130175" defTabSz="895350" fontAlgn="base">
                      <a:spcBef>
                        <a:spcPct val="0"/>
                      </a:spcBef>
                      <a:spcAft>
                        <a:spcPct val="0"/>
                      </a:spcAft>
                      <a:buClr>
                        <a:schemeClr val="tx2"/>
                      </a:buClr>
                      <a:buSzPct val="89000"/>
                      <a:buFont typeface="Arial" charset="0"/>
                      <a:buChar char="-"/>
                      <a:defRPr baseline="0">
                        <a:latin typeface="+mn-lt"/>
                      </a:defRPr>
                    </a:lvl8pPr>
                    <a:lvl9pPr marL="749808" indent="-130175" defTabSz="895350" fontAlgn="base">
                      <a:spcBef>
                        <a:spcPct val="0"/>
                      </a:spcBef>
                      <a:spcAft>
                        <a:spcPct val="0"/>
                      </a:spcAft>
                      <a:buClr>
                        <a:schemeClr val="tx2"/>
                      </a:buClr>
                      <a:buSzPct val="89000"/>
                      <a:buFont typeface="Arial" charset="0"/>
                      <a:buChar char="-"/>
                      <a:defRPr baseline="0">
                        <a:latin typeface="+mn-lt"/>
                      </a:defRPr>
                    </a:lvl9pPr>
                  </a:lstStyle>
                  <a:p>
                    <a:pPr>
                      <a:spcBef>
                        <a:spcPct val="50000"/>
                      </a:spcBef>
                    </a:pPr>
                    <a:r>
                      <a:rPr lang="en-US" sz="1800" dirty="0"/>
                      <a:t>Plant manufacuting teams also part of customer interaction teams</a:t>
                    </a:r>
                  </a:p>
                </p:txBody>
              </p:sp>
              <p:sp>
                <p:nvSpPr>
                  <p:cNvPr id="219139" name="TextBox 219138"/>
                  <p:cNvSpPr txBox="1">
                    <a:spLocks/>
                  </p:cNvSpPr>
                  <p:nvPr/>
                </p:nvSpPr>
                <p:spPr>
                  <a:xfrm>
                    <a:off x="8190869" y="936768"/>
                    <a:ext cx="3023230" cy="276999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ctr" anchorCtr="0">
                    <a:noAutofit/>
                  </a:bodyPr>
                  <a:lstStyle>
                    <a:lvl1pPr marL="0" lvl="0" indent="0" defTabSz="895350" eaLnBrk="1" latinLnBrk="0" hangingPunct="1">
                      <a:buClr>
                        <a:schemeClr val="tx2"/>
                      </a:buClr>
                      <a:buSzPct val="100000"/>
                      <a:defRPr sz="1400" baseline="0">
                        <a:latin typeface="+mn-lt"/>
                      </a:defRPr>
                    </a:lvl1pPr>
                    <a:lvl2pPr marL="193675" lvl="1" indent="-192088" defTabSz="895350" eaLnBrk="1" latinLnBrk="0" hangingPunct="1">
                      <a:buClr>
                        <a:schemeClr val="tx2"/>
                      </a:buClr>
                      <a:buSzPct val="125000"/>
                      <a:buFont typeface="Arial" charset="0"/>
                      <a:buChar char="▪"/>
                      <a:defRPr sz="1400" baseline="0">
                        <a:latin typeface="+mn-lt"/>
                      </a:defRPr>
                    </a:lvl2pPr>
                    <a:lvl3pPr marL="457200" lvl="2" indent="-261938" defTabSz="895350" eaLnBrk="1" latinLnBrk="0" hangingPunct="1">
                      <a:buClr>
                        <a:schemeClr val="tx2"/>
                      </a:buClr>
                      <a:buSzPct val="120000"/>
                      <a:buFont typeface="Arial" charset="0"/>
                      <a:buChar char="–"/>
                      <a:defRPr sz="1400" baseline="0">
                        <a:latin typeface="+mn-lt"/>
                      </a:defRPr>
                    </a:lvl3pPr>
                    <a:lvl4pPr marL="614363" lvl="3" indent="-155575" defTabSz="895350" eaLnBrk="1" latinLnBrk="0" hangingPunct="1">
                      <a:buClr>
                        <a:schemeClr val="tx2"/>
                      </a:buClr>
                      <a:buSzPct val="120000"/>
                      <a:buFont typeface="Arial" charset="0"/>
                      <a:buChar char="▫"/>
                      <a:defRPr sz="1400" baseline="0">
                        <a:latin typeface="+mn-lt"/>
                      </a:defRPr>
                    </a:lvl4pPr>
                    <a:lvl5pPr marL="749808" lvl="4" indent="-130175" defTabSz="895350" eaLnBrk="1" latinLnBrk="0" hangingPunct="1">
                      <a:buClr>
                        <a:schemeClr val="tx2"/>
                      </a:buClr>
                      <a:buSzPct val="89000"/>
                      <a:buFont typeface="Arial" charset="0"/>
                      <a:buChar char="-"/>
                      <a:defRPr sz="1400" baseline="0">
                        <a:latin typeface="+mn-lt"/>
                      </a:defRPr>
                    </a:lvl5pPr>
                    <a:lvl6pPr marL="749808" indent="-130175" defTabSz="895350" fontAlgn="base">
                      <a:spcBef>
                        <a:spcPct val="0"/>
                      </a:spcBef>
                      <a:spcAft>
                        <a:spcPct val="0"/>
                      </a:spcAft>
                      <a:buClr>
                        <a:schemeClr val="tx2"/>
                      </a:buClr>
                      <a:buSzPct val="89000"/>
                      <a:buFont typeface="Arial" charset="0"/>
                      <a:buChar char="-"/>
                      <a:defRPr baseline="0">
                        <a:latin typeface="+mn-lt"/>
                      </a:defRPr>
                    </a:lvl6pPr>
                    <a:lvl7pPr marL="749808" indent="-130175" defTabSz="895350" fontAlgn="base">
                      <a:spcBef>
                        <a:spcPct val="0"/>
                      </a:spcBef>
                      <a:spcAft>
                        <a:spcPct val="0"/>
                      </a:spcAft>
                      <a:buClr>
                        <a:schemeClr val="tx2"/>
                      </a:buClr>
                      <a:buSzPct val="89000"/>
                      <a:buFont typeface="Arial" charset="0"/>
                      <a:buChar char="-"/>
                      <a:defRPr baseline="0">
                        <a:latin typeface="+mn-lt"/>
                      </a:defRPr>
                    </a:lvl7pPr>
                    <a:lvl8pPr marL="749808" indent="-130175" defTabSz="895350" fontAlgn="base">
                      <a:spcBef>
                        <a:spcPct val="0"/>
                      </a:spcBef>
                      <a:spcAft>
                        <a:spcPct val="0"/>
                      </a:spcAft>
                      <a:buClr>
                        <a:schemeClr val="tx2"/>
                      </a:buClr>
                      <a:buSzPct val="89000"/>
                      <a:buFont typeface="Arial" charset="0"/>
                      <a:buChar char="-"/>
                      <a:defRPr baseline="0">
                        <a:latin typeface="+mn-lt"/>
                      </a:defRPr>
                    </a:lvl8pPr>
                    <a:lvl9pPr marL="749808" indent="-130175" defTabSz="895350" fontAlgn="base">
                      <a:spcBef>
                        <a:spcPct val="0"/>
                      </a:spcBef>
                      <a:spcAft>
                        <a:spcPct val="0"/>
                      </a:spcAft>
                      <a:buClr>
                        <a:schemeClr val="tx2"/>
                      </a:buClr>
                      <a:buSzPct val="89000"/>
                      <a:buFont typeface="Arial" charset="0"/>
                      <a:buChar char="-"/>
                      <a:defRPr baseline="0">
                        <a:latin typeface="+mn-lt"/>
                      </a:defRPr>
                    </a:lvl9pPr>
                  </a:lstStyle>
                  <a:p>
                    <a:r>
                      <a:rPr lang="en-US" sz="1800" b="1" dirty="0">
                        <a:solidFill>
                          <a:schemeClr val="tx2"/>
                        </a:solidFill>
                      </a:rPr>
                      <a:t>Manufacturing</a:t>
                    </a:r>
                  </a:p>
                </p:txBody>
              </p:sp>
            </p:grpSp>
            <p:grpSp>
              <p:nvGrpSpPr>
                <p:cNvPr id="6" name="Group 5"/>
                <p:cNvGrpSpPr/>
                <p:nvPr/>
              </p:nvGrpSpPr>
              <p:grpSpPr>
                <a:xfrm>
                  <a:off x="368301" y="943524"/>
                  <a:ext cx="2836736" cy="909919"/>
                  <a:chOff x="342901" y="880147"/>
                  <a:chExt cx="2836736" cy="909919"/>
                </a:xfrm>
              </p:grpSpPr>
              <p:sp>
                <p:nvSpPr>
                  <p:cNvPr id="90" name="Rectangle 89"/>
                  <p:cNvSpPr>
                    <a:spLocks/>
                  </p:cNvSpPr>
                  <p:nvPr/>
                </p:nvSpPr>
                <p:spPr>
                  <a:xfrm>
                    <a:off x="342901" y="880147"/>
                    <a:ext cx="2836736" cy="276999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ctr" anchorCtr="0">
                    <a:noAutofit/>
                  </a:bodyPr>
                  <a:lstStyle/>
                  <a:p>
                    <a:pPr defTabSz="895350">
                      <a:buClr>
                        <a:schemeClr val="tx2"/>
                      </a:buClr>
                      <a:buSzPct val="100000"/>
                    </a:pPr>
                    <a:r>
                      <a:rPr lang="en-US" sz="1800" b="1" dirty="0">
                        <a:solidFill>
                          <a:schemeClr val="tx2"/>
                        </a:solidFill>
                      </a:rPr>
                      <a:t>Sales</a:t>
                    </a:r>
                    <a:endParaRPr lang="en-GB" sz="1800" b="1" dirty="0">
                      <a:solidFill>
                        <a:schemeClr val="tx2"/>
                      </a:solidFill>
                    </a:endParaRPr>
                  </a:p>
                </p:txBody>
              </p:sp>
              <p:sp>
                <p:nvSpPr>
                  <p:cNvPr id="219147" name="TextBox 219146"/>
                  <p:cNvSpPr txBox="1">
                    <a:spLocks/>
                  </p:cNvSpPr>
                  <p:nvPr/>
                </p:nvSpPr>
                <p:spPr>
                  <a:xfrm>
                    <a:off x="342901" y="1236068"/>
                    <a:ext cx="2836736" cy="553998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 anchorCtr="0">
                    <a:noAutofit/>
                  </a:bodyPr>
                  <a:lstStyle>
                    <a:lvl1pPr marL="0" lvl="0" indent="0" defTabSz="895350" eaLnBrk="1" latinLnBrk="0" hangingPunct="1">
                      <a:buClr>
                        <a:schemeClr val="tx2"/>
                      </a:buClr>
                      <a:buSzPct val="100000"/>
                      <a:defRPr sz="1400" baseline="0">
                        <a:latin typeface="+mn-lt"/>
                      </a:defRPr>
                    </a:lvl1pPr>
                    <a:lvl2pPr marL="193675" lvl="1" indent="-192088" defTabSz="895350" eaLnBrk="1" latinLnBrk="0" hangingPunct="1">
                      <a:buClr>
                        <a:schemeClr val="tx2"/>
                      </a:buClr>
                      <a:buSzPct val="125000"/>
                      <a:buFont typeface="Arial" charset="0"/>
                      <a:buChar char="▪"/>
                      <a:defRPr sz="1400" baseline="0">
                        <a:latin typeface="+mn-lt"/>
                      </a:defRPr>
                    </a:lvl2pPr>
                    <a:lvl3pPr marL="457200" lvl="2" indent="-261938" defTabSz="895350" eaLnBrk="1" latinLnBrk="0" hangingPunct="1">
                      <a:buClr>
                        <a:schemeClr val="tx2"/>
                      </a:buClr>
                      <a:buSzPct val="120000"/>
                      <a:buFont typeface="Arial" charset="0"/>
                      <a:buChar char="–"/>
                      <a:defRPr sz="1400" baseline="0">
                        <a:latin typeface="+mn-lt"/>
                      </a:defRPr>
                    </a:lvl3pPr>
                    <a:lvl4pPr marL="614363" lvl="3" indent="-155575" defTabSz="895350" eaLnBrk="1" latinLnBrk="0" hangingPunct="1">
                      <a:buClr>
                        <a:schemeClr val="tx2"/>
                      </a:buClr>
                      <a:buSzPct val="120000"/>
                      <a:buFont typeface="Arial" charset="0"/>
                      <a:buChar char="▫"/>
                      <a:defRPr sz="1400" baseline="0">
                        <a:latin typeface="+mn-lt"/>
                      </a:defRPr>
                    </a:lvl4pPr>
                    <a:lvl5pPr marL="749808" lvl="4" indent="-130175" defTabSz="895350" eaLnBrk="1" latinLnBrk="0" hangingPunct="1">
                      <a:buClr>
                        <a:schemeClr val="tx2"/>
                      </a:buClr>
                      <a:buSzPct val="89000"/>
                      <a:buFont typeface="Arial" charset="0"/>
                      <a:buChar char="-"/>
                      <a:defRPr sz="1400" baseline="0">
                        <a:latin typeface="+mn-lt"/>
                      </a:defRPr>
                    </a:lvl5pPr>
                    <a:lvl6pPr marL="749808" indent="-130175" defTabSz="895350" fontAlgn="base">
                      <a:spcBef>
                        <a:spcPct val="0"/>
                      </a:spcBef>
                      <a:spcAft>
                        <a:spcPct val="0"/>
                      </a:spcAft>
                      <a:buClr>
                        <a:schemeClr val="tx2"/>
                      </a:buClr>
                      <a:buSzPct val="89000"/>
                      <a:buFont typeface="Arial" charset="0"/>
                      <a:buChar char="-"/>
                      <a:defRPr baseline="0">
                        <a:latin typeface="+mn-lt"/>
                      </a:defRPr>
                    </a:lvl6pPr>
                    <a:lvl7pPr marL="749808" indent="-130175" defTabSz="895350" fontAlgn="base">
                      <a:spcBef>
                        <a:spcPct val="0"/>
                      </a:spcBef>
                      <a:spcAft>
                        <a:spcPct val="0"/>
                      </a:spcAft>
                      <a:buClr>
                        <a:schemeClr val="tx2"/>
                      </a:buClr>
                      <a:buSzPct val="89000"/>
                      <a:buFont typeface="Arial" charset="0"/>
                      <a:buChar char="-"/>
                      <a:defRPr baseline="0">
                        <a:latin typeface="+mn-lt"/>
                      </a:defRPr>
                    </a:lvl7pPr>
                    <a:lvl8pPr marL="749808" indent="-130175" defTabSz="895350" fontAlgn="base">
                      <a:spcBef>
                        <a:spcPct val="0"/>
                      </a:spcBef>
                      <a:spcAft>
                        <a:spcPct val="0"/>
                      </a:spcAft>
                      <a:buClr>
                        <a:schemeClr val="tx2"/>
                      </a:buClr>
                      <a:buSzPct val="89000"/>
                      <a:buFont typeface="Arial" charset="0"/>
                      <a:buChar char="-"/>
                      <a:defRPr baseline="0">
                        <a:latin typeface="+mn-lt"/>
                      </a:defRPr>
                    </a:lvl8pPr>
                    <a:lvl9pPr marL="749808" indent="-130175" defTabSz="895350" fontAlgn="base">
                      <a:spcBef>
                        <a:spcPct val="0"/>
                      </a:spcBef>
                      <a:spcAft>
                        <a:spcPct val="0"/>
                      </a:spcAft>
                      <a:buClr>
                        <a:schemeClr val="tx2"/>
                      </a:buClr>
                      <a:buSzPct val="89000"/>
                      <a:buFont typeface="Arial" charset="0"/>
                      <a:buChar char="-"/>
                      <a:defRPr baseline="0">
                        <a:latin typeface="+mn-lt"/>
                      </a:defRPr>
                    </a:lvl9pPr>
                  </a:lstStyle>
                  <a:p>
                    <a:pPr>
                      <a:spcBef>
                        <a:spcPct val="70000"/>
                      </a:spcBef>
                    </a:pPr>
                    <a:r>
                      <a:rPr lang="en-US" sz="1800" dirty="0"/>
                      <a:t>Relationship holder with key accounts</a:t>
                    </a:r>
                  </a:p>
                </p:txBody>
              </p:sp>
            </p:grpSp>
          </p:grpSp>
          <p:cxnSp>
            <p:nvCxnSpPr>
              <p:cNvPr id="219153" name="Straight Connector 219152"/>
              <p:cNvCxnSpPr/>
              <p:nvPr/>
            </p:nvCxnSpPr>
            <p:spPr>
              <a:xfrm>
                <a:off x="3383105" y="791286"/>
                <a:ext cx="0" cy="1214395"/>
              </a:xfrm>
              <a:prstGeom prst="line">
                <a:avLst/>
              </a:prstGeom>
              <a:ln w="38100">
                <a:solidFill>
                  <a:schemeClr val="accent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/>
            </p:nvCxnSpPr>
            <p:spPr>
              <a:xfrm>
                <a:off x="3383105" y="2413415"/>
                <a:ext cx="0" cy="1214395"/>
              </a:xfrm>
              <a:prstGeom prst="line">
                <a:avLst/>
              </a:prstGeom>
              <a:ln w="38100">
                <a:solidFill>
                  <a:schemeClr val="accent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/>
            </p:nvCxnSpPr>
            <p:spPr>
              <a:xfrm>
                <a:off x="8041198" y="791286"/>
                <a:ext cx="0" cy="1214395"/>
              </a:xfrm>
              <a:prstGeom prst="line">
                <a:avLst/>
              </a:prstGeom>
              <a:ln w="38100">
                <a:solidFill>
                  <a:schemeClr val="accent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>
                <a:cxnSpLocks/>
              </p:cNvCxnSpPr>
              <p:nvPr/>
            </p:nvCxnSpPr>
            <p:spPr>
              <a:xfrm>
                <a:off x="8041198" y="2291371"/>
                <a:ext cx="0" cy="1501683"/>
              </a:xfrm>
              <a:prstGeom prst="line">
                <a:avLst/>
              </a:prstGeom>
              <a:ln w="38100">
                <a:solidFill>
                  <a:schemeClr val="accent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9159" name="Freeform 219158"/>
              <p:cNvSpPr/>
              <p:nvPr/>
            </p:nvSpPr>
            <p:spPr>
              <a:xfrm>
                <a:off x="6930586" y="1190589"/>
                <a:ext cx="1017357" cy="318477"/>
              </a:xfrm>
              <a:custGeom>
                <a:avLst/>
                <a:gdLst>
                  <a:gd name="connsiteX0" fmla="*/ 0 w 876300"/>
                  <a:gd name="connsiteY0" fmla="*/ 274320 h 274320"/>
                  <a:gd name="connsiteX1" fmla="*/ 243840 w 876300"/>
                  <a:gd name="connsiteY1" fmla="*/ 0 h 274320"/>
                  <a:gd name="connsiteX2" fmla="*/ 876300 w 876300"/>
                  <a:gd name="connsiteY2" fmla="*/ 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76300" h="274320">
                    <a:moveTo>
                      <a:pt x="0" y="274320"/>
                    </a:moveTo>
                    <a:lnTo>
                      <a:pt x="243840" y="0"/>
                    </a:lnTo>
                    <a:lnTo>
                      <a:pt x="876300" y="0"/>
                    </a:lnTo>
                  </a:path>
                </a:pathLst>
              </a:custGeom>
              <a:noFill/>
              <a:ln w="19050">
                <a:solidFill>
                  <a:schemeClr val="accent6">
                    <a:lumMod val="75000"/>
                  </a:schemeClr>
                </a:solidFill>
                <a:headEnd type="triangle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dirty="0"/>
              </a:p>
            </p:txBody>
          </p:sp>
          <p:sp>
            <p:nvSpPr>
              <p:cNvPr id="120" name="Freeform 119"/>
              <p:cNvSpPr/>
              <p:nvPr/>
            </p:nvSpPr>
            <p:spPr>
              <a:xfrm flipH="1">
                <a:off x="3521510" y="1190589"/>
                <a:ext cx="1017357" cy="318477"/>
              </a:xfrm>
              <a:custGeom>
                <a:avLst/>
                <a:gdLst>
                  <a:gd name="connsiteX0" fmla="*/ 0 w 876300"/>
                  <a:gd name="connsiteY0" fmla="*/ 274320 h 274320"/>
                  <a:gd name="connsiteX1" fmla="*/ 243840 w 876300"/>
                  <a:gd name="connsiteY1" fmla="*/ 0 h 274320"/>
                  <a:gd name="connsiteX2" fmla="*/ 876300 w 876300"/>
                  <a:gd name="connsiteY2" fmla="*/ 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76300" h="274320">
                    <a:moveTo>
                      <a:pt x="0" y="274320"/>
                    </a:moveTo>
                    <a:lnTo>
                      <a:pt x="243840" y="0"/>
                    </a:lnTo>
                    <a:lnTo>
                      <a:pt x="876300" y="0"/>
                    </a:lnTo>
                  </a:path>
                </a:pathLst>
              </a:custGeom>
              <a:noFill/>
              <a:ln w="19050">
                <a:solidFill>
                  <a:schemeClr val="accent6">
                    <a:lumMod val="75000"/>
                  </a:schemeClr>
                </a:solidFill>
                <a:headEnd type="triangle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dirty="0"/>
              </a:p>
            </p:txBody>
          </p:sp>
          <p:cxnSp>
            <p:nvCxnSpPr>
              <p:cNvPr id="219162" name="Straight Connector 219161"/>
              <p:cNvCxnSpPr/>
              <p:nvPr/>
            </p:nvCxnSpPr>
            <p:spPr>
              <a:xfrm flipH="1">
                <a:off x="7664853" y="3020613"/>
                <a:ext cx="283091" cy="0"/>
              </a:xfrm>
              <a:prstGeom prst="line">
                <a:avLst/>
              </a:prstGeom>
              <a:noFill/>
              <a:ln w="19050">
                <a:solidFill>
                  <a:schemeClr val="accent6">
                    <a:lumMod val="75000"/>
                  </a:schemeClr>
                </a:solidFill>
                <a:tailEnd type="triangle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25" name="Straight Connector 124"/>
              <p:cNvCxnSpPr/>
              <p:nvPr/>
            </p:nvCxnSpPr>
            <p:spPr>
              <a:xfrm>
                <a:off x="3521510" y="3020613"/>
                <a:ext cx="283091" cy="0"/>
              </a:xfrm>
              <a:prstGeom prst="line">
                <a:avLst/>
              </a:prstGeom>
              <a:noFill/>
              <a:ln w="19050">
                <a:solidFill>
                  <a:schemeClr val="accent6">
                    <a:lumMod val="75000"/>
                  </a:schemeClr>
                </a:solidFill>
                <a:tailEnd type="triangle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26" name="Rectangle 125"/>
              <p:cNvSpPr>
                <a:spLocks/>
              </p:cNvSpPr>
              <p:nvPr/>
            </p:nvSpPr>
            <p:spPr>
              <a:xfrm>
                <a:off x="4578682" y="2237383"/>
                <a:ext cx="2224409" cy="276999"/>
              </a:xfrm>
              <a:prstGeom prst="rect">
                <a:avLst/>
              </a:prstGeom>
            </p:spPr>
            <p:txBody>
              <a:bodyPr vert="horz" wrap="square" lIns="0" tIns="0" rIns="0" bIns="0" rtlCol="0" anchor="ctr" anchorCtr="0">
                <a:spAutoFit/>
              </a:bodyPr>
              <a:lstStyle/>
              <a:p>
                <a:pPr algn="ctr" defTabSz="895350">
                  <a:buClr>
                    <a:schemeClr val="tx2"/>
                  </a:buClr>
                  <a:buSzPct val="100000"/>
                </a:pPr>
                <a:r>
                  <a:rPr lang="en-US" sz="1800" b="1" dirty="0">
                    <a:solidFill>
                      <a:schemeClr val="bg1"/>
                    </a:solidFill>
                  </a:rPr>
                  <a:t>VIP Teams formed</a:t>
                </a:r>
              </a:p>
            </p:txBody>
          </p:sp>
          <p:grpSp>
            <p:nvGrpSpPr>
              <p:cNvPr id="135" name="Group 134"/>
              <p:cNvGrpSpPr/>
              <p:nvPr/>
            </p:nvGrpSpPr>
            <p:grpSpPr>
              <a:xfrm>
                <a:off x="4484875" y="2732683"/>
                <a:ext cx="2445711" cy="1102231"/>
                <a:chOff x="1703389" y="3024188"/>
                <a:chExt cx="5375275" cy="2422525"/>
              </a:xfrm>
            </p:grpSpPr>
            <p:sp>
              <p:nvSpPr>
                <p:cNvPr id="136" name="Rectangle 12"/>
                <p:cNvSpPr>
                  <a:spLocks noChangeArrowheads="1"/>
                </p:cNvSpPr>
                <p:nvPr/>
              </p:nvSpPr>
              <p:spPr bwMode="auto">
                <a:xfrm>
                  <a:off x="2625726" y="3054350"/>
                  <a:ext cx="1588" cy="203200"/>
                </a:xfrm>
                <a:prstGeom prst="rect">
                  <a:avLst/>
                </a:prstGeom>
                <a:solidFill>
                  <a:srgbClr val="FFF0D7"/>
                </a:soli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37" name="Rectangle 18"/>
                <p:cNvSpPr>
                  <a:spLocks noChangeArrowheads="1"/>
                </p:cNvSpPr>
                <p:nvPr/>
              </p:nvSpPr>
              <p:spPr bwMode="auto">
                <a:xfrm>
                  <a:off x="3662363" y="4668838"/>
                  <a:ext cx="103188" cy="441325"/>
                </a:xfrm>
                <a:prstGeom prst="rect">
                  <a:avLst/>
                </a:prstGeom>
                <a:solidFill>
                  <a:srgbClr val="FFF0D7"/>
                </a:soli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38" name="Freeform 19"/>
                <p:cNvSpPr>
                  <a:spLocks/>
                </p:cNvSpPr>
                <p:nvPr/>
              </p:nvSpPr>
              <p:spPr bwMode="auto">
                <a:xfrm>
                  <a:off x="3662363" y="4749800"/>
                  <a:ext cx="103188" cy="355600"/>
                </a:xfrm>
                <a:custGeom>
                  <a:avLst/>
                  <a:gdLst>
                    <a:gd name="T0" fmla="*/ 0 w 65"/>
                    <a:gd name="T1" fmla="*/ 0 h 224"/>
                    <a:gd name="T2" fmla="*/ 65 w 65"/>
                    <a:gd name="T3" fmla="*/ 0 h 224"/>
                    <a:gd name="T4" fmla="*/ 65 w 65"/>
                    <a:gd name="T5" fmla="*/ 224 h 224"/>
                    <a:gd name="T6" fmla="*/ 55 w 65"/>
                    <a:gd name="T7" fmla="*/ 224 h 224"/>
                    <a:gd name="T8" fmla="*/ 8 w 65"/>
                    <a:gd name="T9" fmla="*/ 224 h 224"/>
                    <a:gd name="T10" fmla="*/ 0 w 65"/>
                    <a:gd name="T11" fmla="*/ 224 h 224"/>
                    <a:gd name="T12" fmla="*/ 0 w 65"/>
                    <a:gd name="T13" fmla="*/ 0 h 2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5" h="224">
                      <a:moveTo>
                        <a:pt x="0" y="0"/>
                      </a:moveTo>
                      <a:lnTo>
                        <a:pt x="65" y="0"/>
                      </a:lnTo>
                      <a:lnTo>
                        <a:pt x="65" y="224"/>
                      </a:lnTo>
                      <a:lnTo>
                        <a:pt x="55" y="224"/>
                      </a:lnTo>
                      <a:lnTo>
                        <a:pt x="8" y="224"/>
                      </a:lnTo>
                      <a:lnTo>
                        <a:pt x="0" y="22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E2B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39" name="Freeform 20"/>
                <p:cNvSpPr>
                  <a:spLocks/>
                </p:cNvSpPr>
                <p:nvPr/>
              </p:nvSpPr>
              <p:spPr bwMode="auto">
                <a:xfrm>
                  <a:off x="3429001" y="5105400"/>
                  <a:ext cx="568325" cy="209550"/>
                </a:xfrm>
                <a:custGeom>
                  <a:avLst/>
                  <a:gdLst>
                    <a:gd name="T0" fmla="*/ 155 w 358"/>
                    <a:gd name="T1" fmla="*/ 0 h 132"/>
                    <a:gd name="T2" fmla="*/ 202 w 358"/>
                    <a:gd name="T3" fmla="*/ 0 h 132"/>
                    <a:gd name="T4" fmla="*/ 235 w 358"/>
                    <a:gd name="T5" fmla="*/ 3 h 132"/>
                    <a:gd name="T6" fmla="*/ 267 w 358"/>
                    <a:gd name="T7" fmla="*/ 13 h 132"/>
                    <a:gd name="T8" fmla="*/ 296 w 358"/>
                    <a:gd name="T9" fmla="*/ 29 h 132"/>
                    <a:gd name="T10" fmla="*/ 320 w 358"/>
                    <a:gd name="T11" fmla="*/ 49 h 132"/>
                    <a:gd name="T12" fmla="*/ 339 w 358"/>
                    <a:gd name="T13" fmla="*/ 74 h 132"/>
                    <a:gd name="T14" fmla="*/ 352 w 358"/>
                    <a:gd name="T15" fmla="*/ 102 h 132"/>
                    <a:gd name="T16" fmla="*/ 358 w 358"/>
                    <a:gd name="T17" fmla="*/ 132 h 132"/>
                    <a:gd name="T18" fmla="*/ 299 w 358"/>
                    <a:gd name="T19" fmla="*/ 132 h 132"/>
                    <a:gd name="T20" fmla="*/ 289 w 358"/>
                    <a:gd name="T21" fmla="*/ 108 h 132"/>
                    <a:gd name="T22" fmla="*/ 273 w 358"/>
                    <a:gd name="T23" fmla="*/ 86 h 132"/>
                    <a:gd name="T24" fmla="*/ 251 w 358"/>
                    <a:gd name="T25" fmla="*/ 68 h 132"/>
                    <a:gd name="T26" fmla="*/ 224 w 358"/>
                    <a:gd name="T27" fmla="*/ 57 h 132"/>
                    <a:gd name="T28" fmla="*/ 195 w 358"/>
                    <a:gd name="T29" fmla="*/ 54 h 132"/>
                    <a:gd name="T30" fmla="*/ 163 w 358"/>
                    <a:gd name="T31" fmla="*/ 54 h 132"/>
                    <a:gd name="T32" fmla="*/ 134 w 358"/>
                    <a:gd name="T33" fmla="*/ 57 h 132"/>
                    <a:gd name="T34" fmla="*/ 106 w 358"/>
                    <a:gd name="T35" fmla="*/ 68 h 132"/>
                    <a:gd name="T36" fmla="*/ 84 w 358"/>
                    <a:gd name="T37" fmla="*/ 86 h 132"/>
                    <a:gd name="T38" fmla="*/ 68 w 358"/>
                    <a:gd name="T39" fmla="*/ 108 h 132"/>
                    <a:gd name="T40" fmla="*/ 58 w 358"/>
                    <a:gd name="T41" fmla="*/ 132 h 132"/>
                    <a:gd name="T42" fmla="*/ 0 w 358"/>
                    <a:gd name="T43" fmla="*/ 132 h 132"/>
                    <a:gd name="T44" fmla="*/ 6 w 358"/>
                    <a:gd name="T45" fmla="*/ 102 h 132"/>
                    <a:gd name="T46" fmla="*/ 19 w 358"/>
                    <a:gd name="T47" fmla="*/ 74 h 132"/>
                    <a:gd name="T48" fmla="*/ 38 w 358"/>
                    <a:gd name="T49" fmla="*/ 49 h 132"/>
                    <a:gd name="T50" fmla="*/ 61 w 358"/>
                    <a:gd name="T51" fmla="*/ 29 h 132"/>
                    <a:gd name="T52" fmla="*/ 90 w 358"/>
                    <a:gd name="T53" fmla="*/ 13 h 132"/>
                    <a:gd name="T54" fmla="*/ 122 w 358"/>
                    <a:gd name="T55" fmla="*/ 3 h 132"/>
                    <a:gd name="T56" fmla="*/ 155 w 358"/>
                    <a:gd name="T57" fmla="*/ 0 h 1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58" h="132">
                      <a:moveTo>
                        <a:pt x="155" y="0"/>
                      </a:moveTo>
                      <a:lnTo>
                        <a:pt x="202" y="0"/>
                      </a:lnTo>
                      <a:lnTo>
                        <a:pt x="235" y="3"/>
                      </a:lnTo>
                      <a:lnTo>
                        <a:pt x="267" y="13"/>
                      </a:lnTo>
                      <a:lnTo>
                        <a:pt x="296" y="29"/>
                      </a:lnTo>
                      <a:lnTo>
                        <a:pt x="320" y="49"/>
                      </a:lnTo>
                      <a:lnTo>
                        <a:pt x="339" y="74"/>
                      </a:lnTo>
                      <a:lnTo>
                        <a:pt x="352" y="102"/>
                      </a:lnTo>
                      <a:lnTo>
                        <a:pt x="358" y="132"/>
                      </a:lnTo>
                      <a:lnTo>
                        <a:pt x="299" y="132"/>
                      </a:lnTo>
                      <a:lnTo>
                        <a:pt x="289" y="108"/>
                      </a:lnTo>
                      <a:lnTo>
                        <a:pt x="273" y="86"/>
                      </a:lnTo>
                      <a:lnTo>
                        <a:pt x="251" y="68"/>
                      </a:lnTo>
                      <a:lnTo>
                        <a:pt x="224" y="57"/>
                      </a:lnTo>
                      <a:lnTo>
                        <a:pt x="195" y="54"/>
                      </a:lnTo>
                      <a:lnTo>
                        <a:pt x="163" y="54"/>
                      </a:lnTo>
                      <a:lnTo>
                        <a:pt x="134" y="57"/>
                      </a:lnTo>
                      <a:lnTo>
                        <a:pt x="106" y="68"/>
                      </a:lnTo>
                      <a:lnTo>
                        <a:pt x="84" y="86"/>
                      </a:lnTo>
                      <a:lnTo>
                        <a:pt x="68" y="108"/>
                      </a:lnTo>
                      <a:lnTo>
                        <a:pt x="58" y="132"/>
                      </a:lnTo>
                      <a:lnTo>
                        <a:pt x="0" y="132"/>
                      </a:lnTo>
                      <a:lnTo>
                        <a:pt x="6" y="102"/>
                      </a:lnTo>
                      <a:lnTo>
                        <a:pt x="19" y="74"/>
                      </a:lnTo>
                      <a:lnTo>
                        <a:pt x="38" y="49"/>
                      </a:lnTo>
                      <a:lnTo>
                        <a:pt x="61" y="29"/>
                      </a:lnTo>
                      <a:lnTo>
                        <a:pt x="90" y="13"/>
                      </a:lnTo>
                      <a:lnTo>
                        <a:pt x="122" y="3"/>
                      </a:lnTo>
                      <a:lnTo>
                        <a:pt x="155" y="0"/>
                      </a:lnTo>
                      <a:close/>
                    </a:path>
                  </a:pathLst>
                </a:custGeom>
                <a:solidFill>
                  <a:srgbClr val="FFF0D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40" name="Freeform 21"/>
                <p:cNvSpPr>
                  <a:spLocks/>
                </p:cNvSpPr>
                <p:nvPr/>
              </p:nvSpPr>
              <p:spPr bwMode="auto">
                <a:xfrm>
                  <a:off x="3917951" y="3535363"/>
                  <a:ext cx="274638" cy="1177925"/>
                </a:xfrm>
                <a:custGeom>
                  <a:avLst/>
                  <a:gdLst>
                    <a:gd name="T0" fmla="*/ 86 w 173"/>
                    <a:gd name="T1" fmla="*/ 0 h 742"/>
                    <a:gd name="T2" fmla="*/ 112 w 173"/>
                    <a:gd name="T3" fmla="*/ 5 h 742"/>
                    <a:gd name="T4" fmla="*/ 134 w 173"/>
                    <a:gd name="T5" fmla="*/ 16 h 742"/>
                    <a:gd name="T6" fmla="*/ 153 w 173"/>
                    <a:gd name="T7" fmla="*/ 32 h 742"/>
                    <a:gd name="T8" fmla="*/ 166 w 173"/>
                    <a:gd name="T9" fmla="*/ 54 h 742"/>
                    <a:gd name="T10" fmla="*/ 172 w 173"/>
                    <a:gd name="T11" fmla="*/ 79 h 742"/>
                    <a:gd name="T12" fmla="*/ 173 w 173"/>
                    <a:gd name="T13" fmla="*/ 83 h 742"/>
                    <a:gd name="T14" fmla="*/ 173 w 173"/>
                    <a:gd name="T15" fmla="*/ 89 h 742"/>
                    <a:gd name="T16" fmla="*/ 173 w 173"/>
                    <a:gd name="T17" fmla="*/ 669 h 742"/>
                    <a:gd name="T18" fmla="*/ 173 w 173"/>
                    <a:gd name="T19" fmla="*/ 681 h 742"/>
                    <a:gd name="T20" fmla="*/ 172 w 173"/>
                    <a:gd name="T21" fmla="*/ 694 h 742"/>
                    <a:gd name="T22" fmla="*/ 169 w 173"/>
                    <a:gd name="T23" fmla="*/ 708 h 742"/>
                    <a:gd name="T24" fmla="*/ 163 w 173"/>
                    <a:gd name="T25" fmla="*/ 721 h 742"/>
                    <a:gd name="T26" fmla="*/ 156 w 173"/>
                    <a:gd name="T27" fmla="*/ 733 h 742"/>
                    <a:gd name="T28" fmla="*/ 144 w 173"/>
                    <a:gd name="T29" fmla="*/ 739 h 742"/>
                    <a:gd name="T30" fmla="*/ 130 w 173"/>
                    <a:gd name="T31" fmla="*/ 742 h 742"/>
                    <a:gd name="T32" fmla="*/ 92 w 173"/>
                    <a:gd name="T33" fmla="*/ 742 h 742"/>
                    <a:gd name="T34" fmla="*/ 79 w 173"/>
                    <a:gd name="T35" fmla="*/ 742 h 742"/>
                    <a:gd name="T36" fmla="*/ 66 w 173"/>
                    <a:gd name="T37" fmla="*/ 739 h 742"/>
                    <a:gd name="T38" fmla="*/ 57 w 173"/>
                    <a:gd name="T39" fmla="*/ 735 h 742"/>
                    <a:gd name="T40" fmla="*/ 51 w 173"/>
                    <a:gd name="T41" fmla="*/ 727 h 742"/>
                    <a:gd name="T42" fmla="*/ 48 w 173"/>
                    <a:gd name="T43" fmla="*/ 717 h 742"/>
                    <a:gd name="T44" fmla="*/ 48 w 173"/>
                    <a:gd name="T45" fmla="*/ 165 h 742"/>
                    <a:gd name="T46" fmla="*/ 29 w 173"/>
                    <a:gd name="T47" fmla="*/ 152 h 742"/>
                    <a:gd name="T48" fmla="*/ 13 w 173"/>
                    <a:gd name="T49" fmla="*/ 133 h 742"/>
                    <a:gd name="T50" fmla="*/ 3 w 173"/>
                    <a:gd name="T51" fmla="*/ 111 h 742"/>
                    <a:gd name="T52" fmla="*/ 0 w 173"/>
                    <a:gd name="T53" fmla="*/ 86 h 742"/>
                    <a:gd name="T54" fmla="*/ 4 w 173"/>
                    <a:gd name="T55" fmla="*/ 60 h 742"/>
                    <a:gd name="T56" fmla="*/ 16 w 173"/>
                    <a:gd name="T57" fmla="*/ 37 h 742"/>
                    <a:gd name="T58" fmla="*/ 35 w 173"/>
                    <a:gd name="T59" fmla="*/ 18 h 742"/>
                    <a:gd name="T60" fmla="*/ 58 w 173"/>
                    <a:gd name="T61" fmla="*/ 5 h 742"/>
                    <a:gd name="T62" fmla="*/ 86 w 173"/>
                    <a:gd name="T63" fmla="*/ 0 h 7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173" h="742">
                      <a:moveTo>
                        <a:pt x="86" y="0"/>
                      </a:moveTo>
                      <a:lnTo>
                        <a:pt x="112" y="5"/>
                      </a:lnTo>
                      <a:lnTo>
                        <a:pt x="134" y="16"/>
                      </a:lnTo>
                      <a:lnTo>
                        <a:pt x="153" y="32"/>
                      </a:lnTo>
                      <a:lnTo>
                        <a:pt x="166" y="54"/>
                      </a:lnTo>
                      <a:lnTo>
                        <a:pt x="172" y="79"/>
                      </a:lnTo>
                      <a:lnTo>
                        <a:pt x="173" y="83"/>
                      </a:lnTo>
                      <a:lnTo>
                        <a:pt x="173" y="89"/>
                      </a:lnTo>
                      <a:lnTo>
                        <a:pt x="173" y="669"/>
                      </a:lnTo>
                      <a:lnTo>
                        <a:pt x="173" y="681"/>
                      </a:lnTo>
                      <a:lnTo>
                        <a:pt x="172" y="694"/>
                      </a:lnTo>
                      <a:lnTo>
                        <a:pt x="169" y="708"/>
                      </a:lnTo>
                      <a:lnTo>
                        <a:pt x="163" y="721"/>
                      </a:lnTo>
                      <a:lnTo>
                        <a:pt x="156" y="733"/>
                      </a:lnTo>
                      <a:lnTo>
                        <a:pt x="144" y="739"/>
                      </a:lnTo>
                      <a:lnTo>
                        <a:pt x="130" y="742"/>
                      </a:lnTo>
                      <a:lnTo>
                        <a:pt x="92" y="742"/>
                      </a:lnTo>
                      <a:lnTo>
                        <a:pt x="79" y="742"/>
                      </a:lnTo>
                      <a:lnTo>
                        <a:pt x="66" y="739"/>
                      </a:lnTo>
                      <a:lnTo>
                        <a:pt x="57" y="735"/>
                      </a:lnTo>
                      <a:lnTo>
                        <a:pt x="51" y="727"/>
                      </a:lnTo>
                      <a:lnTo>
                        <a:pt x="48" y="717"/>
                      </a:lnTo>
                      <a:lnTo>
                        <a:pt x="48" y="165"/>
                      </a:lnTo>
                      <a:lnTo>
                        <a:pt x="29" y="152"/>
                      </a:lnTo>
                      <a:lnTo>
                        <a:pt x="13" y="133"/>
                      </a:lnTo>
                      <a:lnTo>
                        <a:pt x="3" y="111"/>
                      </a:lnTo>
                      <a:lnTo>
                        <a:pt x="0" y="86"/>
                      </a:lnTo>
                      <a:lnTo>
                        <a:pt x="4" y="60"/>
                      </a:lnTo>
                      <a:lnTo>
                        <a:pt x="16" y="37"/>
                      </a:lnTo>
                      <a:lnTo>
                        <a:pt x="35" y="18"/>
                      </a:lnTo>
                      <a:lnTo>
                        <a:pt x="58" y="5"/>
                      </a:lnTo>
                      <a:lnTo>
                        <a:pt x="86" y="0"/>
                      </a:lnTo>
                      <a:close/>
                    </a:path>
                  </a:pathLst>
                </a:custGeom>
                <a:solidFill>
                  <a:srgbClr val="332F2C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41" name="Freeform 22"/>
                <p:cNvSpPr>
                  <a:spLocks/>
                </p:cNvSpPr>
                <p:nvPr/>
              </p:nvSpPr>
              <p:spPr bwMode="auto">
                <a:xfrm>
                  <a:off x="3243263" y="3535363"/>
                  <a:ext cx="274638" cy="1182688"/>
                </a:xfrm>
                <a:custGeom>
                  <a:avLst/>
                  <a:gdLst>
                    <a:gd name="T0" fmla="*/ 88 w 173"/>
                    <a:gd name="T1" fmla="*/ 0 h 745"/>
                    <a:gd name="T2" fmla="*/ 114 w 173"/>
                    <a:gd name="T3" fmla="*/ 5 h 745"/>
                    <a:gd name="T4" fmla="*/ 139 w 173"/>
                    <a:gd name="T5" fmla="*/ 18 h 745"/>
                    <a:gd name="T6" fmla="*/ 156 w 173"/>
                    <a:gd name="T7" fmla="*/ 37 h 745"/>
                    <a:gd name="T8" fmla="*/ 169 w 173"/>
                    <a:gd name="T9" fmla="*/ 60 h 745"/>
                    <a:gd name="T10" fmla="*/ 173 w 173"/>
                    <a:gd name="T11" fmla="*/ 86 h 745"/>
                    <a:gd name="T12" fmla="*/ 169 w 173"/>
                    <a:gd name="T13" fmla="*/ 111 h 745"/>
                    <a:gd name="T14" fmla="*/ 159 w 173"/>
                    <a:gd name="T15" fmla="*/ 133 h 745"/>
                    <a:gd name="T16" fmla="*/ 144 w 173"/>
                    <a:gd name="T17" fmla="*/ 152 h 745"/>
                    <a:gd name="T18" fmla="*/ 125 w 173"/>
                    <a:gd name="T19" fmla="*/ 165 h 745"/>
                    <a:gd name="T20" fmla="*/ 125 w 173"/>
                    <a:gd name="T21" fmla="*/ 732 h 745"/>
                    <a:gd name="T22" fmla="*/ 123 w 173"/>
                    <a:gd name="T23" fmla="*/ 740 h 745"/>
                    <a:gd name="T24" fmla="*/ 118 w 173"/>
                    <a:gd name="T25" fmla="*/ 745 h 745"/>
                    <a:gd name="T26" fmla="*/ 112 w 173"/>
                    <a:gd name="T27" fmla="*/ 745 h 745"/>
                    <a:gd name="T28" fmla="*/ 104 w 173"/>
                    <a:gd name="T29" fmla="*/ 745 h 745"/>
                    <a:gd name="T30" fmla="*/ 92 w 173"/>
                    <a:gd name="T31" fmla="*/ 742 h 745"/>
                    <a:gd name="T32" fmla="*/ 80 w 173"/>
                    <a:gd name="T33" fmla="*/ 742 h 745"/>
                    <a:gd name="T34" fmla="*/ 44 w 173"/>
                    <a:gd name="T35" fmla="*/ 742 h 745"/>
                    <a:gd name="T36" fmla="*/ 28 w 173"/>
                    <a:gd name="T37" fmla="*/ 739 h 745"/>
                    <a:gd name="T38" fmla="*/ 16 w 173"/>
                    <a:gd name="T39" fmla="*/ 732 h 745"/>
                    <a:gd name="T40" fmla="*/ 9 w 173"/>
                    <a:gd name="T41" fmla="*/ 721 h 745"/>
                    <a:gd name="T42" fmla="*/ 3 w 173"/>
                    <a:gd name="T43" fmla="*/ 710 h 745"/>
                    <a:gd name="T44" fmla="*/ 0 w 173"/>
                    <a:gd name="T45" fmla="*/ 697 h 745"/>
                    <a:gd name="T46" fmla="*/ 0 w 173"/>
                    <a:gd name="T47" fmla="*/ 685 h 745"/>
                    <a:gd name="T48" fmla="*/ 0 w 173"/>
                    <a:gd name="T49" fmla="*/ 89 h 745"/>
                    <a:gd name="T50" fmla="*/ 0 w 173"/>
                    <a:gd name="T51" fmla="*/ 83 h 745"/>
                    <a:gd name="T52" fmla="*/ 2 w 173"/>
                    <a:gd name="T53" fmla="*/ 79 h 745"/>
                    <a:gd name="T54" fmla="*/ 8 w 173"/>
                    <a:gd name="T55" fmla="*/ 54 h 745"/>
                    <a:gd name="T56" fmla="*/ 21 w 173"/>
                    <a:gd name="T57" fmla="*/ 32 h 745"/>
                    <a:gd name="T58" fmla="*/ 38 w 173"/>
                    <a:gd name="T59" fmla="*/ 16 h 745"/>
                    <a:gd name="T60" fmla="*/ 61 w 173"/>
                    <a:gd name="T61" fmla="*/ 5 h 745"/>
                    <a:gd name="T62" fmla="*/ 88 w 173"/>
                    <a:gd name="T63" fmla="*/ 0 h 7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173" h="745">
                      <a:moveTo>
                        <a:pt x="88" y="0"/>
                      </a:moveTo>
                      <a:lnTo>
                        <a:pt x="114" y="5"/>
                      </a:lnTo>
                      <a:lnTo>
                        <a:pt x="139" y="18"/>
                      </a:lnTo>
                      <a:lnTo>
                        <a:pt x="156" y="37"/>
                      </a:lnTo>
                      <a:lnTo>
                        <a:pt x="169" y="60"/>
                      </a:lnTo>
                      <a:lnTo>
                        <a:pt x="173" y="86"/>
                      </a:lnTo>
                      <a:lnTo>
                        <a:pt x="169" y="111"/>
                      </a:lnTo>
                      <a:lnTo>
                        <a:pt x="159" y="133"/>
                      </a:lnTo>
                      <a:lnTo>
                        <a:pt x="144" y="152"/>
                      </a:lnTo>
                      <a:lnTo>
                        <a:pt x="125" y="165"/>
                      </a:lnTo>
                      <a:lnTo>
                        <a:pt x="125" y="732"/>
                      </a:lnTo>
                      <a:lnTo>
                        <a:pt x="123" y="740"/>
                      </a:lnTo>
                      <a:lnTo>
                        <a:pt x="118" y="745"/>
                      </a:lnTo>
                      <a:lnTo>
                        <a:pt x="112" y="745"/>
                      </a:lnTo>
                      <a:lnTo>
                        <a:pt x="104" y="745"/>
                      </a:lnTo>
                      <a:lnTo>
                        <a:pt x="92" y="742"/>
                      </a:lnTo>
                      <a:lnTo>
                        <a:pt x="80" y="742"/>
                      </a:lnTo>
                      <a:lnTo>
                        <a:pt x="44" y="742"/>
                      </a:lnTo>
                      <a:lnTo>
                        <a:pt x="28" y="739"/>
                      </a:lnTo>
                      <a:lnTo>
                        <a:pt x="16" y="732"/>
                      </a:lnTo>
                      <a:lnTo>
                        <a:pt x="9" y="721"/>
                      </a:lnTo>
                      <a:lnTo>
                        <a:pt x="3" y="710"/>
                      </a:lnTo>
                      <a:lnTo>
                        <a:pt x="0" y="697"/>
                      </a:lnTo>
                      <a:lnTo>
                        <a:pt x="0" y="685"/>
                      </a:lnTo>
                      <a:lnTo>
                        <a:pt x="0" y="89"/>
                      </a:lnTo>
                      <a:lnTo>
                        <a:pt x="0" y="83"/>
                      </a:lnTo>
                      <a:lnTo>
                        <a:pt x="2" y="79"/>
                      </a:lnTo>
                      <a:lnTo>
                        <a:pt x="8" y="54"/>
                      </a:lnTo>
                      <a:lnTo>
                        <a:pt x="21" y="32"/>
                      </a:lnTo>
                      <a:lnTo>
                        <a:pt x="38" y="16"/>
                      </a:lnTo>
                      <a:lnTo>
                        <a:pt x="61" y="5"/>
                      </a:lnTo>
                      <a:lnTo>
                        <a:pt x="88" y="0"/>
                      </a:lnTo>
                      <a:close/>
                    </a:path>
                  </a:pathLst>
                </a:custGeom>
                <a:solidFill>
                  <a:srgbClr val="332F2C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42" name="Freeform 23"/>
                <p:cNvSpPr>
                  <a:spLocks/>
                </p:cNvSpPr>
                <p:nvPr/>
              </p:nvSpPr>
              <p:spPr bwMode="auto">
                <a:xfrm>
                  <a:off x="4649788" y="3578225"/>
                  <a:ext cx="274638" cy="1181100"/>
                </a:xfrm>
                <a:custGeom>
                  <a:avLst/>
                  <a:gdLst>
                    <a:gd name="T0" fmla="*/ 87 w 173"/>
                    <a:gd name="T1" fmla="*/ 0 h 744"/>
                    <a:gd name="T2" fmla="*/ 114 w 173"/>
                    <a:gd name="T3" fmla="*/ 4 h 744"/>
                    <a:gd name="T4" fmla="*/ 138 w 173"/>
                    <a:gd name="T5" fmla="*/ 17 h 744"/>
                    <a:gd name="T6" fmla="*/ 156 w 173"/>
                    <a:gd name="T7" fmla="*/ 35 h 744"/>
                    <a:gd name="T8" fmla="*/ 169 w 173"/>
                    <a:gd name="T9" fmla="*/ 59 h 744"/>
                    <a:gd name="T10" fmla="*/ 173 w 173"/>
                    <a:gd name="T11" fmla="*/ 85 h 744"/>
                    <a:gd name="T12" fmla="*/ 169 w 173"/>
                    <a:gd name="T13" fmla="*/ 110 h 744"/>
                    <a:gd name="T14" fmla="*/ 160 w 173"/>
                    <a:gd name="T15" fmla="*/ 132 h 744"/>
                    <a:gd name="T16" fmla="*/ 144 w 173"/>
                    <a:gd name="T17" fmla="*/ 149 h 744"/>
                    <a:gd name="T18" fmla="*/ 125 w 173"/>
                    <a:gd name="T19" fmla="*/ 162 h 744"/>
                    <a:gd name="T20" fmla="*/ 125 w 173"/>
                    <a:gd name="T21" fmla="*/ 731 h 744"/>
                    <a:gd name="T22" fmla="*/ 124 w 173"/>
                    <a:gd name="T23" fmla="*/ 740 h 744"/>
                    <a:gd name="T24" fmla="*/ 118 w 173"/>
                    <a:gd name="T25" fmla="*/ 744 h 744"/>
                    <a:gd name="T26" fmla="*/ 112 w 173"/>
                    <a:gd name="T27" fmla="*/ 744 h 744"/>
                    <a:gd name="T28" fmla="*/ 103 w 173"/>
                    <a:gd name="T29" fmla="*/ 742 h 744"/>
                    <a:gd name="T30" fmla="*/ 92 w 173"/>
                    <a:gd name="T31" fmla="*/ 741 h 744"/>
                    <a:gd name="T32" fmla="*/ 80 w 173"/>
                    <a:gd name="T33" fmla="*/ 741 h 744"/>
                    <a:gd name="T34" fmla="*/ 44 w 173"/>
                    <a:gd name="T35" fmla="*/ 741 h 744"/>
                    <a:gd name="T36" fmla="*/ 28 w 173"/>
                    <a:gd name="T37" fmla="*/ 738 h 744"/>
                    <a:gd name="T38" fmla="*/ 18 w 173"/>
                    <a:gd name="T39" fmla="*/ 731 h 744"/>
                    <a:gd name="T40" fmla="*/ 9 w 173"/>
                    <a:gd name="T41" fmla="*/ 721 h 744"/>
                    <a:gd name="T42" fmla="*/ 3 w 173"/>
                    <a:gd name="T43" fmla="*/ 709 h 744"/>
                    <a:gd name="T44" fmla="*/ 0 w 173"/>
                    <a:gd name="T45" fmla="*/ 696 h 744"/>
                    <a:gd name="T46" fmla="*/ 0 w 173"/>
                    <a:gd name="T47" fmla="*/ 684 h 744"/>
                    <a:gd name="T48" fmla="*/ 0 w 173"/>
                    <a:gd name="T49" fmla="*/ 88 h 744"/>
                    <a:gd name="T50" fmla="*/ 0 w 173"/>
                    <a:gd name="T51" fmla="*/ 82 h 744"/>
                    <a:gd name="T52" fmla="*/ 2 w 173"/>
                    <a:gd name="T53" fmla="*/ 77 h 744"/>
                    <a:gd name="T54" fmla="*/ 7 w 173"/>
                    <a:gd name="T55" fmla="*/ 52 h 744"/>
                    <a:gd name="T56" fmla="*/ 21 w 173"/>
                    <a:gd name="T57" fmla="*/ 32 h 744"/>
                    <a:gd name="T58" fmla="*/ 38 w 173"/>
                    <a:gd name="T59" fmla="*/ 14 h 744"/>
                    <a:gd name="T60" fmla="*/ 61 w 173"/>
                    <a:gd name="T61" fmla="*/ 4 h 744"/>
                    <a:gd name="T62" fmla="*/ 87 w 173"/>
                    <a:gd name="T63" fmla="*/ 0 h 7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173" h="744">
                      <a:moveTo>
                        <a:pt x="87" y="0"/>
                      </a:moveTo>
                      <a:lnTo>
                        <a:pt x="114" y="4"/>
                      </a:lnTo>
                      <a:lnTo>
                        <a:pt x="138" y="17"/>
                      </a:lnTo>
                      <a:lnTo>
                        <a:pt x="156" y="35"/>
                      </a:lnTo>
                      <a:lnTo>
                        <a:pt x="169" y="59"/>
                      </a:lnTo>
                      <a:lnTo>
                        <a:pt x="173" y="85"/>
                      </a:lnTo>
                      <a:lnTo>
                        <a:pt x="169" y="110"/>
                      </a:lnTo>
                      <a:lnTo>
                        <a:pt x="160" y="132"/>
                      </a:lnTo>
                      <a:lnTo>
                        <a:pt x="144" y="149"/>
                      </a:lnTo>
                      <a:lnTo>
                        <a:pt x="125" y="162"/>
                      </a:lnTo>
                      <a:lnTo>
                        <a:pt x="125" y="731"/>
                      </a:lnTo>
                      <a:lnTo>
                        <a:pt x="124" y="740"/>
                      </a:lnTo>
                      <a:lnTo>
                        <a:pt x="118" y="744"/>
                      </a:lnTo>
                      <a:lnTo>
                        <a:pt x="112" y="744"/>
                      </a:lnTo>
                      <a:lnTo>
                        <a:pt x="103" y="742"/>
                      </a:lnTo>
                      <a:lnTo>
                        <a:pt x="92" y="741"/>
                      </a:lnTo>
                      <a:lnTo>
                        <a:pt x="80" y="741"/>
                      </a:lnTo>
                      <a:lnTo>
                        <a:pt x="44" y="741"/>
                      </a:lnTo>
                      <a:lnTo>
                        <a:pt x="28" y="738"/>
                      </a:lnTo>
                      <a:lnTo>
                        <a:pt x="18" y="731"/>
                      </a:lnTo>
                      <a:lnTo>
                        <a:pt x="9" y="721"/>
                      </a:lnTo>
                      <a:lnTo>
                        <a:pt x="3" y="709"/>
                      </a:lnTo>
                      <a:lnTo>
                        <a:pt x="0" y="696"/>
                      </a:lnTo>
                      <a:lnTo>
                        <a:pt x="0" y="684"/>
                      </a:lnTo>
                      <a:lnTo>
                        <a:pt x="0" y="88"/>
                      </a:lnTo>
                      <a:lnTo>
                        <a:pt x="0" y="82"/>
                      </a:lnTo>
                      <a:lnTo>
                        <a:pt x="2" y="77"/>
                      </a:lnTo>
                      <a:lnTo>
                        <a:pt x="7" y="52"/>
                      </a:lnTo>
                      <a:lnTo>
                        <a:pt x="21" y="32"/>
                      </a:lnTo>
                      <a:lnTo>
                        <a:pt x="38" y="14"/>
                      </a:lnTo>
                      <a:lnTo>
                        <a:pt x="61" y="4"/>
                      </a:lnTo>
                      <a:lnTo>
                        <a:pt x="87" y="0"/>
                      </a:lnTo>
                      <a:close/>
                    </a:path>
                  </a:pathLst>
                </a:custGeom>
                <a:solidFill>
                  <a:srgbClr val="332F2C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43" name="Rectangle 24"/>
                <p:cNvSpPr>
                  <a:spLocks noChangeArrowheads="1"/>
                </p:cNvSpPr>
                <p:nvPr/>
              </p:nvSpPr>
              <p:spPr bwMode="auto">
                <a:xfrm>
                  <a:off x="3379788" y="3535363"/>
                  <a:ext cx="665163" cy="1174750"/>
                </a:xfrm>
                <a:prstGeom prst="rect">
                  <a:avLst/>
                </a:prstGeom>
                <a:solidFill>
                  <a:srgbClr val="332F2C"/>
                </a:soli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44" name="Freeform 25"/>
                <p:cNvSpPr>
                  <a:spLocks/>
                </p:cNvSpPr>
                <p:nvPr/>
              </p:nvSpPr>
              <p:spPr bwMode="auto">
                <a:xfrm>
                  <a:off x="4044951" y="3656013"/>
                  <a:ext cx="147638" cy="1057275"/>
                </a:xfrm>
                <a:custGeom>
                  <a:avLst/>
                  <a:gdLst>
                    <a:gd name="T0" fmla="*/ 0 w 93"/>
                    <a:gd name="T1" fmla="*/ 0 h 666"/>
                    <a:gd name="T2" fmla="*/ 22 w 93"/>
                    <a:gd name="T3" fmla="*/ 15 h 666"/>
                    <a:gd name="T4" fmla="*/ 45 w 93"/>
                    <a:gd name="T5" fmla="*/ 33 h 666"/>
                    <a:gd name="T6" fmla="*/ 61 w 93"/>
                    <a:gd name="T7" fmla="*/ 55 h 666"/>
                    <a:gd name="T8" fmla="*/ 71 w 93"/>
                    <a:gd name="T9" fmla="*/ 79 h 666"/>
                    <a:gd name="T10" fmla="*/ 79 w 93"/>
                    <a:gd name="T11" fmla="*/ 103 h 666"/>
                    <a:gd name="T12" fmla="*/ 83 w 93"/>
                    <a:gd name="T13" fmla="*/ 129 h 666"/>
                    <a:gd name="T14" fmla="*/ 86 w 93"/>
                    <a:gd name="T15" fmla="*/ 157 h 666"/>
                    <a:gd name="T16" fmla="*/ 89 w 93"/>
                    <a:gd name="T17" fmla="*/ 185 h 666"/>
                    <a:gd name="T18" fmla="*/ 93 w 93"/>
                    <a:gd name="T19" fmla="*/ 212 h 666"/>
                    <a:gd name="T20" fmla="*/ 93 w 93"/>
                    <a:gd name="T21" fmla="*/ 593 h 666"/>
                    <a:gd name="T22" fmla="*/ 93 w 93"/>
                    <a:gd name="T23" fmla="*/ 605 h 666"/>
                    <a:gd name="T24" fmla="*/ 92 w 93"/>
                    <a:gd name="T25" fmla="*/ 618 h 666"/>
                    <a:gd name="T26" fmla="*/ 89 w 93"/>
                    <a:gd name="T27" fmla="*/ 631 h 666"/>
                    <a:gd name="T28" fmla="*/ 84 w 93"/>
                    <a:gd name="T29" fmla="*/ 644 h 666"/>
                    <a:gd name="T30" fmla="*/ 77 w 93"/>
                    <a:gd name="T31" fmla="*/ 656 h 666"/>
                    <a:gd name="T32" fmla="*/ 66 w 93"/>
                    <a:gd name="T33" fmla="*/ 663 h 666"/>
                    <a:gd name="T34" fmla="*/ 52 w 93"/>
                    <a:gd name="T35" fmla="*/ 666 h 666"/>
                    <a:gd name="T36" fmla="*/ 50 w 93"/>
                    <a:gd name="T37" fmla="*/ 666 h 666"/>
                    <a:gd name="T38" fmla="*/ 19 w 93"/>
                    <a:gd name="T39" fmla="*/ 666 h 666"/>
                    <a:gd name="T40" fmla="*/ 22 w 93"/>
                    <a:gd name="T41" fmla="*/ 659 h 666"/>
                    <a:gd name="T42" fmla="*/ 23 w 93"/>
                    <a:gd name="T43" fmla="*/ 651 h 666"/>
                    <a:gd name="T44" fmla="*/ 25 w 93"/>
                    <a:gd name="T45" fmla="*/ 643 h 666"/>
                    <a:gd name="T46" fmla="*/ 22 w 93"/>
                    <a:gd name="T47" fmla="*/ 627 h 666"/>
                    <a:gd name="T48" fmla="*/ 15 w 93"/>
                    <a:gd name="T49" fmla="*/ 614 h 666"/>
                    <a:gd name="T50" fmla="*/ 3 w 93"/>
                    <a:gd name="T51" fmla="*/ 603 h 666"/>
                    <a:gd name="T52" fmla="*/ 6 w 93"/>
                    <a:gd name="T53" fmla="*/ 579 h 666"/>
                    <a:gd name="T54" fmla="*/ 4 w 93"/>
                    <a:gd name="T55" fmla="*/ 560 h 666"/>
                    <a:gd name="T56" fmla="*/ 0 w 93"/>
                    <a:gd name="T57" fmla="*/ 544 h 666"/>
                    <a:gd name="T58" fmla="*/ 0 w 93"/>
                    <a:gd name="T59" fmla="*/ 426 h 666"/>
                    <a:gd name="T60" fmla="*/ 13 w 93"/>
                    <a:gd name="T61" fmla="*/ 411 h 666"/>
                    <a:gd name="T62" fmla="*/ 23 w 93"/>
                    <a:gd name="T63" fmla="*/ 400 h 666"/>
                    <a:gd name="T64" fmla="*/ 67 w 93"/>
                    <a:gd name="T65" fmla="*/ 400 h 666"/>
                    <a:gd name="T66" fmla="*/ 73 w 93"/>
                    <a:gd name="T67" fmla="*/ 398 h 666"/>
                    <a:gd name="T68" fmla="*/ 79 w 93"/>
                    <a:gd name="T69" fmla="*/ 397 h 666"/>
                    <a:gd name="T70" fmla="*/ 83 w 93"/>
                    <a:gd name="T71" fmla="*/ 393 h 666"/>
                    <a:gd name="T72" fmla="*/ 87 w 93"/>
                    <a:gd name="T73" fmla="*/ 388 h 666"/>
                    <a:gd name="T74" fmla="*/ 89 w 93"/>
                    <a:gd name="T75" fmla="*/ 382 h 666"/>
                    <a:gd name="T76" fmla="*/ 90 w 93"/>
                    <a:gd name="T77" fmla="*/ 377 h 666"/>
                    <a:gd name="T78" fmla="*/ 89 w 93"/>
                    <a:gd name="T79" fmla="*/ 378 h 666"/>
                    <a:gd name="T80" fmla="*/ 87 w 93"/>
                    <a:gd name="T81" fmla="*/ 379 h 666"/>
                    <a:gd name="T82" fmla="*/ 83 w 93"/>
                    <a:gd name="T83" fmla="*/ 381 h 666"/>
                    <a:gd name="T84" fmla="*/ 79 w 93"/>
                    <a:gd name="T85" fmla="*/ 382 h 666"/>
                    <a:gd name="T86" fmla="*/ 73 w 93"/>
                    <a:gd name="T87" fmla="*/ 384 h 666"/>
                    <a:gd name="T88" fmla="*/ 67 w 93"/>
                    <a:gd name="T89" fmla="*/ 384 h 666"/>
                    <a:gd name="T90" fmla="*/ 36 w 93"/>
                    <a:gd name="T91" fmla="*/ 384 h 666"/>
                    <a:gd name="T92" fmla="*/ 36 w 93"/>
                    <a:gd name="T93" fmla="*/ 384 h 666"/>
                    <a:gd name="T94" fmla="*/ 44 w 93"/>
                    <a:gd name="T95" fmla="*/ 372 h 666"/>
                    <a:gd name="T96" fmla="*/ 50 w 93"/>
                    <a:gd name="T97" fmla="*/ 358 h 666"/>
                    <a:gd name="T98" fmla="*/ 54 w 93"/>
                    <a:gd name="T99" fmla="*/ 340 h 666"/>
                    <a:gd name="T100" fmla="*/ 57 w 93"/>
                    <a:gd name="T101" fmla="*/ 323 h 666"/>
                    <a:gd name="T102" fmla="*/ 57 w 93"/>
                    <a:gd name="T103" fmla="*/ 305 h 666"/>
                    <a:gd name="T104" fmla="*/ 54 w 93"/>
                    <a:gd name="T105" fmla="*/ 291 h 666"/>
                    <a:gd name="T106" fmla="*/ 47 w 93"/>
                    <a:gd name="T107" fmla="*/ 281 h 666"/>
                    <a:gd name="T108" fmla="*/ 34 w 93"/>
                    <a:gd name="T109" fmla="*/ 275 h 666"/>
                    <a:gd name="T110" fmla="*/ 18 w 93"/>
                    <a:gd name="T111" fmla="*/ 270 h 666"/>
                    <a:gd name="T112" fmla="*/ 0 w 93"/>
                    <a:gd name="T113" fmla="*/ 269 h 666"/>
                    <a:gd name="T114" fmla="*/ 0 w 93"/>
                    <a:gd name="T115" fmla="*/ 0 h 6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93" h="666">
                      <a:moveTo>
                        <a:pt x="0" y="0"/>
                      </a:moveTo>
                      <a:lnTo>
                        <a:pt x="22" y="15"/>
                      </a:lnTo>
                      <a:lnTo>
                        <a:pt x="45" y="33"/>
                      </a:lnTo>
                      <a:lnTo>
                        <a:pt x="61" y="55"/>
                      </a:lnTo>
                      <a:lnTo>
                        <a:pt x="71" y="79"/>
                      </a:lnTo>
                      <a:lnTo>
                        <a:pt x="79" y="103"/>
                      </a:lnTo>
                      <a:lnTo>
                        <a:pt x="83" y="129"/>
                      </a:lnTo>
                      <a:lnTo>
                        <a:pt x="86" y="157"/>
                      </a:lnTo>
                      <a:lnTo>
                        <a:pt x="89" y="185"/>
                      </a:lnTo>
                      <a:lnTo>
                        <a:pt x="93" y="212"/>
                      </a:lnTo>
                      <a:lnTo>
                        <a:pt x="93" y="593"/>
                      </a:lnTo>
                      <a:lnTo>
                        <a:pt x="93" y="605"/>
                      </a:lnTo>
                      <a:lnTo>
                        <a:pt x="92" y="618"/>
                      </a:lnTo>
                      <a:lnTo>
                        <a:pt x="89" y="631"/>
                      </a:lnTo>
                      <a:lnTo>
                        <a:pt x="84" y="644"/>
                      </a:lnTo>
                      <a:lnTo>
                        <a:pt x="77" y="656"/>
                      </a:lnTo>
                      <a:lnTo>
                        <a:pt x="66" y="663"/>
                      </a:lnTo>
                      <a:lnTo>
                        <a:pt x="52" y="666"/>
                      </a:lnTo>
                      <a:lnTo>
                        <a:pt x="50" y="666"/>
                      </a:lnTo>
                      <a:lnTo>
                        <a:pt x="19" y="666"/>
                      </a:lnTo>
                      <a:lnTo>
                        <a:pt x="22" y="659"/>
                      </a:lnTo>
                      <a:lnTo>
                        <a:pt x="23" y="651"/>
                      </a:lnTo>
                      <a:lnTo>
                        <a:pt x="25" y="643"/>
                      </a:lnTo>
                      <a:lnTo>
                        <a:pt x="22" y="627"/>
                      </a:lnTo>
                      <a:lnTo>
                        <a:pt x="15" y="614"/>
                      </a:lnTo>
                      <a:lnTo>
                        <a:pt x="3" y="603"/>
                      </a:lnTo>
                      <a:lnTo>
                        <a:pt x="6" y="579"/>
                      </a:lnTo>
                      <a:lnTo>
                        <a:pt x="4" y="560"/>
                      </a:lnTo>
                      <a:lnTo>
                        <a:pt x="0" y="544"/>
                      </a:lnTo>
                      <a:lnTo>
                        <a:pt x="0" y="426"/>
                      </a:lnTo>
                      <a:lnTo>
                        <a:pt x="13" y="411"/>
                      </a:lnTo>
                      <a:lnTo>
                        <a:pt x="23" y="400"/>
                      </a:lnTo>
                      <a:lnTo>
                        <a:pt x="67" y="400"/>
                      </a:lnTo>
                      <a:lnTo>
                        <a:pt x="73" y="398"/>
                      </a:lnTo>
                      <a:lnTo>
                        <a:pt x="79" y="397"/>
                      </a:lnTo>
                      <a:lnTo>
                        <a:pt x="83" y="393"/>
                      </a:lnTo>
                      <a:lnTo>
                        <a:pt x="87" y="388"/>
                      </a:lnTo>
                      <a:lnTo>
                        <a:pt x="89" y="382"/>
                      </a:lnTo>
                      <a:lnTo>
                        <a:pt x="90" y="377"/>
                      </a:lnTo>
                      <a:lnTo>
                        <a:pt x="89" y="378"/>
                      </a:lnTo>
                      <a:lnTo>
                        <a:pt x="87" y="379"/>
                      </a:lnTo>
                      <a:lnTo>
                        <a:pt x="83" y="381"/>
                      </a:lnTo>
                      <a:lnTo>
                        <a:pt x="79" y="382"/>
                      </a:lnTo>
                      <a:lnTo>
                        <a:pt x="73" y="384"/>
                      </a:lnTo>
                      <a:lnTo>
                        <a:pt x="67" y="384"/>
                      </a:lnTo>
                      <a:lnTo>
                        <a:pt x="36" y="384"/>
                      </a:lnTo>
                      <a:lnTo>
                        <a:pt x="36" y="384"/>
                      </a:lnTo>
                      <a:lnTo>
                        <a:pt x="44" y="372"/>
                      </a:lnTo>
                      <a:lnTo>
                        <a:pt x="50" y="358"/>
                      </a:lnTo>
                      <a:lnTo>
                        <a:pt x="54" y="340"/>
                      </a:lnTo>
                      <a:lnTo>
                        <a:pt x="57" y="323"/>
                      </a:lnTo>
                      <a:lnTo>
                        <a:pt x="57" y="305"/>
                      </a:lnTo>
                      <a:lnTo>
                        <a:pt x="54" y="291"/>
                      </a:lnTo>
                      <a:lnTo>
                        <a:pt x="47" y="281"/>
                      </a:lnTo>
                      <a:lnTo>
                        <a:pt x="34" y="275"/>
                      </a:lnTo>
                      <a:lnTo>
                        <a:pt x="18" y="270"/>
                      </a:lnTo>
                      <a:lnTo>
                        <a:pt x="0" y="26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7050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45" name="Freeform 26"/>
                <p:cNvSpPr>
                  <a:spLocks noEditPoints="1"/>
                </p:cNvSpPr>
                <p:nvPr/>
              </p:nvSpPr>
              <p:spPr bwMode="auto">
                <a:xfrm>
                  <a:off x="3379788" y="3535363"/>
                  <a:ext cx="665163" cy="1065213"/>
                </a:xfrm>
                <a:custGeom>
                  <a:avLst/>
                  <a:gdLst>
                    <a:gd name="T0" fmla="*/ 274 w 419"/>
                    <a:gd name="T1" fmla="*/ 668 h 671"/>
                    <a:gd name="T2" fmla="*/ 162 w 419"/>
                    <a:gd name="T3" fmla="*/ 663 h 671"/>
                    <a:gd name="T4" fmla="*/ 6 w 419"/>
                    <a:gd name="T5" fmla="*/ 506 h 671"/>
                    <a:gd name="T6" fmla="*/ 38 w 419"/>
                    <a:gd name="T7" fmla="*/ 509 h 671"/>
                    <a:gd name="T8" fmla="*/ 77 w 419"/>
                    <a:gd name="T9" fmla="*/ 519 h 671"/>
                    <a:gd name="T10" fmla="*/ 35 w 419"/>
                    <a:gd name="T11" fmla="*/ 546 h 671"/>
                    <a:gd name="T12" fmla="*/ 26 w 419"/>
                    <a:gd name="T13" fmla="*/ 588 h 671"/>
                    <a:gd name="T14" fmla="*/ 3 w 419"/>
                    <a:gd name="T15" fmla="*/ 618 h 671"/>
                    <a:gd name="T16" fmla="*/ 419 w 419"/>
                    <a:gd name="T17" fmla="*/ 502 h 671"/>
                    <a:gd name="T18" fmla="*/ 400 w 419"/>
                    <a:gd name="T19" fmla="*/ 598 h 671"/>
                    <a:gd name="T20" fmla="*/ 364 w 419"/>
                    <a:gd name="T21" fmla="*/ 564 h 671"/>
                    <a:gd name="T22" fmla="*/ 57 w 419"/>
                    <a:gd name="T23" fmla="*/ 296 h 671"/>
                    <a:gd name="T24" fmla="*/ 61 w 419"/>
                    <a:gd name="T25" fmla="*/ 406 h 671"/>
                    <a:gd name="T26" fmla="*/ 45 w 419"/>
                    <a:gd name="T27" fmla="*/ 371 h 671"/>
                    <a:gd name="T28" fmla="*/ 51 w 419"/>
                    <a:gd name="T29" fmla="*/ 345 h 671"/>
                    <a:gd name="T30" fmla="*/ 77 w 419"/>
                    <a:gd name="T31" fmla="*/ 70 h 671"/>
                    <a:gd name="T32" fmla="*/ 119 w 419"/>
                    <a:gd name="T33" fmla="*/ 96 h 671"/>
                    <a:gd name="T34" fmla="*/ 189 w 419"/>
                    <a:gd name="T35" fmla="*/ 114 h 671"/>
                    <a:gd name="T36" fmla="*/ 211 w 419"/>
                    <a:gd name="T37" fmla="*/ 123 h 671"/>
                    <a:gd name="T38" fmla="*/ 159 w 419"/>
                    <a:gd name="T39" fmla="*/ 168 h 671"/>
                    <a:gd name="T40" fmla="*/ 90 w 419"/>
                    <a:gd name="T41" fmla="*/ 172 h 671"/>
                    <a:gd name="T42" fmla="*/ 73 w 419"/>
                    <a:gd name="T43" fmla="*/ 140 h 671"/>
                    <a:gd name="T44" fmla="*/ 54 w 419"/>
                    <a:gd name="T45" fmla="*/ 123 h 671"/>
                    <a:gd name="T46" fmla="*/ 19 w 419"/>
                    <a:gd name="T47" fmla="*/ 133 h 671"/>
                    <a:gd name="T48" fmla="*/ 5 w 419"/>
                    <a:gd name="T49" fmla="*/ 152 h 671"/>
                    <a:gd name="T50" fmla="*/ 2 w 419"/>
                    <a:gd name="T51" fmla="*/ 114 h 671"/>
                    <a:gd name="T52" fmla="*/ 77 w 419"/>
                    <a:gd name="T53" fmla="*/ 70 h 671"/>
                    <a:gd name="T54" fmla="*/ 316 w 419"/>
                    <a:gd name="T55" fmla="*/ 16 h 671"/>
                    <a:gd name="T56" fmla="*/ 387 w 419"/>
                    <a:gd name="T57" fmla="*/ 54 h 671"/>
                    <a:gd name="T58" fmla="*/ 419 w 419"/>
                    <a:gd name="T59" fmla="*/ 345 h 671"/>
                    <a:gd name="T60" fmla="*/ 390 w 419"/>
                    <a:gd name="T61" fmla="*/ 354 h 671"/>
                    <a:gd name="T62" fmla="*/ 384 w 419"/>
                    <a:gd name="T63" fmla="*/ 319 h 671"/>
                    <a:gd name="T64" fmla="*/ 386 w 419"/>
                    <a:gd name="T65" fmla="*/ 271 h 671"/>
                    <a:gd name="T66" fmla="*/ 374 w 419"/>
                    <a:gd name="T67" fmla="*/ 297 h 671"/>
                    <a:gd name="T68" fmla="*/ 365 w 419"/>
                    <a:gd name="T69" fmla="*/ 323 h 671"/>
                    <a:gd name="T70" fmla="*/ 380 w 419"/>
                    <a:gd name="T71" fmla="*/ 397 h 671"/>
                    <a:gd name="T72" fmla="*/ 373 w 419"/>
                    <a:gd name="T73" fmla="*/ 409 h 671"/>
                    <a:gd name="T74" fmla="*/ 348 w 419"/>
                    <a:gd name="T75" fmla="*/ 455 h 671"/>
                    <a:gd name="T76" fmla="*/ 349 w 419"/>
                    <a:gd name="T77" fmla="*/ 378 h 671"/>
                    <a:gd name="T78" fmla="*/ 355 w 419"/>
                    <a:gd name="T79" fmla="*/ 354 h 671"/>
                    <a:gd name="T80" fmla="*/ 397 w 419"/>
                    <a:gd name="T81" fmla="*/ 200 h 671"/>
                    <a:gd name="T82" fmla="*/ 358 w 419"/>
                    <a:gd name="T83" fmla="*/ 179 h 671"/>
                    <a:gd name="T84" fmla="*/ 294 w 419"/>
                    <a:gd name="T85" fmla="*/ 171 h 671"/>
                    <a:gd name="T86" fmla="*/ 218 w 419"/>
                    <a:gd name="T87" fmla="*/ 153 h 671"/>
                    <a:gd name="T88" fmla="*/ 246 w 419"/>
                    <a:gd name="T89" fmla="*/ 124 h 671"/>
                    <a:gd name="T90" fmla="*/ 301 w 419"/>
                    <a:gd name="T91" fmla="*/ 99 h 671"/>
                    <a:gd name="T92" fmla="*/ 332 w 419"/>
                    <a:gd name="T93" fmla="*/ 78 h 671"/>
                    <a:gd name="T94" fmla="*/ 336 w 419"/>
                    <a:gd name="T95" fmla="*/ 64 h 671"/>
                    <a:gd name="T96" fmla="*/ 323 w 419"/>
                    <a:gd name="T97" fmla="*/ 44 h 671"/>
                    <a:gd name="T98" fmla="*/ 258 w 419"/>
                    <a:gd name="T99" fmla="*/ 25 h 671"/>
                    <a:gd name="T100" fmla="*/ 269 w 419"/>
                    <a:gd name="T101" fmla="*/ 0 h 6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419" h="671">
                      <a:moveTo>
                        <a:pt x="199" y="656"/>
                      </a:moveTo>
                      <a:lnTo>
                        <a:pt x="269" y="663"/>
                      </a:lnTo>
                      <a:lnTo>
                        <a:pt x="274" y="668"/>
                      </a:lnTo>
                      <a:lnTo>
                        <a:pt x="278" y="671"/>
                      </a:lnTo>
                      <a:lnTo>
                        <a:pt x="156" y="671"/>
                      </a:lnTo>
                      <a:lnTo>
                        <a:pt x="162" y="663"/>
                      </a:lnTo>
                      <a:lnTo>
                        <a:pt x="199" y="656"/>
                      </a:lnTo>
                      <a:close/>
                      <a:moveTo>
                        <a:pt x="0" y="503"/>
                      </a:moveTo>
                      <a:lnTo>
                        <a:pt x="6" y="506"/>
                      </a:lnTo>
                      <a:lnTo>
                        <a:pt x="12" y="506"/>
                      </a:lnTo>
                      <a:lnTo>
                        <a:pt x="22" y="508"/>
                      </a:lnTo>
                      <a:lnTo>
                        <a:pt x="38" y="509"/>
                      </a:lnTo>
                      <a:lnTo>
                        <a:pt x="57" y="512"/>
                      </a:lnTo>
                      <a:lnTo>
                        <a:pt x="80" y="514"/>
                      </a:lnTo>
                      <a:lnTo>
                        <a:pt x="77" y="519"/>
                      </a:lnTo>
                      <a:lnTo>
                        <a:pt x="71" y="519"/>
                      </a:lnTo>
                      <a:lnTo>
                        <a:pt x="71" y="544"/>
                      </a:lnTo>
                      <a:lnTo>
                        <a:pt x="35" y="546"/>
                      </a:lnTo>
                      <a:lnTo>
                        <a:pt x="39" y="582"/>
                      </a:lnTo>
                      <a:lnTo>
                        <a:pt x="32" y="585"/>
                      </a:lnTo>
                      <a:lnTo>
                        <a:pt x="26" y="588"/>
                      </a:lnTo>
                      <a:lnTo>
                        <a:pt x="15" y="598"/>
                      </a:lnTo>
                      <a:lnTo>
                        <a:pt x="6" y="611"/>
                      </a:lnTo>
                      <a:lnTo>
                        <a:pt x="3" y="618"/>
                      </a:lnTo>
                      <a:lnTo>
                        <a:pt x="0" y="624"/>
                      </a:lnTo>
                      <a:lnTo>
                        <a:pt x="0" y="503"/>
                      </a:lnTo>
                      <a:close/>
                      <a:moveTo>
                        <a:pt x="419" y="502"/>
                      </a:moveTo>
                      <a:lnTo>
                        <a:pt x="419" y="620"/>
                      </a:lnTo>
                      <a:lnTo>
                        <a:pt x="412" y="608"/>
                      </a:lnTo>
                      <a:lnTo>
                        <a:pt x="400" y="598"/>
                      </a:lnTo>
                      <a:lnTo>
                        <a:pt x="384" y="591"/>
                      </a:lnTo>
                      <a:lnTo>
                        <a:pt x="364" y="582"/>
                      </a:lnTo>
                      <a:lnTo>
                        <a:pt x="364" y="564"/>
                      </a:lnTo>
                      <a:lnTo>
                        <a:pt x="391" y="534"/>
                      </a:lnTo>
                      <a:lnTo>
                        <a:pt x="419" y="502"/>
                      </a:lnTo>
                      <a:close/>
                      <a:moveTo>
                        <a:pt x="57" y="296"/>
                      </a:moveTo>
                      <a:lnTo>
                        <a:pt x="70" y="358"/>
                      </a:lnTo>
                      <a:lnTo>
                        <a:pt x="77" y="410"/>
                      </a:lnTo>
                      <a:lnTo>
                        <a:pt x="61" y="406"/>
                      </a:lnTo>
                      <a:lnTo>
                        <a:pt x="51" y="389"/>
                      </a:lnTo>
                      <a:lnTo>
                        <a:pt x="45" y="376"/>
                      </a:lnTo>
                      <a:lnTo>
                        <a:pt x="45" y="371"/>
                      </a:lnTo>
                      <a:lnTo>
                        <a:pt x="45" y="368"/>
                      </a:lnTo>
                      <a:lnTo>
                        <a:pt x="44" y="367"/>
                      </a:lnTo>
                      <a:lnTo>
                        <a:pt x="51" y="345"/>
                      </a:lnTo>
                      <a:lnTo>
                        <a:pt x="54" y="320"/>
                      </a:lnTo>
                      <a:lnTo>
                        <a:pt x="57" y="296"/>
                      </a:lnTo>
                      <a:close/>
                      <a:moveTo>
                        <a:pt x="77" y="70"/>
                      </a:moveTo>
                      <a:lnTo>
                        <a:pt x="85" y="80"/>
                      </a:lnTo>
                      <a:lnTo>
                        <a:pt x="99" y="89"/>
                      </a:lnTo>
                      <a:lnTo>
                        <a:pt x="119" y="96"/>
                      </a:lnTo>
                      <a:lnTo>
                        <a:pt x="146" y="102"/>
                      </a:lnTo>
                      <a:lnTo>
                        <a:pt x="175" y="105"/>
                      </a:lnTo>
                      <a:lnTo>
                        <a:pt x="189" y="114"/>
                      </a:lnTo>
                      <a:lnTo>
                        <a:pt x="207" y="117"/>
                      </a:lnTo>
                      <a:lnTo>
                        <a:pt x="211" y="117"/>
                      </a:lnTo>
                      <a:lnTo>
                        <a:pt x="211" y="123"/>
                      </a:lnTo>
                      <a:lnTo>
                        <a:pt x="211" y="130"/>
                      </a:lnTo>
                      <a:lnTo>
                        <a:pt x="213" y="169"/>
                      </a:lnTo>
                      <a:lnTo>
                        <a:pt x="159" y="168"/>
                      </a:lnTo>
                      <a:lnTo>
                        <a:pt x="149" y="168"/>
                      </a:lnTo>
                      <a:lnTo>
                        <a:pt x="118" y="168"/>
                      </a:lnTo>
                      <a:lnTo>
                        <a:pt x="90" y="172"/>
                      </a:lnTo>
                      <a:lnTo>
                        <a:pt x="66" y="179"/>
                      </a:lnTo>
                      <a:lnTo>
                        <a:pt x="71" y="157"/>
                      </a:lnTo>
                      <a:lnTo>
                        <a:pt x="73" y="140"/>
                      </a:lnTo>
                      <a:lnTo>
                        <a:pt x="70" y="124"/>
                      </a:lnTo>
                      <a:lnTo>
                        <a:pt x="63" y="111"/>
                      </a:lnTo>
                      <a:lnTo>
                        <a:pt x="54" y="123"/>
                      </a:lnTo>
                      <a:lnTo>
                        <a:pt x="42" y="130"/>
                      </a:lnTo>
                      <a:lnTo>
                        <a:pt x="26" y="133"/>
                      </a:lnTo>
                      <a:lnTo>
                        <a:pt x="19" y="133"/>
                      </a:lnTo>
                      <a:lnTo>
                        <a:pt x="13" y="130"/>
                      </a:lnTo>
                      <a:lnTo>
                        <a:pt x="7" y="125"/>
                      </a:lnTo>
                      <a:lnTo>
                        <a:pt x="5" y="152"/>
                      </a:lnTo>
                      <a:lnTo>
                        <a:pt x="0" y="152"/>
                      </a:lnTo>
                      <a:lnTo>
                        <a:pt x="0" y="118"/>
                      </a:lnTo>
                      <a:lnTo>
                        <a:pt x="2" y="114"/>
                      </a:lnTo>
                      <a:lnTo>
                        <a:pt x="26" y="98"/>
                      </a:lnTo>
                      <a:lnTo>
                        <a:pt x="54" y="82"/>
                      </a:lnTo>
                      <a:lnTo>
                        <a:pt x="77" y="70"/>
                      </a:lnTo>
                      <a:close/>
                      <a:moveTo>
                        <a:pt x="269" y="0"/>
                      </a:moveTo>
                      <a:lnTo>
                        <a:pt x="303" y="0"/>
                      </a:lnTo>
                      <a:lnTo>
                        <a:pt x="316" y="16"/>
                      </a:lnTo>
                      <a:lnTo>
                        <a:pt x="332" y="30"/>
                      </a:lnTo>
                      <a:lnTo>
                        <a:pt x="352" y="38"/>
                      </a:lnTo>
                      <a:lnTo>
                        <a:pt x="387" y="54"/>
                      </a:lnTo>
                      <a:lnTo>
                        <a:pt x="419" y="76"/>
                      </a:lnTo>
                      <a:lnTo>
                        <a:pt x="419" y="345"/>
                      </a:lnTo>
                      <a:lnTo>
                        <a:pt x="419" y="345"/>
                      </a:lnTo>
                      <a:lnTo>
                        <a:pt x="405" y="346"/>
                      </a:lnTo>
                      <a:lnTo>
                        <a:pt x="394" y="349"/>
                      </a:lnTo>
                      <a:lnTo>
                        <a:pt x="390" y="354"/>
                      </a:lnTo>
                      <a:lnTo>
                        <a:pt x="390" y="357"/>
                      </a:lnTo>
                      <a:lnTo>
                        <a:pt x="387" y="339"/>
                      </a:lnTo>
                      <a:lnTo>
                        <a:pt x="384" y="319"/>
                      </a:lnTo>
                      <a:lnTo>
                        <a:pt x="381" y="300"/>
                      </a:lnTo>
                      <a:lnTo>
                        <a:pt x="383" y="284"/>
                      </a:lnTo>
                      <a:lnTo>
                        <a:pt x="386" y="271"/>
                      </a:lnTo>
                      <a:lnTo>
                        <a:pt x="383" y="275"/>
                      </a:lnTo>
                      <a:lnTo>
                        <a:pt x="378" y="284"/>
                      </a:lnTo>
                      <a:lnTo>
                        <a:pt x="374" y="297"/>
                      </a:lnTo>
                      <a:lnTo>
                        <a:pt x="370" y="310"/>
                      </a:lnTo>
                      <a:lnTo>
                        <a:pt x="365" y="320"/>
                      </a:lnTo>
                      <a:lnTo>
                        <a:pt x="365" y="323"/>
                      </a:lnTo>
                      <a:lnTo>
                        <a:pt x="367" y="352"/>
                      </a:lnTo>
                      <a:lnTo>
                        <a:pt x="371" y="376"/>
                      </a:lnTo>
                      <a:lnTo>
                        <a:pt x="380" y="397"/>
                      </a:lnTo>
                      <a:lnTo>
                        <a:pt x="380" y="397"/>
                      </a:lnTo>
                      <a:lnTo>
                        <a:pt x="377" y="402"/>
                      </a:lnTo>
                      <a:lnTo>
                        <a:pt x="373" y="409"/>
                      </a:lnTo>
                      <a:lnTo>
                        <a:pt x="367" y="422"/>
                      </a:lnTo>
                      <a:lnTo>
                        <a:pt x="358" y="438"/>
                      </a:lnTo>
                      <a:lnTo>
                        <a:pt x="348" y="455"/>
                      </a:lnTo>
                      <a:lnTo>
                        <a:pt x="346" y="429"/>
                      </a:lnTo>
                      <a:lnTo>
                        <a:pt x="346" y="403"/>
                      </a:lnTo>
                      <a:lnTo>
                        <a:pt x="349" y="378"/>
                      </a:lnTo>
                      <a:lnTo>
                        <a:pt x="355" y="355"/>
                      </a:lnTo>
                      <a:lnTo>
                        <a:pt x="355" y="354"/>
                      </a:lnTo>
                      <a:lnTo>
                        <a:pt x="355" y="354"/>
                      </a:lnTo>
                      <a:lnTo>
                        <a:pt x="355" y="354"/>
                      </a:lnTo>
                      <a:lnTo>
                        <a:pt x="400" y="210"/>
                      </a:lnTo>
                      <a:lnTo>
                        <a:pt x="397" y="200"/>
                      </a:lnTo>
                      <a:lnTo>
                        <a:pt x="389" y="191"/>
                      </a:lnTo>
                      <a:lnTo>
                        <a:pt x="375" y="184"/>
                      </a:lnTo>
                      <a:lnTo>
                        <a:pt x="358" y="179"/>
                      </a:lnTo>
                      <a:lnTo>
                        <a:pt x="338" y="175"/>
                      </a:lnTo>
                      <a:lnTo>
                        <a:pt x="316" y="172"/>
                      </a:lnTo>
                      <a:lnTo>
                        <a:pt x="294" y="171"/>
                      </a:lnTo>
                      <a:lnTo>
                        <a:pt x="272" y="171"/>
                      </a:lnTo>
                      <a:lnTo>
                        <a:pt x="213" y="169"/>
                      </a:lnTo>
                      <a:lnTo>
                        <a:pt x="218" y="153"/>
                      </a:lnTo>
                      <a:lnTo>
                        <a:pt x="227" y="141"/>
                      </a:lnTo>
                      <a:lnTo>
                        <a:pt x="237" y="131"/>
                      </a:lnTo>
                      <a:lnTo>
                        <a:pt x="246" y="124"/>
                      </a:lnTo>
                      <a:lnTo>
                        <a:pt x="253" y="121"/>
                      </a:lnTo>
                      <a:lnTo>
                        <a:pt x="278" y="111"/>
                      </a:lnTo>
                      <a:lnTo>
                        <a:pt x="301" y="99"/>
                      </a:lnTo>
                      <a:lnTo>
                        <a:pt x="320" y="86"/>
                      </a:lnTo>
                      <a:lnTo>
                        <a:pt x="327" y="82"/>
                      </a:lnTo>
                      <a:lnTo>
                        <a:pt x="332" y="78"/>
                      </a:lnTo>
                      <a:lnTo>
                        <a:pt x="336" y="72"/>
                      </a:lnTo>
                      <a:lnTo>
                        <a:pt x="338" y="66"/>
                      </a:lnTo>
                      <a:lnTo>
                        <a:pt x="336" y="64"/>
                      </a:lnTo>
                      <a:lnTo>
                        <a:pt x="338" y="63"/>
                      </a:lnTo>
                      <a:lnTo>
                        <a:pt x="333" y="53"/>
                      </a:lnTo>
                      <a:lnTo>
                        <a:pt x="323" y="44"/>
                      </a:lnTo>
                      <a:lnTo>
                        <a:pt x="306" y="37"/>
                      </a:lnTo>
                      <a:lnTo>
                        <a:pt x="284" y="30"/>
                      </a:lnTo>
                      <a:lnTo>
                        <a:pt x="258" y="25"/>
                      </a:lnTo>
                      <a:lnTo>
                        <a:pt x="258" y="15"/>
                      </a:lnTo>
                      <a:lnTo>
                        <a:pt x="263" y="8"/>
                      </a:lnTo>
                      <a:lnTo>
                        <a:pt x="269" y="0"/>
                      </a:lnTo>
                      <a:close/>
                    </a:path>
                  </a:pathLst>
                </a:custGeom>
                <a:solidFill>
                  <a:srgbClr val="07050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46" name="Freeform 27"/>
                <p:cNvSpPr>
                  <a:spLocks noEditPoints="1"/>
                </p:cNvSpPr>
                <p:nvPr/>
              </p:nvSpPr>
              <p:spPr bwMode="auto">
                <a:xfrm>
                  <a:off x="3562351" y="4710113"/>
                  <a:ext cx="293688" cy="39688"/>
                </a:xfrm>
                <a:custGeom>
                  <a:avLst/>
                  <a:gdLst>
                    <a:gd name="T0" fmla="*/ 128 w 185"/>
                    <a:gd name="T1" fmla="*/ 0 h 25"/>
                    <a:gd name="T2" fmla="*/ 185 w 185"/>
                    <a:gd name="T3" fmla="*/ 0 h 25"/>
                    <a:gd name="T4" fmla="*/ 185 w 185"/>
                    <a:gd name="T5" fmla="*/ 12 h 25"/>
                    <a:gd name="T6" fmla="*/ 185 w 185"/>
                    <a:gd name="T7" fmla="*/ 24 h 25"/>
                    <a:gd name="T8" fmla="*/ 185 w 185"/>
                    <a:gd name="T9" fmla="*/ 25 h 25"/>
                    <a:gd name="T10" fmla="*/ 128 w 185"/>
                    <a:gd name="T11" fmla="*/ 25 h 25"/>
                    <a:gd name="T12" fmla="*/ 128 w 185"/>
                    <a:gd name="T13" fmla="*/ 0 h 25"/>
                    <a:gd name="T14" fmla="*/ 6 w 185"/>
                    <a:gd name="T15" fmla="*/ 0 h 25"/>
                    <a:gd name="T16" fmla="*/ 63 w 185"/>
                    <a:gd name="T17" fmla="*/ 0 h 25"/>
                    <a:gd name="T18" fmla="*/ 63 w 185"/>
                    <a:gd name="T19" fmla="*/ 25 h 25"/>
                    <a:gd name="T20" fmla="*/ 0 w 185"/>
                    <a:gd name="T21" fmla="*/ 25 h 25"/>
                    <a:gd name="T22" fmla="*/ 6 w 185"/>
                    <a:gd name="T23" fmla="*/ 0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85" h="25">
                      <a:moveTo>
                        <a:pt x="128" y="0"/>
                      </a:moveTo>
                      <a:lnTo>
                        <a:pt x="185" y="0"/>
                      </a:lnTo>
                      <a:lnTo>
                        <a:pt x="185" y="12"/>
                      </a:lnTo>
                      <a:lnTo>
                        <a:pt x="185" y="24"/>
                      </a:lnTo>
                      <a:lnTo>
                        <a:pt x="185" y="25"/>
                      </a:lnTo>
                      <a:lnTo>
                        <a:pt x="128" y="25"/>
                      </a:lnTo>
                      <a:lnTo>
                        <a:pt x="128" y="0"/>
                      </a:lnTo>
                      <a:close/>
                      <a:moveTo>
                        <a:pt x="6" y="0"/>
                      </a:moveTo>
                      <a:lnTo>
                        <a:pt x="63" y="0"/>
                      </a:lnTo>
                      <a:lnTo>
                        <a:pt x="63" y="25"/>
                      </a:lnTo>
                      <a:lnTo>
                        <a:pt x="0" y="25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rgbClr val="221916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47" name="Rectangle 28"/>
                <p:cNvSpPr>
                  <a:spLocks noChangeArrowheads="1"/>
                </p:cNvSpPr>
                <p:nvPr/>
              </p:nvSpPr>
              <p:spPr bwMode="auto">
                <a:xfrm>
                  <a:off x="3662363" y="4710113"/>
                  <a:ext cx="103188" cy="39688"/>
                </a:xfrm>
                <a:prstGeom prst="rect">
                  <a:avLst/>
                </a:prstGeom>
                <a:solidFill>
                  <a:srgbClr val="221610"/>
                </a:soli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48" name="Freeform 29"/>
                <p:cNvSpPr>
                  <a:spLocks/>
                </p:cNvSpPr>
                <p:nvPr/>
              </p:nvSpPr>
              <p:spPr bwMode="auto">
                <a:xfrm>
                  <a:off x="4022726" y="4710113"/>
                  <a:ext cx="52388" cy="39688"/>
                </a:xfrm>
                <a:custGeom>
                  <a:avLst/>
                  <a:gdLst>
                    <a:gd name="T0" fmla="*/ 5 w 33"/>
                    <a:gd name="T1" fmla="*/ 0 h 25"/>
                    <a:gd name="T2" fmla="*/ 11 w 33"/>
                    <a:gd name="T3" fmla="*/ 0 h 25"/>
                    <a:gd name="T4" fmla="*/ 17 w 33"/>
                    <a:gd name="T5" fmla="*/ 2 h 25"/>
                    <a:gd name="T6" fmla="*/ 26 w 33"/>
                    <a:gd name="T7" fmla="*/ 2 h 25"/>
                    <a:gd name="T8" fmla="*/ 33 w 33"/>
                    <a:gd name="T9" fmla="*/ 2 h 25"/>
                    <a:gd name="T10" fmla="*/ 24 w 33"/>
                    <a:gd name="T11" fmla="*/ 12 h 25"/>
                    <a:gd name="T12" fmla="*/ 13 w 33"/>
                    <a:gd name="T13" fmla="*/ 21 h 25"/>
                    <a:gd name="T14" fmla="*/ 0 w 33"/>
                    <a:gd name="T15" fmla="*/ 25 h 25"/>
                    <a:gd name="T16" fmla="*/ 5 w 33"/>
                    <a:gd name="T17" fmla="*/ 0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3" h="25">
                      <a:moveTo>
                        <a:pt x="5" y="0"/>
                      </a:moveTo>
                      <a:lnTo>
                        <a:pt x="11" y="0"/>
                      </a:lnTo>
                      <a:lnTo>
                        <a:pt x="17" y="2"/>
                      </a:lnTo>
                      <a:lnTo>
                        <a:pt x="26" y="2"/>
                      </a:lnTo>
                      <a:lnTo>
                        <a:pt x="33" y="2"/>
                      </a:lnTo>
                      <a:lnTo>
                        <a:pt x="24" y="12"/>
                      </a:lnTo>
                      <a:lnTo>
                        <a:pt x="13" y="21"/>
                      </a:lnTo>
                      <a:lnTo>
                        <a:pt x="0" y="25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221916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49" name="Freeform 30"/>
                <p:cNvSpPr>
                  <a:spLocks/>
                </p:cNvSpPr>
                <p:nvPr/>
              </p:nvSpPr>
              <p:spPr bwMode="auto">
                <a:xfrm>
                  <a:off x="4040188" y="4710113"/>
                  <a:ext cx="23813" cy="3175"/>
                </a:xfrm>
                <a:custGeom>
                  <a:avLst/>
                  <a:gdLst>
                    <a:gd name="T0" fmla="*/ 0 w 15"/>
                    <a:gd name="T1" fmla="*/ 0 h 2"/>
                    <a:gd name="T2" fmla="*/ 0 w 15"/>
                    <a:gd name="T3" fmla="*/ 0 h 2"/>
                    <a:gd name="T4" fmla="*/ 7 w 15"/>
                    <a:gd name="T5" fmla="*/ 2 h 2"/>
                    <a:gd name="T6" fmla="*/ 15 w 15"/>
                    <a:gd name="T7" fmla="*/ 2 h 2"/>
                    <a:gd name="T8" fmla="*/ 6 w 15"/>
                    <a:gd name="T9" fmla="*/ 2 h 2"/>
                    <a:gd name="T10" fmla="*/ 0 w 15"/>
                    <a:gd name="T1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5" h="2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7" y="2"/>
                      </a:lnTo>
                      <a:lnTo>
                        <a:pt x="15" y="2"/>
                      </a:lnTo>
                      <a:lnTo>
                        <a:pt x="6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7050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50" name="Freeform 31"/>
                <p:cNvSpPr>
                  <a:spLocks/>
                </p:cNvSpPr>
                <p:nvPr/>
              </p:nvSpPr>
              <p:spPr bwMode="auto">
                <a:xfrm>
                  <a:off x="3362326" y="4713288"/>
                  <a:ext cx="20638" cy="22225"/>
                </a:xfrm>
                <a:custGeom>
                  <a:avLst/>
                  <a:gdLst>
                    <a:gd name="T0" fmla="*/ 0 w 13"/>
                    <a:gd name="T1" fmla="*/ 0 h 14"/>
                    <a:gd name="T2" fmla="*/ 5 w 13"/>
                    <a:gd name="T3" fmla="*/ 0 h 14"/>
                    <a:gd name="T4" fmla="*/ 11 w 13"/>
                    <a:gd name="T5" fmla="*/ 0 h 14"/>
                    <a:gd name="T6" fmla="*/ 13 w 13"/>
                    <a:gd name="T7" fmla="*/ 14 h 14"/>
                    <a:gd name="T8" fmla="*/ 8 w 13"/>
                    <a:gd name="T9" fmla="*/ 10 h 14"/>
                    <a:gd name="T10" fmla="*/ 4 w 13"/>
                    <a:gd name="T11" fmla="*/ 6 h 14"/>
                    <a:gd name="T12" fmla="*/ 0 w 13"/>
                    <a:gd name="T13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3" h="14">
                      <a:moveTo>
                        <a:pt x="0" y="0"/>
                      </a:moveTo>
                      <a:lnTo>
                        <a:pt x="5" y="0"/>
                      </a:lnTo>
                      <a:lnTo>
                        <a:pt x="11" y="0"/>
                      </a:lnTo>
                      <a:lnTo>
                        <a:pt x="13" y="14"/>
                      </a:lnTo>
                      <a:lnTo>
                        <a:pt x="8" y="10"/>
                      </a:lnTo>
                      <a:lnTo>
                        <a:pt x="4" y="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21916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51" name="Freeform 32"/>
                <p:cNvSpPr>
                  <a:spLocks/>
                </p:cNvSpPr>
                <p:nvPr/>
              </p:nvSpPr>
              <p:spPr bwMode="auto">
                <a:xfrm>
                  <a:off x="3352801" y="4625975"/>
                  <a:ext cx="26988" cy="87313"/>
                </a:xfrm>
                <a:custGeom>
                  <a:avLst/>
                  <a:gdLst>
                    <a:gd name="T0" fmla="*/ 11 w 17"/>
                    <a:gd name="T1" fmla="*/ 0 h 55"/>
                    <a:gd name="T2" fmla="*/ 14 w 17"/>
                    <a:gd name="T3" fmla="*/ 26 h 55"/>
                    <a:gd name="T4" fmla="*/ 17 w 17"/>
                    <a:gd name="T5" fmla="*/ 55 h 55"/>
                    <a:gd name="T6" fmla="*/ 11 w 17"/>
                    <a:gd name="T7" fmla="*/ 55 h 55"/>
                    <a:gd name="T8" fmla="*/ 6 w 17"/>
                    <a:gd name="T9" fmla="*/ 55 h 55"/>
                    <a:gd name="T10" fmla="*/ 3 w 17"/>
                    <a:gd name="T11" fmla="*/ 48 h 55"/>
                    <a:gd name="T12" fmla="*/ 0 w 17"/>
                    <a:gd name="T13" fmla="*/ 40 h 55"/>
                    <a:gd name="T14" fmla="*/ 0 w 17"/>
                    <a:gd name="T15" fmla="*/ 32 h 55"/>
                    <a:gd name="T16" fmla="*/ 3 w 17"/>
                    <a:gd name="T17" fmla="*/ 14 h 55"/>
                    <a:gd name="T18" fmla="*/ 11 w 17"/>
                    <a:gd name="T19" fmla="*/ 0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7" h="55">
                      <a:moveTo>
                        <a:pt x="11" y="0"/>
                      </a:moveTo>
                      <a:lnTo>
                        <a:pt x="14" y="26"/>
                      </a:lnTo>
                      <a:lnTo>
                        <a:pt x="17" y="55"/>
                      </a:lnTo>
                      <a:lnTo>
                        <a:pt x="11" y="55"/>
                      </a:lnTo>
                      <a:lnTo>
                        <a:pt x="6" y="55"/>
                      </a:lnTo>
                      <a:lnTo>
                        <a:pt x="3" y="48"/>
                      </a:lnTo>
                      <a:lnTo>
                        <a:pt x="0" y="40"/>
                      </a:lnTo>
                      <a:lnTo>
                        <a:pt x="0" y="32"/>
                      </a:lnTo>
                      <a:lnTo>
                        <a:pt x="3" y="14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solidFill>
                  <a:srgbClr val="07050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52" name="Freeform 33"/>
                <p:cNvSpPr>
                  <a:spLocks/>
                </p:cNvSpPr>
                <p:nvPr/>
              </p:nvSpPr>
              <p:spPr bwMode="auto">
                <a:xfrm>
                  <a:off x="4040188" y="4613275"/>
                  <a:ext cx="44450" cy="100013"/>
                </a:xfrm>
                <a:custGeom>
                  <a:avLst/>
                  <a:gdLst>
                    <a:gd name="T0" fmla="*/ 6 w 28"/>
                    <a:gd name="T1" fmla="*/ 0 h 63"/>
                    <a:gd name="T2" fmla="*/ 18 w 28"/>
                    <a:gd name="T3" fmla="*/ 11 h 63"/>
                    <a:gd name="T4" fmla="*/ 25 w 28"/>
                    <a:gd name="T5" fmla="*/ 24 h 63"/>
                    <a:gd name="T6" fmla="*/ 28 w 28"/>
                    <a:gd name="T7" fmla="*/ 40 h 63"/>
                    <a:gd name="T8" fmla="*/ 26 w 28"/>
                    <a:gd name="T9" fmla="*/ 48 h 63"/>
                    <a:gd name="T10" fmla="*/ 25 w 28"/>
                    <a:gd name="T11" fmla="*/ 56 h 63"/>
                    <a:gd name="T12" fmla="*/ 22 w 28"/>
                    <a:gd name="T13" fmla="*/ 63 h 63"/>
                    <a:gd name="T14" fmla="*/ 15 w 28"/>
                    <a:gd name="T15" fmla="*/ 63 h 63"/>
                    <a:gd name="T16" fmla="*/ 7 w 28"/>
                    <a:gd name="T17" fmla="*/ 63 h 63"/>
                    <a:gd name="T18" fmla="*/ 0 w 28"/>
                    <a:gd name="T19" fmla="*/ 61 h 63"/>
                    <a:gd name="T20" fmla="*/ 3 w 28"/>
                    <a:gd name="T21" fmla="*/ 61 h 63"/>
                    <a:gd name="T22" fmla="*/ 3 w 28"/>
                    <a:gd name="T23" fmla="*/ 15 h 63"/>
                    <a:gd name="T24" fmla="*/ 6 w 28"/>
                    <a:gd name="T25" fmla="*/ 0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8" h="63">
                      <a:moveTo>
                        <a:pt x="6" y="0"/>
                      </a:moveTo>
                      <a:lnTo>
                        <a:pt x="18" y="11"/>
                      </a:lnTo>
                      <a:lnTo>
                        <a:pt x="25" y="24"/>
                      </a:lnTo>
                      <a:lnTo>
                        <a:pt x="28" y="40"/>
                      </a:lnTo>
                      <a:lnTo>
                        <a:pt x="26" y="48"/>
                      </a:lnTo>
                      <a:lnTo>
                        <a:pt x="25" y="56"/>
                      </a:lnTo>
                      <a:lnTo>
                        <a:pt x="22" y="63"/>
                      </a:lnTo>
                      <a:lnTo>
                        <a:pt x="15" y="63"/>
                      </a:lnTo>
                      <a:lnTo>
                        <a:pt x="7" y="63"/>
                      </a:lnTo>
                      <a:lnTo>
                        <a:pt x="0" y="61"/>
                      </a:lnTo>
                      <a:lnTo>
                        <a:pt x="3" y="61"/>
                      </a:lnTo>
                      <a:lnTo>
                        <a:pt x="3" y="15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rgbClr val="0100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53" name="Freeform 34"/>
                <p:cNvSpPr>
                  <a:spLocks noEditPoints="1"/>
                </p:cNvSpPr>
                <p:nvPr/>
              </p:nvSpPr>
              <p:spPr bwMode="auto">
                <a:xfrm>
                  <a:off x="3571876" y="4600575"/>
                  <a:ext cx="473075" cy="109538"/>
                </a:xfrm>
                <a:custGeom>
                  <a:avLst/>
                  <a:gdLst>
                    <a:gd name="T0" fmla="*/ 298 w 298"/>
                    <a:gd name="T1" fmla="*/ 23 h 69"/>
                    <a:gd name="T2" fmla="*/ 298 w 298"/>
                    <a:gd name="T3" fmla="*/ 69 h 69"/>
                    <a:gd name="T4" fmla="*/ 289 w 298"/>
                    <a:gd name="T5" fmla="*/ 69 h 69"/>
                    <a:gd name="T6" fmla="*/ 295 w 298"/>
                    <a:gd name="T7" fmla="*/ 45 h 69"/>
                    <a:gd name="T8" fmla="*/ 298 w 298"/>
                    <a:gd name="T9" fmla="*/ 23 h 69"/>
                    <a:gd name="T10" fmla="*/ 35 w 298"/>
                    <a:gd name="T11" fmla="*/ 0 h 69"/>
                    <a:gd name="T12" fmla="*/ 157 w 298"/>
                    <a:gd name="T13" fmla="*/ 0 h 69"/>
                    <a:gd name="T14" fmla="*/ 164 w 298"/>
                    <a:gd name="T15" fmla="*/ 11 h 69"/>
                    <a:gd name="T16" fmla="*/ 170 w 298"/>
                    <a:gd name="T17" fmla="*/ 26 h 69"/>
                    <a:gd name="T18" fmla="*/ 176 w 298"/>
                    <a:gd name="T19" fmla="*/ 45 h 69"/>
                    <a:gd name="T20" fmla="*/ 179 w 298"/>
                    <a:gd name="T21" fmla="*/ 69 h 69"/>
                    <a:gd name="T22" fmla="*/ 0 w 298"/>
                    <a:gd name="T23" fmla="*/ 69 h 69"/>
                    <a:gd name="T24" fmla="*/ 10 w 298"/>
                    <a:gd name="T25" fmla="*/ 42 h 69"/>
                    <a:gd name="T26" fmla="*/ 22 w 298"/>
                    <a:gd name="T27" fmla="*/ 19 h 69"/>
                    <a:gd name="T28" fmla="*/ 35 w 298"/>
                    <a:gd name="T29" fmla="*/ 0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98" h="69">
                      <a:moveTo>
                        <a:pt x="298" y="23"/>
                      </a:moveTo>
                      <a:lnTo>
                        <a:pt x="298" y="69"/>
                      </a:lnTo>
                      <a:lnTo>
                        <a:pt x="289" y="69"/>
                      </a:lnTo>
                      <a:lnTo>
                        <a:pt x="295" y="45"/>
                      </a:lnTo>
                      <a:lnTo>
                        <a:pt x="298" y="23"/>
                      </a:lnTo>
                      <a:close/>
                      <a:moveTo>
                        <a:pt x="35" y="0"/>
                      </a:moveTo>
                      <a:lnTo>
                        <a:pt x="157" y="0"/>
                      </a:lnTo>
                      <a:lnTo>
                        <a:pt x="164" y="11"/>
                      </a:lnTo>
                      <a:lnTo>
                        <a:pt x="170" y="26"/>
                      </a:lnTo>
                      <a:lnTo>
                        <a:pt x="176" y="45"/>
                      </a:lnTo>
                      <a:lnTo>
                        <a:pt x="179" y="69"/>
                      </a:lnTo>
                      <a:lnTo>
                        <a:pt x="0" y="69"/>
                      </a:lnTo>
                      <a:lnTo>
                        <a:pt x="10" y="42"/>
                      </a:lnTo>
                      <a:lnTo>
                        <a:pt x="22" y="19"/>
                      </a:lnTo>
                      <a:lnTo>
                        <a:pt x="35" y="0"/>
                      </a:lnTo>
                      <a:close/>
                    </a:path>
                  </a:pathLst>
                </a:custGeom>
                <a:solidFill>
                  <a:srgbClr val="0100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54" name="Freeform 35"/>
                <p:cNvSpPr>
                  <a:spLocks/>
                </p:cNvSpPr>
                <p:nvPr/>
              </p:nvSpPr>
              <p:spPr bwMode="auto">
                <a:xfrm>
                  <a:off x="3673476" y="5114925"/>
                  <a:ext cx="90488" cy="292100"/>
                </a:xfrm>
                <a:custGeom>
                  <a:avLst/>
                  <a:gdLst>
                    <a:gd name="T0" fmla="*/ 28 w 57"/>
                    <a:gd name="T1" fmla="*/ 0 h 184"/>
                    <a:gd name="T2" fmla="*/ 42 w 57"/>
                    <a:gd name="T3" fmla="*/ 3 h 184"/>
                    <a:gd name="T4" fmla="*/ 52 w 57"/>
                    <a:gd name="T5" fmla="*/ 13 h 184"/>
                    <a:gd name="T6" fmla="*/ 57 w 57"/>
                    <a:gd name="T7" fmla="*/ 27 h 184"/>
                    <a:gd name="T8" fmla="*/ 57 w 57"/>
                    <a:gd name="T9" fmla="*/ 155 h 184"/>
                    <a:gd name="T10" fmla="*/ 52 w 57"/>
                    <a:gd name="T11" fmla="*/ 170 h 184"/>
                    <a:gd name="T12" fmla="*/ 42 w 57"/>
                    <a:gd name="T13" fmla="*/ 180 h 184"/>
                    <a:gd name="T14" fmla="*/ 28 w 57"/>
                    <a:gd name="T15" fmla="*/ 184 h 184"/>
                    <a:gd name="T16" fmla="*/ 13 w 57"/>
                    <a:gd name="T17" fmla="*/ 180 h 184"/>
                    <a:gd name="T18" fmla="*/ 3 w 57"/>
                    <a:gd name="T19" fmla="*/ 170 h 184"/>
                    <a:gd name="T20" fmla="*/ 0 w 57"/>
                    <a:gd name="T21" fmla="*/ 155 h 184"/>
                    <a:gd name="T22" fmla="*/ 0 w 57"/>
                    <a:gd name="T23" fmla="*/ 27 h 184"/>
                    <a:gd name="T24" fmla="*/ 3 w 57"/>
                    <a:gd name="T25" fmla="*/ 13 h 184"/>
                    <a:gd name="T26" fmla="*/ 13 w 57"/>
                    <a:gd name="T27" fmla="*/ 3 h 184"/>
                    <a:gd name="T28" fmla="*/ 28 w 57"/>
                    <a:gd name="T29" fmla="*/ 0 h 1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57" h="184">
                      <a:moveTo>
                        <a:pt x="28" y="0"/>
                      </a:moveTo>
                      <a:lnTo>
                        <a:pt x="42" y="3"/>
                      </a:lnTo>
                      <a:lnTo>
                        <a:pt x="52" y="13"/>
                      </a:lnTo>
                      <a:lnTo>
                        <a:pt x="57" y="27"/>
                      </a:lnTo>
                      <a:lnTo>
                        <a:pt x="57" y="155"/>
                      </a:lnTo>
                      <a:lnTo>
                        <a:pt x="52" y="170"/>
                      </a:lnTo>
                      <a:lnTo>
                        <a:pt x="42" y="180"/>
                      </a:lnTo>
                      <a:lnTo>
                        <a:pt x="28" y="184"/>
                      </a:lnTo>
                      <a:lnTo>
                        <a:pt x="13" y="180"/>
                      </a:lnTo>
                      <a:lnTo>
                        <a:pt x="3" y="170"/>
                      </a:lnTo>
                      <a:lnTo>
                        <a:pt x="0" y="155"/>
                      </a:lnTo>
                      <a:lnTo>
                        <a:pt x="0" y="27"/>
                      </a:lnTo>
                      <a:lnTo>
                        <a:pt x="3" y="13"/>
                      </a:lnTo>
                      <a:lnTo>
                        <a:pt x="13" y="3"/>
                      </a:lnTo>
                      <a:lnTo>
                        <a:pt x="28" y="0"/>
                      </a:lnTo>
                      <a:close/>
                    </a:path>
                  </a:pathLst>
                </a:custGeom>
                <a:solidFill>
                  <a:srgbClr val="FFF0D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55" name="Freeform 36"/>
                <p:cNvSpPr>
                  <a:spLocks/>
                </p:cNvSpPr>
                <p:nvPr/>
              </p:nvSpPr>
              <p:spPr bwMode="auto">
                <a:xfrm>
                  <a:off x="3435351" y="4387850"/>
                  <a:ext cx="522288" cy="220663"/>
                </a:xfrm>
                <a:custGeom>
                  <a:avLst/>
                  <a:gdLst>
                    <a:gd name="T0" fmla="*/ 327 w 329"/>
                    <a:gd name="T1" fmla="*/ 0 h 139"/>
                    <a:gd name="T2" fmla="*/ 329 w 329"/>
                    <a:gd name="T3" fmla="*/ 38 h 139"/>
                    <a:gd name="T4" fmla="*/ 329 w 329"/>
                    <a:gd name="T5" fmla="*/ 71 h 139"/>
                    <a:gd name="T6" fmla="*/ 327 w 329"/>
                    <a:gd name="T7" fmla="*/ 99 h 139"/>
                    <a:gd name="T8" fmla="*/ 326 w 329"/>
                    <a:gd name="T9" fmla="*/ 119 h 139"/>
                    <a:gd name="T10" fmla="*/ 324 w 329"/>
                    <a:gd name="T11" fmla="*/ 132 h 139"/>
                    <a:gd name="T12" fmla="*/ 324 w 329"/>
                    <a:gd name="T13" fmla="*/ 138 h 139"/>
                    <a:gd name="T14" fmla="*/ 164 w 329"/>
                    <a:gd name="T15" fmla="*/ 119 h 139"/>
                    <a:gd name="T16" fmla="*/ 70 w 329"/>
                    <a:gd name="T17" fmla="*/ 139 h 139"/>
                    <a:gd name="T18" fmla="*/ 52 w 329"/>
                    <a:gd name="T19" fmla="*/ 134 h 139"/>
                    <a:gd name="T20" fmla="*/ 36 w 329"/>
                    <a:gd name="T21" fmla="*/ 122 h 139"/>
                    <a:gd name="T22" fmla="*/ 23 w 329"/>
                    <a:gd name="T23" fmla="*/ 102 h 139"/>
                    <a:gd name="T24" fmla="*/ 13 w 329"/>
                    <a:gd name="T25" fmla="*/ 74 h 139"/>
                    <a:gd name="T26" fmla="*/ 4 w 329"/>
                    <a:gd name="T27" fmla="*/ 43 h 139"/>
                    <a:gd name="T28" fmla="*/ 0 w 329"/>
                    <a:gd name="T29" fmla="*/ 9 h 139"/>
                    <a:gd name="T30" fmla="*/ 327 w 329"/>
                    <a:gd name="T31" fmla="*/ 0 h 1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29" h="139">
                      <a:moveTo>
                        <a:pt x="327" y="0"/>
                      </a:moveTo>
                      <a:lnTo>
                        <a:pt x="329" y="38"/>
                      </a:lnTo>
                      <a:lnTo>
                        <a:pt x="329" y="71"/>
                      </a:lnTo>
                      <a:lnTo>
                        <a:pt x="327" y="99"/>
                      </a:lnTo>
                      <a:lnTo>
                        <a:pt x="326" y="119"/>
                      </a:lnTo>
                      <a:lnTo>
                        <a:pt x="324" y="132"/>
                      </a:lnTo>
                      <a:lnTo>
                        <a:pt x="324" y="138"/>
                      </a:lnTo>
                      <a:lnTo>
                        <a:pt x="164" y="119"/>
                      </a:lnTo>
                      <a:lnTo>
                        <a:pt x="70" y="139"/>
                      </a:lnTo>
                      <a:lnTo>
                        <a:pt x="52" y="134"/>
                      </a:lnTo>
                      <a:lnTo>
                        <a:pt x="36" y="122"/>
                      </a:lnTo>
                      <a:lnTo>
                        <a:pt x="23" y="102"/>
                      </a:lnTo>
                      <a:lnTo>
                        <a:pt x="13" y="74"/>
                      </a:lnTo>
                      <a:lnTo>
                        <a:pt x="4" y="43"/>
                      </a:lnTo>
                      <a:lnTo>
                        <a:pt x="0" y="9"/>
                      </a:lnTo>
                      <a:lnTo>
                        <a:pt x="327" y="0"/>
                      </a:lnTo>
                      <a:close/>
                    </a:path>
                  </a:pathLst>
                </a:custGeom>
                <a:solidFill>
                  <a:srgbClr val="5FDDFE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56" name="Freeform 37"/>
                <p:cNvSpPr>
                  <a:spLocks/>
                </p:cNvSpPr>
                <p:nvPr/>
              </p:nvSpPr>
              <p:spPr bwMode="auto">
                <a:xfrm>
                  <a:off x="3751263" y="4456113"/>
                  <a:ext cx="303213" cy="925513"/>
                </a:xfrm>
                <a:custGeom>
                  <a:avLst/>
                  <a:gdLst>
                    <a:gd name="T0" fmla="*/ 125 w 191"/>
                    <a:gd name="T1" fmla="*/ 0 h 583"/>
                    <a:gd name="T2" fmla="*/ 146 w 191"/>
                    <a:gd name="T3" fmla="*/ 9 h 583"/>
                    <a:gd name="T4" fmla="*/ 162 w 191"/>
                    <a:gd name="T5" fmla="*/ 16 h 583"/>
                    <a:gd name="T6" fmla="*/ 175 w 191"/>
                    <a:gd name="T7" fmla="*/ 25 h 583"/>
                    <a:gd name="T8" fmla="*/ 184 w 191"/>
                    <a:gd name="T9" fmla="*/ 35 h 583"/>
                    <a:gd name="T10" fmla="*/ 188 w 191"/>
                    <a:gd name="T11" fmla="*/ 48 h 583"/>
                    <a:gd name="T12" fmla="*/ 191 w 191"/>
                    <a:gd name="T13" fmla="*/ 64 h 583"/>
                    <a:gd name="T14" fmla="*/ 189 w 191"/>
                    <a:gd name="T15" fmla="*/ 85 h 583"/>
                    <a:gd name="T16" fmla="*/ 187 w 191"/>
                    <a:gd name="T17" fmla="*/ 110 h 583"/>
                    <a:gd name="T18" fmla="*/ 181 w 191"/>
                    <a:gd name="T19" fmla="*/ 139 h 583"/>
                    <a:gd name="T20" fmla="*/ 173 w 191"/>
                    <a:gd name="T21" fmla="*/ 175 h 583"/>
                    <a:gd name="T22" fmla="*/ 163 w 191"/>
                    <a:gd name="T23" fmla="*/ 217 h 583"/>
                    <a:gd name="T24" fmla="*/ 153 w 191"/>
                    <a:gd name="T25" fmla="*/ 268 h 583"/>
                    <a:gd name="T26" fmla="*/ 141 w 191"/>
                    <a:gd name="T27" fmla="*/ 326 h 583"/>
                    <a:gd name="T28" fmla="*/ 128 w 191"/>
                    <a:gd name="T29" fmla="*/ 393 h 583"/>
                    <a:gd name="T30" fmla="*/ 114 w 191"/>
                    <a:gd name="T31" fmla="*/ 471 h 583"/>
                    <a:gd name="T32" fmla="*/ 101 w 191"/>
                    <a:gd name="T33" fmla="*/ 559 h 583"/>
                    <a:gd name="T34" fmla="*/ 98 w 191"/>
                    <a:gd name="T35" fmla="*/ 564 h 583"/>
                    <a:gd name="T36" fmla="*/ 92 w 191"/>
                    <a:gd name="T37" fmla="*/ 572 h 583"/>
                    <a:gd name="T38" fmla="*/ 86 w 191"/>
                    <a:gd name="T39" fmla="*/ 578 h 583"/>
                    <a:gd name="T40" fmla="*/ 77 w 191"/>
                    <a:gd name="T41" fmla="*/ 582 h 583"/>
                    <a:gd name="T42" fmla="*/ 69 w 191"/>
                    <a:gd name="T43" fmla="*/ 583 h 583"/>
                    <a:gd name="T44" fmla="*/ 60 w 191"/>
                    <a:gd name="T45" fmla="*/ 582 h 583"/>
                    <a:gd name="T46" fmla="*/ 54 w 191"/>
                    <a:gd name="T47" fmla="*/ 578 h 583"/>
                    <a:gd name="T48" fmla="*/ 50 w 191"/>
                    <a:gd name="T49" fmla="*/ 567 h 583"/>
                    <a:gd name="T50" fmla="*/ 47 w 191"/>
                    <a:gd name="T51" fmla="*/ 553 h 583"/>
                    <a:gd name="T52" fmla="*/ 48 w 191"/>
                    <a:gd name="T53" fmla="*/ 489 h 583"/>
                    <a:gd name="T54" fmla="*/ 51 w 191"/>
                    <a:gd name="T55" fmla="*/ 428 h 583"/>
                    <a:gd name="T56" fmla="*/ 54 w 191"/>
                    <a:gd name="T57" fmla="*/ 370 h 583"/>
                    <a:gd name="T58" fmla="*/ 59 w 191"/>
                    <a:gd name="T59" fmla="*/ 316 h 583"/>
                    <a:gd name="T60" fmla="*/ 63 w 191"/>
                    <a:gd name="T61" fmla="*/ 265 h 583"/>
                    <a:gd name="T62" fmla="*/ 66 w 191"/>
                    <a:gd name="T63" fmla="*/ 221 h 583"/>
                    <a:gd name="T64" fmla="*/ 66 w 191"/>
                    <a:gd name="T65" fmla="*/ 184 h 583"/>
                    <a:gd name="T66" fmla="*/ 64 w 191"/>
                    <a:gd name="T67" fmla="*/ 152 h 583"/>
                    <a:gd name="T68" fmla="*/ 60 w 191"/>
                    <a:gd name="T69" fmla="*/ 127 h 583"/>
                    <a:gd name="T70" fmla="*/ 54 w 191"/>
                    <a:gd name="T71" fmla="*/ 108 h 583"/>
                    <a:gd name="T72" fmla="*/ 47 w 191"/>
                    <a:gd name="T73" fmla="*/ 95 h 583"/>
                    <a:gd name="T74" fmla="*/ 38 w 191"/>
                    <a:gd name="T75" fmla="*/ 86 h 583"/>
                    <a:gd name="T76" fmla="*/ 29 w 191"/>
                    <a:gd name="T77" fmla="*/ 80 h 583"/>
                    <a:gd name="T78" fmla="*/ 21 w 191"/>
                    <a:gd name="T79" fmla="*/ 78 h 583"/>
                    <a:gd name="T80" fmla="*/ 13 w 191"/>
                    <a:gd name="T81" fmla="*/ 78 h 583"/>
                    <a:gd name="T82" fmla="*/ 6 w 191"/>
                    <a:gd name="T83" fmla="*/ 78 h 583"/>
                    <a:gd name="T84" fmla="*/ 2 w 191"/>
                    <a:gd name="T85" fmla="*/ 79 h 583"/>
                    <a:gd name="T86" fmla="*/ 0 w 191"/>
                    <a:gd name="T87" fmla="*/ 80 h 583"/>
                    <a:gd name="T88" fmla="*/ 34 w 191"/>
                    <a:gd name="T89" fmla="*/ 59 h 583"/>
                    <a:gd name="T90" fmla="*/ 61 w 191"/>
                    <a:gd name="T91" fmla="*/ 40 h 583"/>
                    <a:gd name="T92" fmla="*/ 85 w 191"/>
                    <a:gd name="T93" fmla="*/ 25 h 583"/>
                    <a:gd name="T94" fmla="*/ 102 w 191"/>
                    <a:gd name="T95" fmla="*/ 15 h 583"/>
                    <a:gd name="T96" fmla="*/ 115 w 191"/>
                    <a:gd name="T97" fmla="*/ 8 h 583"/>
                    <a:gd name="T98" fmla="*/ 123 w 191"/>
                    <a:gd name="T99" fmla="*/ 2 h 583"/>
                    <a:gd name="T100" fmla="*/ 125 w 191"/>
                    <a:gd name="T101" fmla="*/ 0 h 5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191" h="583">
                      <a:moveTo>
                        <a:pt x="125" y="0"/>
                      </a:moveTo>
                      <a:lnTo>
                        <a:pt x="146" y="9"/>
                      </a:lnTo>
                      <a:lnTo>
                        <a:pt x="162" y="16"/>
                      </a:lnTo>
                      <a:lnTo>
                        <a:pt x="175" y="25"/>
                      </a:lnTo>
                      <a:lnTo>
                        <a:pt x="184" y="35"/>
                      </a:lnTo>
                      <a:lnTo>
                        <a:pt x="188" y="48"/>
                      </a:lnTo>
                      <a:lnTo>
                        <a:pt x="191" y="64"/>
                      </a:lnTo>
                      <a:lnTo>
                        <a:pt x="189" y="85"/>
                      </a:lnTo>
                      <a:lnTo>
                        <a:pt x="187" y="110"/>
                      </a:lnTo>
                      <a:lnTo>
                        <a:pt x="181" y="139"/>
                      </a:lnTo>
                      <a:lnTo>
                        <a:pt x="173" y="175"/>
                      </a:lnTo>
                      <a:lnTo>
                        <a:pt x="163" y="217"/>
                      </a:lnTo>
                      <a:lnTo>
                        <a:pt x="153" y="268"/>
                      </a:lnTo>
                      <a:lnTo>
                        <a:pt x="141" y="326"/>
                      </a:lnTo>
                      <a:lnTo>
                        <a:pt x="128" y="393"/>
                      </a:lnTo>
                      <a:lnTo>
                        <a:pt x="114" y="471"/>
                      </a:lnTo>
                      <a:lnTo>
                        <a:pt x="101" y="559"/>
                      </a:lnTo>
                      <a:lnTo>
                        <a:pt x="98" y="564"/>
                      </a:lnTo>
                      <a:lnTo>
                        <a:pt x="92" y="572"/>
                      </a:lnTo>
                      <a:lnTo>
                        <a:pt x="86" y="578"/>
                      </a:lnTo>
                      <a:lnTo>
                        <a:pt x="77" y="582"/>
                      </a:lnTo>
                      <a:lnTo>
                        <a:pt x="69" y="583"/>
                      </a:lnTo>
                      <a:lnTo>
                        <a:pt x="60" y="582"/>
                      </a:lnTo>
                      <a:lnTo>
                        <a:pt x="54" y="578"/>
                      </a:lnTo>
                      <a:lnTo>
                        <a:pt x="50" y="567"/>
                      </a:lnTo>
                      <a:lnTo>
                        <a:pt x="47" y="553"/>
                      </a:lnTo>
                      <a:lnTo>
                        <a:pt x="48" y="489"/>
                      </a:lnTo>
                      <a:lnTo>
                        <a:pt x="51" y="428"/>
                      </a:lnTo>
                      <a:lnTo>
                        <a:pt x="54" y="370"/>
                      </a:lnTo>
                      <a:lnTo>
                        <a:pt x="59" y="316"/>
                      </a:lnTo>
                      <a:lnTo>
                        <a:pt x="63" y="265"/>
                      </a:lnTo>
                      <a:lnTo>
                        <a:pt x="66" y="221"/>
                      </a:lnTo>
                      <a:lnTo>
                        <a:pt x="66" y="184"/>
                      </a:lnTo>
                      <a:lnTo>
                        <a:pt x="64" y="152"/>
                      </a:lnTo>
                      <a:lnTo>
                        <a:pt x="60" y="127"/>
                      </a:lnTo>
                      <a:lnTo>
                        <a:pt x="54" y="108"/>
                      </a:lnTo>
                      <a:lnTo>
                        <a:pt x="47" y="95"/>
                      </a:lnTo>
                      <a:lnTo>
                        <a:pt x="38" y="86"/>
                      </a:lnTo>
                      <a:lnTo>
                        <a:pt x="29" y="80"/>
                      </a:lnTo>
                      <a:lnTo>
                        <a:pt x="21" y="78"/>
                      </a:lnTo>
                      <a:lnTo>
                        <a:pt x="13" y="78"/>
                      </a:lnTo>
                      <a:lnTo>
                        <a:pt x="6" y="78"/>
                      </a:lnTo>
                      <a:lnTo>
                        <a:pt x="2" y="79"/>
                      </a:lnTo>
                      <a:lnTo>
                        <a:pt x="0" y="80"/>
                      </a:lnTo>
                      <a:lnTo>
                        <a:pt x="34" y="59"/>
                      </a:lnTo>
                      <a:lnTo>
                        <a:pt x="61" y="40"/>
                      </a:lnTo>
                      <a:lnTo>
                        <a:pt x="85" y="25"/>
                      </a:lnTo>
                      <a:lnTo>
                        <a:pt x="102" y="15"/>
                      </a:lnTo>
                      <a:lnTo>
                        <a:pt x="115" y="8"/>
                      </a:lnTo>
                      <a:lnTo>
                        <a:pt x="123" y="2"/>
                      </a:lnTo>
                      <a:lnTo>
                        <a:pt x="125" y="0"/>
                      </a:lnTo>
                      <a:close/>
                    </a:path>
                  </a:pathLst>
                </a:custGeom>
                <a:solidFill>
                  <a:srgbClr val="5FDDFE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57" name="Freeform 38"/>
                <p:cNvSpPr>
                  <a:spLocks/>
                </p:cNvSpPr>
                <p:nvPr/>
              </p:nvSpPr>
              <p:spPr bwMode="auto">
                <a:xfrm>
                  <a:off x="3370263" y="4413250"/>
                  <a:ext cx="325438" cy="968375"/>
                </a:xfrm>
                <a:custGeom>
                  <a:avLst/>
                  <a:gdLst>
                    <a:gd name="T0" fmla="*/ 104 w 205"/>
                    <a:gd name="T1" fmla="*/ 0 h 610"/>
                    <a:gd name="T2" fmla="*/ 107 w 205"/>
                    <a:gd name="T3" fmla="*/ 1 h 610"/>
                    <a:gd name="T4" fmla="*/ 114 w 205"/>
                    <a:gd name="T5" fmla="*/ 7 h 610"/>
                    <a:gd name="T6" fmla="*/ 125 w 205"/>
                    <a:gd name="T7" fmla="*/ 16 h 610"/>
                    <a:gd name="T8" fmla="*/ 139 w 205"/>
                    <a:gd name="T9" fmla="*/ 26 h 610"/>
                    <a:gd name="T10" fmla="*/ 155 w 205"/>
                    <a:gd name="T11" fmla="*/ 38 h 610"/>
                    <a:gd name="T12" fmla="*/ 172 w 205"/>
                    <a:gd name="T13" fmla="*/ 51 h 610"/>
                    <a:gd name="T14" fmla="*/ 189 w 205"/>
                    <a:gd name="T15" fmla="*/ 65 h 610"/>
                    <a:gd name="T16" fmla="*/ 205 w 205"/>
                    <a:gd name="T17" fmla="*/ 80 h 610"/>
                    <a:gd name="T18" fmla="*/ 204 w 205"/>
                    <a:gd name="T19" fmla="*/ 81 h 610"/>
                    <a:gd name="T20" fmla="*/ 197 w 205"/>
                    <a:gd name="T21" fmla="*/ 84 h 610"/>
                    <a:gd name="T22" fmla="*/ 188 w 205"/>
                    <a:gd name="T23" fmla="*/ 91 h 610"/>
                    <a:gd name="T24" fmla="*/ 176 w 205"/>
                    <a:gd name="T25" fmla="*/ 102 h 610"/>
                    <a:gd name="T26" fmla="*/ 165 w 205"/>
                    <a:gd name="T27" fmla="*/ 116 h 610"/>
                    <a:gd name="T28" fmla="*/ 152 w 205"/>
                    <a:gd name="T29" fmla="*/ 132 h 610"/>
                    <a:gd name="T30" fmla="*/ 140 w 205"/>
                    <a:gd name="T31" fmla="*/ 154 h 610"/>
                    <a:gd name="T32" fmla="*/ 130 w 205"/>
                    <a:gd name="T33" fmla="*/ 180 h 610"/>
                    <a:gd name="T34" fmla="*/ 123 w 205"/>
                    <a:gd name="T35" fmla="*/ 209 h 610"/>
                    <a:gd name="T36" fmla="*/ 118 w 205"/>
                    <a:gd name="T37" fmla="*/ 244 h 610"/>
                    <a:gd name="T38" fmla="*/ 120 w 205"/>
                    <a:gd name="T39" fmla="*/ 283 h 610"/>
                    <a:gd name="T40" fmla="*/ 121 w 205"/>
                    <a:gd name="T41" fmla="*/ 317 h 610"/>
                    <a:gd name="T42" fmla="*/ 123 w 205"/>
                    <a:gd name="T43" fmla="*/ 352 h 610"/>
                    <a:gd name="T44" fmla="*/ 124 w 205"/>
                    <a:gd name="T45" fmla="*/ 387 h 610"/>
                    <a:gd name="T46" fmla="*/ 125 w 205"/>
                    <a:gd name="T47" fmla="*/ 426 h 610"/>
                    <a:gd name="T48" fmla="*/ 125 w 205"/>
                    <a:gd name="T49" fmla="*/ 469 h 610"/>
                    <a:gd name="T50" fmla="*/ 125 w 205"/>
                    <a:gd name="T51" fmla="*/ 520 h 610"/>
                    <a:gd name="T52" fmla="*/ 125 w 205"/>
                    <a:gd name="T53" fmla="*/ 580 h 610"/>
                    <a:gd name="T54" fmla="*/ 124 w 205"/>
                    <a:gd name="T55" fmla="*/ 594 h 610"/>
                    <a:gd name="T56" fmla="*/ 120 w 205"/>
                    <a:gd name="T57" fmla="*/ 605 h 610"/>
                    <a:gd name="T58" fmla="*/ 112 w 205"/>
                    <a:gd name="T59" fmla="*/ 609 h 610"/>
                    <a:gd name="T60" fmla="*/ 105 w 205"/>
                    <a:gd name="T61" fmla="*/ 610 h 610"/>
                    <a:gd name="T62" fmla="*/ 96 w 205"/>
                    <a:gd name="T63" fmla="*/ 609 h 610"/>
                    <a:gd name="T64" fmla="*/ 88 w 205"/>
                    <a:gd name="T65" fmla="*/ 605 h 610"/>
                    <a:gd name="T66" fmla="*/ 80 w 205"/>
                    <a:gd name="T67" fmla="*/ 599 h 610"/>
                    <a:gd name="T68" fmla="*/ 75 w 205"/>
                    <a:gd name="T69" fmla="*/ 591 h 610"/>
                    <a:gd name="T70" fmla="*/ 73 w 205"/>
                    <a:gd name="T71" fmla="*/ 586 h 610"/>
                    <a:gd name="T72" fmla="*/ 60 w 205"/>
                    <a:gd name="T73" fmla="*/ 507 h 610"/>
                    <a:gd name="T74" fmla="*/ 48 w 205"/>
                    <a:gd name="T75" fmla="*/ 434 h 610"/>
                    <a:gd name="T76" fmla="*/ 35 w 205"/>
                    <a:gd name="T77" fmla="*/ 368 h 610"/>
                    <a:gd name="T78" fmla="*/ 25 w 205"/>
                    <a:gd name="T79" fmla="*/ 308 h 610"/>
                    <a:gd name="T80" fmla="*/ 16 w 205"/>
                    <a:gd name="T81" fmla="*/ 254 h 610"/>
                    <a:gd name="T82" fmla="*/ 8 w 205"/>
                    <a:gd name="T83" fmla="*/ 206 h 610"/>
                    <a:gd name="T84" fmla="*/ 3 w 205"/>
                    <a:gd name="T85" fmla="*/ 163 h 610"/>
                    <a:gd name="T86" fmla="*/ 0 w 205"/>
                    <a:gd name="T87" fmla="*/ 126 h 610"/>
                    <a:gd name="T88" fmla="*/ 2 w 205"/>
                    <a:gd name="T89" fmla="*/ 96 h 610"/>
                    <a:gd name="T90" fmla="*/ 6 w 205"/>
                    <a:gd name="T91" fmla="*/ 71 h 610"/>
                    <a:gd name="T92" fmla="*/ 16 w 205"/>
                    <a:gd name="T93" fmla="*/ 51 h 610"/>
                    <a:gd name="T94" fmla="*/ 29 w 205"/>
                    <a:gd name="T95" fmla="*/ 36 h 610"/>
                    <a:gd name="T96" fmla="*/ 48 w 205"/>
                    <a:gd name="T97" fmla="*/ 27 h 610"/>
                    <a:gd name="T98" fmla="*/ 59 w 205"/>
                    <a:gd name="T99" fmla="*/ 25 h 610"/>
                    <a:gd name="T100" fmla="*/ 66 w 205"/>
                    <a:gd name="T101" fmla="*/ 22 h 610"/>
                    <a:gd name="T102" fmla="*/ 76 w 205"/>
                    <a:gd name="T103" fmla="*/ 17 h 610"/>
                    <a:gd name="T104" fmla="*/ 88 w 205"/>
                    <a:gd name="T105" fmla="*/ 10 h 610"/>
                    <a:gd name="T106" fmla="*/ 104 w 205"/>
                    <a:gd name="T107" fmla="*/ 0 h 6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205" h="610">
                      <a:moveTo>
                        <a:pt x="104" y="0"/>
                      </a:moveTo>
                      <a:lnTo>
                        <a:pt x="107" y="1"/>
                      </a:lnTo>
                      <a:lnTo>
                        <a:pt x="114" y="7"/>
                      </a:lnTo>
                      <a:lnTo>
                        <a:pt x="125" y="16"/>
                      </a:lnTo>
                      <a:lnTo>
                        <a:pt x="139" y="26"/>
                      </a:lnTo>
                      <a:lnTo>
                        <a:pt x="155" y="38"/>
                      </a:lnTo>
                      <a:lnTo>
                        <a:pt x="172" y="51"/>
                      </a:lnTo>
                      <a:lnTo>
                        <a:pt x="189" y="65"/>
                      </a:lnTo>
                      <a:lnTo>
                        <a:pt x="205" y="80"/>
                      </a:lnTo>
                      <a:lnTo>
                        <a:pt x="204" y="81"/>
                      </a:lnTo>
                      <a:lnTo>
                        <a:pt x="197" y="84"/>
                      </a:lnTo>
                      <a:lnTo>
                        <a:pt x="188" y="91"/>
                      </a:lnTo>
                      <a:lnTo>
                        <a:pt x="176" y="102"/>
                      </a:lnTo>
                      <a:lnTo>
                        <a:pt x="165" y="116"/>
                      </a:lnTo>
                      <a:lnTo>
                        <a:pt x="152" y="132"/>
                      </a:lnTo>
                      <a:lnTo>
                        <a:pt x="140" y="154"/>
                      </a:lnTo>
                      <a:lnTo>
                        <a:pt x="130" y="180"/>
                      </a:lnTo>
                      <a:lnTo>
                        <a:pt x="123" y="209"/>
                      </a:lnTo>
                      <a:lnTo>
                        <a:pt x="118" y="244"/>
                      </a:lnTo>
                      <a:lnTo>
                        <a:pt x="120" y="283"/>
                      </a:lnTo>
                      <a:lnTo>
                        <a:pt x="121" y="317"/>
                      </a:lnTo>
                      <a:lnTo>
                        <a:pt x="123" y="352"/>
                      </a:lnTo>
                      <a:lnTo>
                        <a:pt x="124" y="387"/>
                      </a:lnTo>
                      <a:lnTo>
                        <a:pt x="125" y="426"/>
                      </a:lnTo>
                      <a:lnTo>
                        <a:pt x="125" y="469"/>
                      </a:lnTo>
                      <a:lnTo>
                        <a:pt x="125" y="520"/>
                      </a:lnTo>
                      <a:lnTo>
                        <a:pt x="125" y="580"/>
                      </a:lnTo>
                      <a:lnTo>
                        <a:pt x="124" y="594"/>
                      </a:lnTo>
                      <a:lnTo>
                        <a:pt x="120" y="605"/>
                      </a:lnTo>
                      <a:lnTo>
                        <a:pt x="112" y="609"/>
                      </a:lnTo>
                      <a:lnTo>
                        <a:pt x="105" y="610"/>
                      </a:lnTo>
                      <a:lnTo>
                        <a:pt x="96" y="609"/>
                      </a:lnTo>
                      <a:lnTo>
                        <a:pt x="88" y="605"/>
                      </a:lnTo>
                      <a:lnTo>
                        <a:pt x="80" y="599"/>
                      </a:lnTo>
                      <a:lnTo>
                        <a:pt x="75" y="591"/>
                      </a:lnTo>
                      <a:lnTo>
                        <a:pt x="73" y="586"/>
                      </a:lnTo>
                      <a:lnTo>
                        <a:pt x="60" y="507"/>
                      </a:lnTo>
                      <a:lnTo>
                        <a:pt x="48" y="434"/>
                      </a:lnTo>
                      <a:lnTo>
                        <a:pt x="35" y="368"/>
                      </a:lnTo>
                      <a:lnTo>
                        <a:pt x="25" y="308"/>
                      </a:lnTo>
                      <a:lnTo>
                        <a:pt x="16" y="254"/>
                      </a:lnTo>
                      <a:lnTo>
                        <a:pt x="8" y="206"/>
                      </a:lnTo>
                      <a:lnTo>
                        <a:pt x="3" y="163"/>
                      </a:lnTo>
                      <a:lnTo>
                        <a:pt x="0" y="126"/>
                      </a:lnTo>
                      <a:lnTo>
                        <a:pt x="2" y="96"/>
                      </a:lnTo>
                      <a:lnTo>
                        <a:pt x="6" y="71"/>
                      </a:lnTo>
                      <a:lnTo>
                        <a:pt x="16" y="51"/>
                      </a:lnTo>
                      <a:lnTo>
                        <a:pt x="29" y="36"/>
                      </a:lnTo>
                      <a:lnTo>
                        <a:pt x="48" y="27"/>
                      </a:lnTo>
                      <a:lnTo>
                        <a:pt x="59" y="25"/>
                      </a:lnTo>
                      <a:lnTo>
                        <a:pt x="66" y="22"/>
                      </a:lnTo>
                      <a:lnTo>
                        <a:pt x="76" y="17"/>
                      </a:lnTo>
                      <a:lnTo>
                        <a:pt x="88" y="10"/>
                      </a:lnTo>
                      <a:lnTo>
                        <a:pt x="104" y="0"/>
                      </a:lnTo>
                      <a:close/>
                    </a:path>
                  </a:pathLst>
                </a:custGeom>
                <a:solidFill>
                  <a:srgbClr val="5FDDFE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58" name="Freeform 39"/>
                <p:cNvSpPr>
                  <a:spLocks/>
                </p:cNvSpPr>
                <p:nvPr/>
              </p:nvSpPr>
              <p:spPr bwMode="auto">
                <a:xfrm>
                  <a:off x="3952876" y="4749800"/>
                  <a:ext cx="69850" cy="341313"/>
                </a:xfrm>
                <a:custGeom>
                  <a:avLst/>
                  <a:gdLst>
                    <a:gd name="T0" fmla="*/ 44 w 44"/>
                    <a:gd name="T1" fmla="*/ 0 h 215"/>
                    <a:gd name="T2" fmla="*/ 35 w 44"/>
                    <a:gd name="T3" fmla="*/ 42 h 215"/>
                    <a:gd name="T4" fmla="*/ 25 w 44"/>
                    <a:gd name="T5" fmla="*/ 92 h 215"/>
                    <a:gd name="T6" fmla="*/ 12 w 44"/>
                    <a:gd name="T7" fmla="*/ 150 h 215"/>
                    <a:gd name="T8" fmla="*/ 0 w 44"/>
                    <a:gd name="T9" fmla="*/ 215 h 215"/>
                    <a:gd name="T10" fmla="*/ 0 w 44"/>
                    <a:gd name="T11" fmla="*/ 215 h 215"/>
                    <a:gd name="T12" fmla="*/ 12 w 44"/>
                    <a:gd name="T13" fmla="*/ 150 h 215"/>
                    <a:gd name="T14" fmla="*/ 23 w 44"/>
                    <a:gd name="T15" fmla="*/ 92 h 215"/>
                    <a:gd name="T16" fmla="*/ 35 w 44"/>
                    <a:gd name="T17" fmla="*/ 42 h 215"/>
                    <a:gd name="T18" fmla="*/ 44 w 44"/>
                    <a:gd name="T19" fmla="*/ 0 h 215"/>
                    <a:gd name="T20" fmla="*/ 44 w 44"/>
                    <a:gd name="T21" fmla="*/ 0 h 2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4" h="215">
                      <a:moveTo>
                        <a:pt x="44" y="0"/>
                      </a:moveTo>
                      <a:lnTo>
                        <a:pt x="35" y="42"/>
                      </a:lnTo>
                      <a:lnTo>
                        <a:pt x="25" y="92"/>
                      </a:lnTo>
                      <a:lnTo>
                        <a:pt x="12" y="150"/>
                      </a:lnTo>
                      <a:lnTo>
                        <a:pt x="0" y="215"/>
                      </a:lnTo>
                      <a:lnTo>
                        <a:pt x="0" y="215"/>
                      </a:lnTo>
                      <a:lnTo>
                        <a:pt x="12" y="150"/>
                      </a:lnTo>
                      <a:lnTo>
                        <a:pt x="23" y="92"/>
                      </a:lnTo>
                      <a:lnTo>
                        <a:pt x="35" y="42"/>
                      </a:lnTo>
                      <a:lnTo>
                        <a:pt x="44" y="0"/>
                      </a:lnTo>
                      <a:lnTo>
                        <a:pt x="44" y="0"/>
                      </a:lnTo>
                      <a:close/>
                    </a:path>
                  </a:pathLst>
                </a:custGeom>
                <a:solidFill>
                  <a:srgbClr val="5FDDFE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59" name="Freeform 40"/>
                <p:cNvSpPr>
                  <a:spLocks/>
                </p:cNvSpPr>
                <p:nvPr/>
              </p:nvSpPr>
              <p:spPr bwMode="auto">
                <a:xfrm>
                  <a:off x="3937001" y="5091113"/>
                  <a:ext cx="15875" cy="90488"/>
                </a:xfrm>
                <a:custGeom>
                  <a:avLst/>
                  <a:gdLst>
                    <a:gd name="T0" fmla="*/ 10 w 10"/>
                    <a:gd name="T1" fmla="*/ 0 h 57"/>
                    <a:gd name="T2" fmla="*/ 0 w 10"/>
                    <a:gd name="T3" fmla="*/ 57 h 57"/>
                    <a:gd name="T4" fmla="*/ 0 w 10"/>
                    <a:gd name="T5" fmla="*/ 57 h 57"/>
                    <a:gd name="T6" fmla="*/ 10 w 10"/>
                    <a:gd name="T7" fmla="*/ 0 h 57"/>
                    <a:gd name="T8" fmla="*/ 10 w 10"/>
                    <a:gd name="T9" fmla="*/ 0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57">
                      <a:moveTo>
                        <a:pt x="10" y="0"/>
                      </a:moveTo>
                      <a:lnTo>
                        <a:pt x="0" y="57"/>
                      </a:lnTo>
                      <a:lnTo>
                        <a:pt x="0" y="57"/>
                      </a:lnTo>
                      <a:lnTo>
                        <a:pt x="10" y="0"/>
                      </a:lnTo>
                      <a:lnTo>
                        <a:pt x="10" y="0"/>
                      </a:lnTo>
                      <a:close/>
                    </a:path>
                  </a:pathLst>
                </a:custGeom>
                <a:solidFill>
                  <a:srgbClr val="52BAD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60" name="Freeform 41"/>
                <p:cNvSpPr>
                  <a:spLocks/>
                </p:cNvSpPr>
                <p:nvPr/>
              </p:nvSpPr>
              <p:spPr bwMode="auto">
                <a:xfrm>
                  <a:off x="3916363" y="5181600"/>
                  <a:ext cx="20638" cy="133350"/>
                </a:xfrm>
                <a:custGeom>
                  <a:avLst/>
                  <a:gdLst>
                    <a:gd name="T0" fmla="*/ 13 w 13"/>
                    <a:gd name="T1" fmla="*/ 0 h 84"/>
                    <a:gd name="T2" fmla="*/ 13 w 13"/>
                    <a:gd name="T3" fmla="*/ 0 h 84"/>
                    <a:gd name="T4" fmla="*/ 0 w 13"/>
                    <a:gd name="T5" fmla="*/ 84 h 84"/>
                    <a:gd name="T6" fmla="*/ 13 w 13"/>
                    <a:gd name="T7" fmla="*/ 0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3" h="84">
                      <a:moveTo>
                        <a:pt x="13" y="0"/>
                      </a:moveTo>
                      <a:lnTo>
                        <a:pt x="13" y="0"/>
                      </a:lnTo>
                      <a:lnTo>
                        <a:pt x="0" y="84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5FD0D6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61" name="Freeform 42"/>
                <p:cNvSpPr>
                  <a:spLocks/>
                </p:cNvSpPr>
                <p:nvPr/>
              </p:nvSpPr>
              <p:spPr bwMode="auto">
                <a:xfrm>
                  <a:off x="4044951" y="4519613"/>
                  <a:ext cx="9525" cy="93663"/>
                </a:xfrm>
                <a:custGeom>
                  <a:avLst/>
                  <a:gdLst>
                    <a:gd name="T0" fmla="*/ 0 w 6"/>
                    <a:gd name="T1" fmla="*/ 0 h 59"/>
                    <a:gd name="T2" fmla="*/ 4 w 6"/>
                    <a:gd name="T3" fmla="*/ 16 h 59"/>
                    <a:gd name="T4" fmla="*/ 6 w 6"/>
                    <a:gd name="T5" fmla="*/ 35 h 59"/>
                    <a:gd name="T6" fmla="*/ 3 w 6"/>
                    <a:gd name="T7" fmla="*/ 59 h 59"/>
                    <a:gd name="T8" fmla="*/ 3 w 6"/>
                    <a:gd name="T9" fmla="*/ 59 h 59"/>
                    <a:gd name="T10" fmla="*/ 6 w 6"/>
                    <a:gd name="T11" fmla="*/ 35 h 59"/>
                    <a:gd name="T12" fmla="*/ 4 w 6"/>
                    <a:gd name="T13" fmla="*/ 16 h 59"/>
                    <a:gd name="T14" fmla="*/ 0 w 6"/>
                    <a:gd name="T15" fmla="*/ 1 h 59"/>
                    <a:gd name="T16" fmla="*/ 0 w 6"/>
                    <a:gd name="T17" fmla="*/ 0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" h="59">
                      <a:moveTo>
                        <a:pt x="0" y="0"/>
                      </a:moveTo>
                      <a:lnTo>
                        <a:pt x="4" y="16"/>
                      </a:lnTo>
                      <a:lnTo>
                        <a:pt x="6" y="35"/>
                      </a:lnTo>
                      <a:lnTo>
                        <a:pt x="3" y="59"/>
                      </a:lnTo>
                      <a:lnTo>
                        <a:pt x="3" y="59"/>
                      </a:lnTo>
                      <a:lnTo>
                        <a:pt x="6" y="35"/>
                      </a:lnTo>
                      <a:lnTo>
                        <a:pt x="4" y="16"/>
                      </a:lnTo>
                      <a:lnTo>
                        <a:pt x="0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3040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62" name="Freeform 43"/>
                <p:cNvSpPr>
                  <a:spLocks/>
                </p:cNvSpPr>
                <p:nvPr/>
              </p:nvSpPr>
              <p:spPr bwMode="auto">
                <a:xfrm>
                  <a:off x="3957638" y="4459288"/>
                  <a:ext cx="87313" cy="61913"/>
                </a:xfrm>
                <a:custGeom>
                  <a:avLst/>
                  <a:gdLst>
                    <a:gd name="T0" fmla="*/ 0 w 55"/>
                    <a:gd name="T1" fmla="*/ 0 h 39"/>
                    <a:gd name="T2" fmla="*/ 20 w 55"/>
                    <a:gd name="T3" fmla="*/ 9 h 39"/>
                    <a:gd name="T4" fmla="*/ 36 w 55"/>
                    <a:gd name="T5" fmla="*/ 16 h 39"/>
                    <a:gd name="T6" fmla="*/ 48 w 55"/>
                    <a:gd name="T7" fmla="*/ 26 h 39"/>
                    <a:gd name="T8" fmla="*/ 55 w 55"/>
                    <a:gd name="T9" fmla="*/ 38 h 39"/>
                    <a:gd name="T10" fmla="*/ 55 w 55"/>
                    <a:gd name="T11" fmla="*/ 39 h 39"/>
                    <a:gd name="T12" fmla="*/ 48 w 55"/>
                    <a:gd name="T13" fmla="*/ 26 h 39"/>
                    <a:gd name="T14" fmla="*/ 36 w 55"/>
                    <a:gd name="T15" fmla="*/ 17 h 39"/>
                    <a:gd name="T16" fmla="*/ 20 w 55"/>
                    <a:gd name="T17" fmla="*/ 9 h 39"/>
                    <a:gd name="T18" fmla="*/ 0 w 55"/>
                    <a:gd name="T19" fmla="*/ 0 h 39"/>
                    <a:gd name="T20" fmla="*/ 0 w 55"/>
                    <a:gd name="T21" fmla="*/ 0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5" h="39">
                      <a:moveTo>
                        <a:pt x="0" y="0"/>
                      </a:moveTo>
                      <a:lnTo>
                        <a:pt x="20" y="9"/>
                      </a:lnTo>
                      <a:lnTo>
                        <a:pt x="36" y="16"/>
                      </a:lnTo>
                      <a:lnTo>
                        <a:pt x="48" y="26"/>
                      </a:lnTo>
                      <a:lnTo>
                        <a:pt x="55" y="38"/>
                      </a:lnTo>
                      <a:lnTo>
                        <a:pt x="55" y="39"/>
                      </a:lnTo>
                      <a:lnTo>
                        <a:pt x="48" y="26"/>
                      </a:lnTo>
                      <a:lnTo>
                        <a:pt x="36" y="17"/>
                      </a:lnTo>
                      <a:lnTo>
                        <a:pt x="20" y="9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3040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63" name="Freeform 44"/>
                <p:cNvSpPr>
                  <a:spLocks/>
                </p:cNvSpPr>
                <p:nvPr/>
              </p:nvSpPr>
              <p:spPr bwMode="auto">
                <a:xfrm>
                  <a:off x="4022726" y="4710113"/>
                  <a:ext cx="7938" cy="39688"/>
                </a:xfrm>
                <a:custGeom>
                  <a:avLst/>
                  <a:gdLst>
                    <a:gd name="T0" fmla="*/ 5 w 5"/>
                    <a:gd name="T1" fmla="*/ 0 h 25"/>
                    <a:gd name="T2" fmla="*/ 5 w 5"/>
                    <a:gd name="T3" fmla="*/ 0 h 25"/>
                    <a:gd name="T4" fmla="*/ 0 w 5"/>
                    <a:gd name="T5" fmla="*/ 25 h 25"/>
                    <a:gd name="T6" fmla="*/ 0 w 5"/>
                    <a:gd name="T7" fmla="*/ 25 h 25"/>
                    <a:gd name="T8" fmla="*/ 5 w 5"/>
                    <a:gd name="T9" fmla="*/ 0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25">
                      <a:moveTo>
                        <a:pt x="5" y="0"/>
                      </a:moveTo>
                      <a:lnTo>
                        <a:pt x="5" y="0"/>
                      </a:lnTo>
                      <a:lnTo>
                        <a:pt x="0" y="25"/>
                      </a:lnTo>
                      <a:lnTo>
                        <a:pt x="0" y="25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0D1616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64" name="Freeform 45"/>
                <p:cNvSpPr>
                  <a:spLocks/>
                </p:cNvSpPr>
                <p:nvPr/>
              </p:nvSpPr>
              <p:spPr bwMode="auto">
                <a:xfrm>
                  <a:off x="4044951" y="4613275"/>
                  <a:ext cx="4763" cy="23813"/>
                </a:xfrm>
                <a:custGeom>
                  <a:avLst/>
                  <a:gdLst>
                    <a:gd name="T0" fmla="*/ 3 w 3"/>
                    <a:gd name="T1" fmla="*/ 0 h 15"/>
                    <a:gd name="T2" fmla="*/ 3 w 3"/>
                    <a:gd name="T3" fmla="*/ 0 h 15"/>
                    <a:gd name="T4" fmla="*/ 0 w 3"/>
                    <a:gd name="T5" fmla="*/ 15 h 15"/>
                    <a:gd name="T6" fmla="*/ 0 w 3"/>
                    <a:gd name="T7" fmla="*/ 13 h 15"/>
                    <a:gd name="T8" fmla="*/ 3 w 3"/>
                    <a:gd name="T9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15">
                      <a:moveTo>
                        <a:pt x="3" y="0"/>
                      </a:moveTo>
                      <a:lnTo>
                        <a:pt x="3" y="0"/>
                      </a:lnTo>
                      <a:lnTo>
                        <a:pt x="0" y="15"/>
                      </a:lnTo>
                      <a:lnTo>
                        <a:pt x="0" y="13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65" name="Freeform 46"/>
                <p:cNvSpPr>
                  <a:spLocks/>
                </p:cNvSpPr>
                <p:nvPr/>
              </p:nvSpPr>
              <p:spPr bwMode="auto">
                <a:xfrm>
                  <a:off x="4030663" y="4633913"/>
                  <a:ext cx="14288" cy="76200"/>
                </a:xfrm>
                <a:custGeom>
                  <a:avLst/>
                  <a:gdLst>
                    <a:gd name="T0" fmla="*/ 9 w 9"/>
                    <a:gd name="T1" fmla="*/ 0 h 48"/>
                    <a:gd name="T2" fmla="*/ 9 w 9"/>
                    <a:gd name="T3" fmla="*/ 2 h 48"/>
                    <a:gd name="T4" fmla="*/ 6 w 9"/>
                    <a:gd name="T5" fmla="*/ 24 h 48"/>
                    <a:gd name="T6" fmla="*/ 0 w 9"/>
                    <a:gd name="T7" fmla="*/ 48 h 48"/>
                    <a:gd name="T8" fmla="*/ 0 w 9"/>
                    <a:gd name="T9" fmla="*/ 48 h 48"/>
                    <a:gd name="T10" fmla="*/ 6 w 9"/>
                    <a:gd name="T11" fmla="*/ 22 h 48"/>
                    <a:gd name="T12" fmla="*/ 9 w 9"/>
                    <a:gd name="T13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48">
                      <a:moveTo>
                        <a:pt x="9" y="0"/>
                      </a:moveTo>
                      <a:lnTo>
                        <a:pt x="9" y="2"/>
                      </a:lnTo>
                      <a:lnTo>
                        <a:pt x="6" y="24"/>
                      </a:lnTo>
                      <a:lnTo>
                        <a:pt x="0" y="48"/>
                      </a:lnTo>
                      <a:lnTo>
                        <a:pt x="0" y="48"/>
                      </a:lnTo>
                      <a:lnTo>
                        <a:pt x="6" y="22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66" name="Freeform 47"/>
                <p:cNvSpPr>
                  <a:spLocks noEditPoints="1"/>
                </p:cNvSpPr>
                <p:nvPr/>
              </p:nvSpPr>
              <p:spPr bwMode="auto">
                <a:xfrm>
                  <a:off x="3582988" y="4449763"/>
                  <a:ext cx="374650" cy="100013"/>
                </a:xfrm>
                <a:custGeom>
                  <a:avLst/>
                  <a:gdLst>
                    <a:gd name="T0" fmla="*/ 231 w 236"/>
                    <a:gd name="T1" fmla="*/ 4 h 63"/>
                    <a:gd name="T2" fmla="*/ 236 w 236"/>
                    <a:gd name="T3" fmla="*/ 6 h 63"/>
                    <a:gd name="T4" fmla="*/ 236 w 236"/>
                    <a:gd name="T5" fmla="*/ 6 h 63"/>
                    <a:gd name="T6" fmla="*/ 231 w 236"/>
                    <a:gd name="T7" fmla="*/ 4 h 63"/>
                    <a:gd name="T8" fmla="*/ 32 w 236"/>
                    <a:gd name="T9" fmla="*/ 0 h 63"/>
                    <a:gd name="T10" fmla="*/ 67 w 236"/>
                    <a:gd name="T11" fmla="*/ 0 h 63"/>
                    <a:gd name="T12" fmla="*/ 102 w 236"/>
                    <a:gd name="T13" fmla="*/ 0 h 63"/>
                    <a:gd name="T14" fmla="*/ 135 w 236"/>
                    <a:gd name="T15" fmla="*/ 2 h 63"/>
                    <a:gd name="T16" fmla="*/ 166 w 236"/>
                    <a:gd name="T17" fmla="*/ 3 h 63"/>
                    <a:gd name="T18" fmla="*/ 192 w 236"/>
                    <a:gd name="T19" fmla="*/ 3 h 63"/>
                    <a:gd name="T20" fmla="*/ 214 w 236"/>
                    <a:gd name="T21" fmla="*/ 4 h 63"/>
                    <a:gd name="T22" fmla="*/ 227 w 236"/>
                    <a:gd name="T23" fmla="*/ 4 h 63"/>
                    <a:gd name="T24" fmla="*/ 231 w 236"/>
                    <a:gd name="T25" fmla="*/ 4 h 63"/>
                    <a:gd name="T26" fmla="*/ 229 w 236"/>
                    <a:gd name="T27" fmla="*/ 6 h 63"/>
                    <a:gd name="T28" fmla="*/ 221 w 236"/>
                    <a:gd name="T29" fmla="*/ 12 h 63"/>
                    <a:gd name="T30" fmla="*/ 208 w 236"/>
                    <a:gd name="T31" fmla="*/ 19 h 63"/>
                    <a:gd name="T32" fmla="*/ 191 w 236"/>
                    <a:gd name="T33" fmla="*/ 29 h 63"/>
                    <a:gd name="T34" fmla="*/ 167 w 236"/>
                    <a:gd name="T35" fmla="*/ 44 h 63"/>
                    <a:gd name="T36" fmla="*/ 140 w 236"/>
                    <a:gd name="T37" fmla="*/ 63 h 63"/>
                    <a:gd name="T38" fmla="*/ 114 w 236"/>
                    <a:gd name="T39" fmla="*/ 52 h 63"/>
                    <a:gd name="T40" fmla="*/ 83 w 236"/>
                    <a:gd name="T41" fmla="*/ 44 h 63"/>
                    <a:gd name="T42" fmla="*/ 48 w 236"/>
                    <a:gd name="T43" fmla="*/ 36 h 63"/>
                    <a:gd name="T44" fmla="*/ 23 w 236"/>
                    <a:gd name="T45" fmla="*/ 18 h 63"/>
                    <a:gd name="T46" fmla="*/ 0 w 236"/>
                    <a:gd name="T47" fmla="*/ 0 h 63"/>
                    <a:gd name="T48" fmla="*/ 32 w 236"/>
                    <a:gd name="T49" fmla="*/ 0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236" h="63">
                      <a:moveTo>
                        <a:pt x="231" y="4"/>
                      </a:moveTo>
                      <a:lnTo>
                        <a:pt x="236" y="6"/>
                      </a:lnTo>
                      <a:lnTo>
                        <a:pt x="236" y="6"/>
                      </a:lnTo>
                      <a:lnTo>
                        <a:pt x="231" y="4"/>
                      </a:lnTo>
                      <a:close/>
                      <a:moveTo>
                        <a:pt x="32" y="0"/>
                      </a:moveTo>
                      <a:lnTo>
                        <a:pt x="67" y="0"/>
                      </a:lnTo>
                      <a:lnTo>
                        <a:pt x="102" y="0"/>
                      </a:lnTo>
                      <a:lnTo>
                        <a:pt x="135" y="2"/>
                      </a:lnTo>
                      <a:lnTo>
                        <a:pt x="166" y="3"/>
                      </a:lnTo>
                      <a:lnTo>
                        <a:pt x="192" y="3"/>
                      </a:lnTo>
                      <a:lnTo>
                        <a:pt x="214" y="4"/>
                      </a:lnTo>
                      <a:lnTo>
                        <a:pt x="227" y="4"/>
                      </a:lnTo>
                      <a:lnTo>
                        <a:pt x="231" y="4"/>
                      </a:lnTo>
                      <a:lnTo>
                        <a:pt x="229" y="6"/>
                      </a:lnTo>
                      <a:lnTo>
                        <a:pt x="221" y="12"/>
                      </a:lnTo>
                      <a:lnTo>
                        <a:pt x="208" y="19"/>
                      </a:lnTo>
                      <a:lnTo>
                        <a:pt x="191" y="29"/>
                      </a:lnTo>
                      <a:lnTo>
                        <a:pt x="167" y="44"/>
                      </a:lnTo>
                      <a:lnTo>
                        <a:pt x="140" y="63"/>
                      </a:lnTo>
                      <a:lnTo>
                        <a:pt x="114" y="52"/>
                      </a:lnTo>
                      <a:lnTo>
                        <a:pt x="83" y="44"/>
                      </a:lnTo>
                      <a:lnTo>
                        <a:pt x="48" y="36"/>
                      </a:lnTo>
                      <a:lnTo>
                        <a:pt x="23" y="18"/>
                      </a:lnTo>
                      <a:lnTo>
                        <a:pt x="0" y="0"/>
                      </a:lnTo>
                      <a:lnTo>
                        <a:pt x="32" y="0"/>
                      </a:lnTo>
                      <a:close/>
                    </a:path>
                  </a:pathLst>
                </a:custGeom>
                <a:solidFill>
                  <a:srgbClr val="23C0FD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67" name="Freeform 48"/>
                <p:cNvSpPr>
                  <a:spLocks/>
                </p:cNvSpPr>
                <p:nvPr/>
              </p:nvSpPr>
              <p:spPr bwMode="auto">
                <a:xfrm>
                  <a:off x="3805238" y="4456113"/>
                  <a:ext cx="249238" cy="868363"/>
                </a:xfrm>
                <a:custGeom>
                  <a:avLst/>
                  <a:gdLst>
                    <a:gd name="T0" fmla="*/ 91 w 157"/>
                    <a:gd name="T1" fmla="*/ 0 h 547"/>
                    <a:gd name="T2" fmla="*/ 96 w 157"/>
                    <a:gd name="T3" fmla="*/ 2 h 547"/>
                    <a:gd name="T4" fmla="*/ 116 w 157"/>
                    <a:gd name="T5" fmla="*/ 11 h 547"/>
                    <a:gd name="T6" fmla="*/ 132 w 157"/>
                    <a:gd name="T7" fmla="*/ 19 h 547"/>
                    <a:gd name="T8" fmla="*/ 144 w 157"/>
                    <a:gd name="T9" fmla="*/ 28 h 547"/>
                    <a:gd name="T10" fmla="*/ 151 w 157"/>
                    <a:gd name="T11" fmla="*/ 41 h 547"/>
                    <a:gd name="T12" fmla="*/ 155 w 157"/>
                    <a:gd name="T13" fmla="*/ 56 h 547"/>
                    <a:gd name="T14" fmla="*/ 157 w 157"/>
                    <a:gd name="T15" fmla="*/ 75 h 547"/>
                    <a:gd name="T16" fmla="*/ 154 w 157"/>
                    <a:gd name="T17" fmla="*/ 99 h 547"/>
                    <a:gd name="T18" fmla="*/ 151 w 157"/>
                    <a:gd name="T19" fmla="*/ 112 h 547"/>
                    <a:gd name="T20" fmla="*/ 148 w 157"/>
                    <a:gd name="T21" fmla="*/ 134 h 547"/>
                    <a:gd name="T22" fmla="*/ 142 w 157"/>
                    <a:gd name="T23" fmla="*/ 160 h 547"/>
                    <a:gd name="T24" fmla="*/ 137 w 157"/>
                    <a:gd name="T25" fmla="*/ 185 h 547"/>
                    <a:gd name="T26" fmla="*/ 128 w 157"/>
                    <a:gd name="T27" fmla="*/ 227 h 547"/>
                    <a:gd name="T28" fmla="*/ 116 w 157"/>
                    <a:gd name="T29" fmla="*/ 277 h 547"/>
                    <a:gd name="T30" fmla="*/ 105 w 157"/>
                    <a:gd name="T31" fmla="*/ 335 h 547"/>
                    <a:gd name="T32" fmla="*/ 93 w 157"/>
                    <a:gd name="T33" fmla="*/ 400 h 547"/>
                    <a:gd name="T34" fmla="*/ 83 w 157"/>
                    <a:gd name="T35" fmla="*/ 457 h 547"/>
                    <a:gd name="T36" fmla="*/ 70 w 157"/>
                    <a:gd name="T37" fmla="*/ 541 h 547"/>
                    <a:gd name="T38" fmla="*/ 68 w 157"/>
                    <a:gd name="T39" fmla="*/ 547 h 547"/>
                    <a:gd name="T40" fmla="*/ 59 w 157"/>
                    <a:gd name="T41" fmla="*/ 544 h 547"/>
                    <a:gd name="T42" fmla="*/ 73 w 157"/>
                    <a:gd name="T43" fmla="*/ 441 h 547"/>
                    <a:gd name="T44" fmla="*/ 83 w 157"/>
                    <a:gd name="T45" fmla="*/ 336 h 547"/>
                    <a:gd name="T46" fmla="*/ 93 w 157"/>
                    <a:gd name="T47" fmla="*/ 233 h 547"/>
                    <a:gd name="T48" fmla="*/ 94 w 157"/>
                    <a:gd name="T49" fmla="*/ 211 h 547"/>
                    <a:gd name="T50" fmla="*/ 94 w 157"/>
                    <a:gd name="T51" fmla="*/ 189 h 547"/>
                    <a:gd name="T52" fmla="*/ 90 w 157"/>
                    <a:gd name="T53" fmla="*/ 166 h 547"/>
                    <a:gd name="T54" fmla="*/ 83 w 157"/>
                    <a:gd name="T55" fmla="*/ 141 h 547"/>
                    <a:gd name="T56" fmla="*/ 71 w 157"/>
                    <a:gd name="T57" fmla="*/ 118 h 547"/>
                    <a:gd name="T58" fmla="*/ 54 w 157"/>
                    <a:gd name="T59" fmla="*/ 96 h 547"/>
                    <a:gd name="T60" fmla="*/ 30 w 157"/>
                    <a:gd name="T61" fmla="*/ 76 h 547"/>
                    <a:gd name="T62" fmla="*/ 0 w 157"/>
                    <a:gd name="T63" fmla="*/ 59 h 547"/>
                    <a:gd name="T64" fmla="*/ 27 w 157"/>
                    <a:gd name="T65" fmla="*/ 40 h 547"/>
                    <a:gd name="T66" fmla="*/ 51 w 157"/>
                    <a:gd name="T67" fmla="*/ 25 h 547"/>
                    <a:gd name="T68" fmla="*/ 68 w 157"/>
                    <a:gd name="T69" fmla="*/ 15 h 547"/>
                    <a:gd name="T70" fmla="*/ 81 w 157"/>
                    <a:gd name="T71" fmla="*/ 8 h 547"/>
                    <a:gd name="T72" fmla="*/ 89 w 157"/>
                    <a:gd name="T73" fmla="*/ 2 h 547"/>
                    <a:gd name="T74" fmla="*/ 91 w 157"/>
                    <a:gd name="T75" fmla="*/ 0 h 5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157" h="547">
                      <a:moveTo>
                        <a:pt x="91" y="0"/>
                      </a:moveTo>
                      <a:lnTo>
                        <a:pt x="96" y="2"/>
                      </a:lnTo>
                      <a:lnTo>
                        <a:pt x="116" y="11"/>
                      </a:lnTo>
                      <a:lnTo>
                        <a:pt x="132" y="19"/>
                      </a:lnTo>
                      <a:lnTo>
                        <a:pt x="144" y="28"/>
                      </a:lnTo>
                      <a:lnTo>
                        <a:pt x="151" y="41"/>
                      </a:lnTo>
                      <a:lnTo>
                        <a:pt x="155" y="56"/>
                      </a:lnTo>
                      <a:lnTo>
                        <a:pt x="157" y="75"/>
                      </a:lnTo>
                      <a:lnTo>
                        <a:pt x="154" y="99"/>
                      </a:lnTo>
                      <a:lnTo>
                        <a:pt x="151" y="112"/>
                      </a:lnTo>
                      <a:lnTo>
                        <a:pt x="148" y="134"/>
                      </a:lnTo>
                      <a:lnTo>
                        <a:pt x="142" y="160"/>
                      </a:lnTo>
                      <a:lnTo>
                        <a:pt x="137" y="185"/>
                      </a:lnTo>
                      <a:lnTo>
                        <a:pt x="128" y="227"/>
                      </a:lnTo>
                      <a:lnTo>
                        <a:pt x="116" y="277"/>
                      </a:lnTo>
                      <a:lnTo>
                        <a:pt x="105" y="335"/>
                      </a:lnTo>
                      <a:lnTo>
                        <a:pt x="93" y="400"/>
                      </a:lnTo>
                      <a:lnTo>
                        <a:pt x="83" y="457"/>
                      </a:lnTo>
                      <a:lnTo>
                        <a:pt x="70" y="541"/>
                      </a:lnTo>
                      <a:lnTo>
                        <a:pt x="68" y="547"/>
                      </a:lnTo>
                      <a:lnTo>
                        <a:pt x="59" y="544"/>
                      </a:lnTo>
                      <a:lnTo>
                        <a:pt x="73" y="441"/>
                      </a:lnTo>
                      <a:lnTo>
                        <a:pt x="83" y="336"/>
                      </a:lnTo>
                      <a:lnTo>
                        <a:pt x="93" y="233"/>
                      </a:lnTo>
                      <a:lnTo>
                        <a:pt x="94" y="211"/>
                      </a:lnTo>
                      <a:lnTo>
                        <a:pt x="94" y="189"/>
                      </a:lnTo>
                      <a:lnTo>
                        <a:pt x="90" y="166"/>
                      </a:lnTo>
                      <a:lnTo>
                        <a:pt x="83" y="141"/>
                      </a:lnTo>
                      <a:lnTo>
                        <a:pt x="71" y="118"/>
                      </a:lnTo>
                      <a:lnTo>
                        <a:pt x="54" y="96"/>
                      </a:lnTo>
                      <a:lnTo>
                        <a:pt x="30" y="76"/>
                      </a:lnTo>
                      <a:lnTo>
                        <a:pt x="0" y="59"/>
                      </a:lnTo>
                      <a:lnTo>
                        <a:pt x="27" y="40"/>
                      </a:lnTo>
                      <a:lnTo>
                        <a:pt x="51" y="25"/>
                      </a:lnTo>
                      <a:lnTo>
                        <a:pt x="68" y="15"/>
                      </a:lnTo>
                      <a:lnTo>
                        <a:pt x="81" y="8"/>
                      </a:lnTo>
                      <a:lnTo>
                        <a:pt x="89" y="2"/>
                      </a:lnTo>
                      <a:lnTo>
                        <a:pt x="91" y="0"/>
                      </a:lnTo>
                      <a:close/>
                    </a:path>
                  </a:pathLst>
                </a:custGeom>
                <a:solidFill>
                  <a:srgbClr val="23C0FD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68" name="Freeform 49"/>
                <p:cNvSpPr>
                  <a:spLocks/>
                </p:cNvSpPr>
                <p:nvPr/>
              </p:nvSpPr>
              <p:spPr bwMode="auto">
                <a:xfrm>
                  <a:off x="3421063" y="4459288"/>
                  <a:ext cx="20638" cy="9525"/>
                </a:xfrm>
                <a:custGeom>
                  <a:avLst/>
                  <a:gdLst>
                    <a:gd name="T0" fmla="*/ 13 w 13"/>
                    <a:gd name="T1" fmla="*/ 0 h 6"/>
                    <a:gd name="T2" fmla="*/ 13 w 13"/>
                    <a:gd name="T3" fmla="*/ 0 h 6"/>
                    <a:gd name="T4" fmla="*/ 6 w 13"/>
                    <a:gd name="T5" fmla="*/ 3 h 6"/>
                    <a:gd name="T6" fmla="*/ 0 w 13"/>
                    <a:gd name="T7" fmla="*/ 6 h 6"/>
                    <a:gd name="T8" fmla="*/ 6 w 13"/>
                    <a:gd name="T9" fmla="*/ 3 h 6"/>
                    <a:gd name="T10" fmla="*/ 13 w 13"/>
                    <a:gd name="T11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3" h="6">
                      <a:moveTo>
                        <a:pt x="13" y="0"/>
                      </a:moveTo>
                      <a:lnTo>
                        <a:pt x="13" y="0"/>
                      </a:lnTo>
                      <a:lnTo>
                        <a:pt x="6" y="3"/>
                      </a:lnTo>
                      <a:lnTo>
                        <a:pt x="0" y="6"/>
                      </a:lnTo>
                      <a:lnTo>
                        <a:pt x="6" y="3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03040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69" name="Freeform 50"/>
                <p:cNvSpPr>
                  <a:spLocks/>
                </p:cNvSpPr>
                <p:nvPr/>
              </p:nvSpPr>
              <p:spPr bwMode="auto">
                <a:xfrm>
                  <a:off x="3441701" y="4456113"/>
                  <a:ext cx="4763" cy="3175"/>
                </a:xfrm>
                <a:custGeom>
                  <a:avLst/>
                  <a:gdLst>
                    <a:gd name="T0" fmla="*/ 3 w 3"/>
                    <a:gd name="T1" fmla="*/ 0 h 2"/>
                    <a:gd name="T2" fmla="*/ 0 w 3"/>
                    <a:gd name="T3" fmla="*/ 2 h 2"/>
                    <a:gd name="T4" fmla="*/ 0 w 3"/>
                    <a:gd name="T5" fmla="*/ 2 h 2"/>
                    <a:gd name="T6" fmla="*/ 3 w 3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2">
                      <a:moveTo>
                        <a:pt x="3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23C0FD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70" name="Freeform 51"/>
                <p:cNvSpPr>
                  <a:spLocks/>
                </p:cNvSpPr>
                <p:nvPr/>
              </p:nvSpPr>
              <p:spPr bwMode="auto">
                <a:xfrm>
                  <a:off x="3389313" y="4449763"/>
                  <a:ext cx="269875" cy="57150"/>
                </a:xfrm>
                <a:custGeom>
                  <a:avLst/>
                  <a:gdLst>
                    <a:gd name="T0" fmla="*/ 122 w 170"/>
                    <a:gd name="T1" fmla="*/ 0 h 36"/>
                    <a:gd name="T2" fmla="*/ 145 w 170"/>
                    <a:gd name="T3" fmla="*/ 18 h 36"/>
                    <a:gd name="T4" fmla="*/ 170 w 170"/>
                    <a:gd name="T5" fmla="*/ 36 h 36"/>
                    <a:gd name="T6" fmla="*/ 131 w 170"/>
                    <a:gd name="T7" fmla="*/ 34 h 36"/>
                    <a:gd name="T8" fmla="*/ 84 w 170"/>
                    <a:gd name="T9" fmla="*/ 32 h 36"/>
                    <a:gd name="T10" fmla="*/ 44 w 170"/>
                    <a:gd name="T11" fmla="*/ 32 h 36"/>
                    <a:gd name="T12" fmla="*/ 0 w 170"/>
                    <a:gd name="T13" fmla="*/ 35 h 36"/>
                    <a:gd name="T14" fmla="*/ 4 w 170"/>
                    <a:gd name="T15" fmla="*/ 28 h 36"/>
                    <a:gd name="T16" fmla="*/ 12 w 170"/>
                    <a:gd name="T17" fmla="*/ 20 h 36"/>
                    <a:gd name="T18" fmla="*/ 20 w 170"/>
                    <a:gd name="T19" fmla="*/ 12 h 36"/>
                    <a:gd name="T20" fmla="*/ 26 w 170"/>
                    <a:gd name="T21" fmla="*/ 9 h 36"/>
                    <a:gd name="T22" fmla="*/ 33 w 170"/>
                    <a:gd name="T23" fmla="*/ 6 h 36"/>
                    <a:gd name="T24" fmla="*/ 36 w 170"/>
                    <a:gd name="T25" fmla="*/ 4 h 36"/>
                    <a:gd name="T26" fmla="*/ 61 w 170"/>
                    <a:gd name="T27" fmla="*/ 3 h 36"/>
                    <a:gd name="T28" fmla="*/ 90 w 170"/>
                    <a:gd name="T29" fmla="*/ 0 h 36"/>
                    <a:gd name="T30" fmla="*/ 122 w 170"/>
                    <a:gd name="T31" fmla="*/ 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70" h="36">
                      <a:moveTo>
                        <a:pt x="122" y="0"/>
                      </a:moveTo>
                      <a:lnTo>
                        <a:pt x="145" y="18"/>
                      </a:lnTo>
                      <a:lnTo>
                        <a:pt x="170" y="36"/>
                      </a:lnTo>
                      <a:lnTo>
                        <a:pt x="131" y="34"/>
                      </a:lnTo>
                      <a:lnTo>
                        <a:pt x="84" y="32"/>
                      </a:lnTo>
                      <a:lnTo>
                        <a:pt x="44" y="32"/>
                      </a:lnTo>
                      <a:lnTo>
                        <a:pt x="0" y="35"/>
                      </a:lnTo>
                      <a:lnTo>
                        <a:pt x="4" y="28"/>
                      </a:lnTo>
                      <a:lnTo>
                        <a:pt x="12" y="20"/>
                      </a:lnTo>
                      <a:lnTo>
                        <a:pt x="20" y="12"/>
                      </a:lnTo>
                      <a:lnTo>
                        <a:pt x="26" y="9"/>
                      </a:lnTo>
                      <a:lnTo>
                        <a:pt x="33" y="6"/>
                      </a:lnTo>
                      <a:lnTo>
                        <a:pt x="36" y="4"/>
                      </a:lnTo>
                      <a:lnTo>
                        <a:pt x="61" y="3"/>
                      </a:lnTo>
                      <a:lnTo>
                        <a:pt x="90" y="0"/>
                      </a:lnTo>
                      <a:lnTo>
                        <a:pt x="122" y="0"/>
                      </a:lnTo>
                      <a:close/>
                    </a:path>
                  </a:pathLst>
                </a:custGeom>
                <a:solidFill>
                  <a:srgbClr val="23C0FD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71" name="Freeform 52"/>
                <p:cNvSpPr>
                  <a:spLocks/>
                </p:cNvSpPr>
                <p:nvPr/>
              </p:nvSpPr>
              <p:spPr bwMode="auto">
                <a:xfrm>
                  <a:off x="3502026" y="3578225"/>
                  <a:ext cx="414338" cy="127000"/>
                </a:xfrm>
                <a:custGeom>
                  <a:avLst/>
                  <a:gdLst>
                    <a:gd name="T0" fmla="*/ 130 w 261"/>
                    <a:gd name="T1" fmla="*/ 0 h 80"/>
                    <a:gd name="T2" fmla="*/ 165 w 261"/>
                    <a:gd name="T3" fmla="*/ 1 h 80"/>
                    <a:gd name="T4" fmla="*/ 195 w 261"/>
                    <a:gd name="T5" fmla="*/ 5 h 80"/>
                    <a:gd name="T6" fmla="*/ 221 w 261"/>
                    <a:gd name="T7" fmla="*/ 11 h 80"/>
                    <a:gd name="T8" fmla="*/ 242 w 261"/>
                    <a:gd name="T9" fmla="*/ 19 h 80"/>
                    <a:gd name="T10" fmla="*/ 255 w 261"/>
                    <a:gd name="T11" fmla="*/ 29 h 80"/>
                    <a:gd name="T12" fmla="*/ 261 w 261"/>
                    <a:gd name="T13" fmla="*/ 39 h 80"/>
                    <a:gd name="T14" fmla="*/ 255 w 261"/>
                    <a:gd name="T15" fmla="*/ 51 h 80"/>
                    <a:gd name="T16" fmla="*/ 242 w 261"/>
                    <a:gd name="T17" fmla="*/ 59 h 80"/>
                    <a:gd name="T18" fmla="*/ 221 w 261"/>
                    <a:gd name="T19" fmla="*/ 68 h 80"/>
                    <a:gd name="T20" fmla="*/ 195 w 261"/>
                    <a:gd name="T21" fmla="*/ 74 h 80"/>
                    <a:gd name="T22" fmla="*/ 165 w 261"/>
                    <a:gd name="T23" fmla="*/ 78 h 80"/>
                    <a:gd name="T24" fmla="*/ 130 w 261"/>
                    <a:gd name="T25" fmla="*/ 80 h 80"/>
                    <a:gd name="T26" fmla="*/ 95 w 261"/>
                    <a:gd name="T27" fmla="*/ 78 h 80"/>
                    <a:gd name="T28" fmla="*/ 64 w 261"/>
                    <a:gd name="T29" fmla="*/ 74 h 80"/>
                    <a:gd name="T30" fmla="*/ 38 w 261"/>
                    <a:gd name="T31" fmla="*/ 68 h 80"/>
                    <a:gd name="T32" fmla="*/ 18 w 261"/>
                    <a:gd name="T33" fmla="*/ 59 h 80"/>
                    <a:gd name="T34" fmla="*/ 5 w 261"/>
                    <a:gd name="T35" fmla="*/ 51 h 80"/>
                    <a:gd name="T36" fmla="*/ 0 w 261"/>
                    <a:gd name="T37" fmla="*/ 39 h 80"/>
                    <a:gd name="T38" fmla="*/ 5 w 261"/>
                    <a:gd name="T39" fmla="*/ 29 h 80"/>
                    <a:gd name="T40" fmla="*/ 18 w 261"/>
                    <a:gd name="T41" fmla="*/ 19 h 80"/>
                    <a:gd name="T42" fmla="*/ 38 w 261"/>
                    <a:gd name="T43" fmla="*/ 11 h 80"/>
                    <a:gd name="T44" fmla="*/ 64 w 261"/>
                    <a:gd name="T45" fmla="*/ 5 h 80"/>
                    <a:gd name="T46" fmla="*/ 95 w 261"/>
                    <a:gd name="T47" fmla="*/ 1 h 80"/>
                    <a:gd name="T48" fmla="*/ 130 w 261"/>
                    <a:gd name="T49" fmla="*/ 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261" h="80">
                      <a:moveTo>
                        <a:pt x="130" y="0"/>
                      </a:moveTo>
                      <a:lnTo>
                        <a:pt x="165" y="1"/>
                      </a:lnTo>
                      <a:lnTo>
                        <a:pt x="195" y="5"/>
                      </a:lnTo>
                      <a:lnTo>
                        <a:pt x="221" y="11"/>
                      </a:lnTo>
                      <a:lnTo>
                        <a:pt x="242" y="19"/>
                      </a:lnTo>
                      <a:lnTo>
                        <a:pt x="255" y="29"/>
                      </a:lnTo>
                      <a:lnTo>
                        <a:pt x="261" y="39"/>
                      </a:lnTo>
                      <a:lnTo>
                        <a:pt x="255" y="51"/>
                      </a:lnTo>
                      <a:lnTo>
                        <a:pt x="242" y="59"/>
                      </a:lnTo>
                      <a:lnTo>
                        <a:pt x="221" y="68"/>
                      </a:lnTo>
                      <a:lnTo>
                        <a:pt x="195" y="74"/>
                      </a:lnTo>
                      <a:lnTo>
                        <a:pt x="165" y="78"/>
                      </a:lnTo>
                      <a:lnTo>
                        <a:pt x="130" y="80"/>
                      </a:lnTo>
                      <a:lnTo>
                        <a:pt x="95" y="78"/>
                      </a:lnTo>
                      <a:lnTo>
                        <a:pt x="64" y="74"/>
                      </a:lnTo>
                      <a:lnTo>
                        <a:pt x="38" y="68"/>
                      </a:lnTo>
                      <a:lnTo>
                        <a:pt x="18" y="59"/>
                      </a:lnTo>
                      <a:lnTo>
                        <a:pt x="5" y="51"/>
                      </a:lnTo>
                      <a:lnTo>
                        <a:pt x="0" y="39"/>
                      </a:lnTo>
                      <a:lnTo>
                        <a:pt x="5" y="29"/>
                      </a:lnTo>
                      <a:lnTo>
                        <a:pt x="18" y="19"/>
                      </a:lnTo>
                      <a:lnTo>
                        <a:pt x="38" y="11"/>
                      </a:lnTo>
                      <a:lnTo>
                        <a:pt x="64" y="5"/>
                      </a:lnTo>
                      <a:lnTo>
                        <a:pt x="95" y="1"/>
                      </a:lnTo>
                      <a:lnTo>
                        <a:pt x="130" y="0"/>
                      </a:lnTo>
                      <a:close/>
                    </a:path>
                  </a:pathLst>
                </a:custGeom>
                <a:solidFill>
                  <a:srgbClr val="CB6B43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72" name="Freeform 53"/>
                <p:cNvSpPr>
                  <a:spLocks/>
                </p:cNvSpPr>
                <p:nvPr/>
              </p:nvSpPr>
              <p:spPr bwMode="auto">
                <a:xfrm>
                  <a:off x="3627438" y="3468688"/>
                  <a:ext cx="161925" cy="252413"/>
                </a:xfrm>
                <a:custGeom>
                  <a:avLst/>
                  <a:gdLst>
                    <a:gd name="T0" fmla="*/ 51 w 102"/>
                    <a:gd name="T1" fmla="*/ 0 h 159"/>
                    <a:gd name="T2" fmla="*/ 71 w 102"/>
                    <a:gd name="T3" fmla="*/ 5 h 159"/>
                    <a:gd name="T4" fmla="*/ 87 w 102"/>
                    <a:gd name="T5" fmla="*/ 15 h 159"/>
                    <a:gd name="T6" fmla="*/ 97 w 102"/>
                    <a:gd name="T7" fmla="*/ 31 h 159"/>
                    <a:gd name="T8" fmla="*/ 102 w 102"/>
                    <a:gd name="T9" fmla="*/ 50 h 159"/>
                    <a:gd name="T10" fmla="*/ 102 w 102"/>
                    <a:gd name="T11" fmla="*/ 109 h 159"/>
                    <a:gd name="T12" fmla="*/ 97 w 102"/>
                    <a:gd name="T13" fmla="*/ 130 h 159"/>
                    <a:gd name="T14" fmla="*/ 87 w 102"/>
                    <a:gd name="T15" fmla="*/ 144 h 159"/>
                    <a:gd name="T16" fmla="*/ 71 w 102"/>
                    <a:gd name="T17" fmla="*/ 154 h 159"/>
                    <a:gd name="T18" fmla="*/ 51 w 102"/>
                    <a:gd name="T19" fmla="*/ 159 h 159"/>
                    <a:gd name="T20" fmla="*/ 32 w 102"/>
                    <a:gd name="T21" fmla="*/ 154 h 159"/>
                    <a:gd name="T22" fmla="*/ 14 w 102"/>
                    <a:gd name="T23" fmla="*/ 144 h 159"/>
                    <a:gd name="T24" fmla="*/ 4 w 102"/>
                    <a:gd name="T25" fmla="*/ 130 h 159"/>
                    <a:gd name="T26" fmla="*/ 0 w 102"/>
                    <a:gd name="T27" fmla="*/ 109 h 159"/>
                    <a:gd name="T28" fmla="*/ 0 w 102"/>
                    <a:gd name="T29" fmla="*/ 50 h 159"/>
                    <a:gd name="T30" fmla="*/ 4 w 102"/>
                    <a:gd name="T31" fmla="*/ 31 h 159"/>
                    <a:gd name="T32" fmla="*/ 14 w 102"/>
                    <a:gd name="T33" fmla="*/ 15 h 159"/>
                    <a:gd name="T34" fmla="*/ 32 w 102"/>
                    <a:gd name="T35" fmla="*/ 5 h 159"/>
                    <a:gd name="T36" fmla="*/ 51 w 102"/>
                    <a:gd name="T37" fmla="*/ 0 h 1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02" h="159">
                      <a:moveTo>
                        <a:pt x="51" y="0"/>
                      </a:moveTo>
                      <a:lnTo>
                        <a:pt x="71" y="5"/>
                      </a:lnTo>
                      <a:lnTo>
                        <a:pt x="87" y="15"/>
                      </a:lnTo>
                      <a:lnTo>
                        <a:pt x="97" y="31"/>
                      </a:lnTo>
                      <a:lnTo>
                        <a:pt x="102" y="50"/>
                      </a:lnTo>
                      <a:lnTo>
                        <a:pt x="102" y="109"/>
                      </a:lnTo>
                      <a:lnTo>
                        <a:pt x="97" y="130"/>
                      </a:lnTo>
                      <a:lnTo>
                        <a:pt x="87" y="144"/>
                      </a:lnTo>
                      <a:lnTo>
                        <a:pt x="71" y="154"/>
                      </a:lnTo>
                      <a:lnTo>
                        <a:pt x="51" y="159"/>
                      </a:lnTo>
                      <a:lnTo>
                        <a:pt x="32" y="154"/>
                      </a:lnTo>
                      <a:lnTo>
                        <a:pt x="14" y="144"/>
                      </a:lnTo>
                      <a:lnTo>
                        <a:pt x="4" y="130"/>
                      </a:lnTo>
                      <a:lnTo>
                        <a:pt x="0" y="109"/>
                      </a:lnTo>
                      <a:lnTo>
                        <a:pt x="0" y="50"/>
                      </a:lnTo>
                      <a:lnTo>
                        <a:pt x="4" y="31"/>
                      </a:lnTo>
                      <a:lnTo>
                        <a:pt x="14" y="15"/>
                      </a:lnTo>
                      <a:lnTo>
                        <a:pt x="32" y="5"/>
                      </a:lnTo>
                      <a:lnTo>
                        <a:pt x="51" y="0"/>
                      </a:lnTo>
                      <a:close/>
                    </a:path>
                  </a:pathLst>
                </a:custGeom>
                <a:solidFill>
                  <a:srgbClr val="FFDEB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73" name="Freeform 54"/>
                <p:cNvSpPr>
                  <a:spLocks/>
                </p:cNvSpPr>
                <p:nvPr/>
              </p:nvSpPr>
              <p:spPr bwMode="auto">
                <a:xfrm>
                  <a:off x="3627438" y="3559175"/>
                  <a:ext cx="161925" cy="161925"/>
                </a:xfrm>
                <a:custGeom>
                  <a:avLst/>
                  <a:gdLst>
                    <a:gd name="T0" fmla="*/ 102 w 102"/>
                    <a:gd name="T1" fmla="*/ 0 h 102"/>
                    <a:gd name="T2" fmla="*/ 102 w 102"/>
                    <a:gd name="T3" fmla="*/ 10 h 102"/>
                    <a:gd name="T4" fmla="*/ 102 w 102"/>
                    <a:gd name="T5" fmla="*/ 10 h 102"/>
                    <a:gd name="T6" fmla="*/ 100 w 102"/>
                    <a:gd name="T7" fmla="*/ 32 h 102"/>
                    <a:gd name="T8" fmla="*/ 96 w 102"/>
                    <a:gd name="T9" fmla="*/ 48 h 102"/>
                    <a:gd name="T10" fmla="*/ 90 w 102"/>
                    <a:gd name="T11" fmla="*/ 61 h 102"/>
                    <a:gd name="T12" fmla="*/ 81 w 102"/>
                    <a:gd name="T13" fmla="*/ 70 h 102"/>
                    <a:gd name="T14" fmla="*/ 74 w 102"/>
                    <a:gd name="T15" fmla="*/ 77 h 102"/>
                    <a:gd name="T16" fmla="*/ 65 w 102"/>
                    <a:gd name="T17" fmla="*/ 84 h 102"/>
                    <a:gd name="T18" fmla="*/ 59 w 102"/>
                    <a:gd name="T19" fmla="*/ 92 h 102"/>
                    <a:gd name="T20" fmla="*/ 55 w 102"/>
                    <a:gd name="T21" fmla="*/ 102 h 102"/>
                    <a:gd name="T22" fmla="*/ 51 w 102"/>
                    <a:gd name="T23" fmla="*/ 102 h 102"/>
                    <a:gd name="T24" fmla="*/ 32 w 102"/>
                    <a:gd name="T25" fmla="*/ 97 h 102"/>
                    <a:gd name="T26" fmla="*/ 14 w 102"/>
                    <a:gd name="T27" fmla="*/ 87 h 102"/>
                    <a:gd name="T28" fmla="*/ 4 w 102"/>
                    <a:gd name="T29" fmla="*/ 73 h 102"/>
                    <a:gd name="T30" fmla="*/ 0 w 102"/>
                    <a:gd name="T31" fmla="*/ 52 h 102"/>
                    <a:gd name="T32" fmla="*/ 0 w 102"/>
                    <a:gd name="T33" fmla="*/ 0 h 102"/>
                    <a:gd name="T34" fmla="*/ 17 w 102"/>
                    <a:gd name="T35" fmla="*/ 15 h 102"/>
                    <a:gd name="T36" fmla="*/ 35 w 102"/>
                    <a:gd name="T37" fmla="*/ 25 h 102"/>
                    <a:gd name="T38" fmla="*/ 51 w 102"/>
                    <a:gd name="T39" fmla="*/ 28 h 102"/>
                    <a:gd name="T40" fmla="*/ 67 w 102"/>
                    <a:gd name="T41" fmla="*/ 25 h 102"/>
                    <a:gd name="T42" fmla="*/ 84 w 102"/>
                    <a:gd name="T43" fmla="*/ 15 h 102"/>
                    <a:gd name="T44" fmla="*/ 102 w 102"/>
                    <a:gd name="T45" fmla="*/ 0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02" h="102">
                      <a:moveTo>
                        <a:pt x="102" y="0"/>
                      </a:moveTo>
                      <a:lnTo>
                        <a:pt x="102" y="10"/>
                      </a:lnTo>
                      <a:lnTo>
                        <a:pt x="102" y="10"/>
                      </a:lnTo>
                      <a:lnTo>
                        <a:pt x="100" y="32"/>
                      </a:lnTo>
                      <a:lnTo>
                        <a:pt x="96" y="48"/>
                      </a:lnTo>
                      <a:lnTo>
                        <a:pt x="90" y="61"/>
                      </a:lnTo>
                      <a:lnTo>
                        <a:pt x="81" y="70"/>
                      </a:lnTo>
                      <a:lnTo>
                        <a:pt x="74" y="77"/>
                      </a:lnTo>
                      <a:lnTo>
                        <a:pt x="65" y="84"/>
                      </a:lnTo>
                      <a:lnTo>
                        <a:pt x="59" y="92"/>
                      </a:lnTo>
                      <a:lnTo>
                        <a:pt x="55" y="102"/>
                      </a:lnTo>
                      <a:lnTo>
                        <a:pt x="51" y="102"/>
                      </a:lnTo>
                      <a:lnTo>
                        <a:pt x="32" y="97"/>
                      </a:lnTo>
                      <a:lnTo>
                        <a:pt x="14" y="87"/>
                      </a:lnTo>
                      <a:lnTo>
                        <a:pt x="4" y="73"/>
                      </a:lnTo>
                      <a:lnTo>
                        <a:pt x="0" y="52"/>
                      </a:lnTo>
                      <a:lnTo>
                        <a:pt x="0" y="0"/>
                      </a:lnTo>
                      <a:lnTo>
                        <a:pt x="17" y="15"/>
                      </a:lnTo>
                      <a:lnTo>
                        <a:pt x="35" y="25"/>
                      </a:lnTo>
                      <a:lnTo>
                        <a:pt x="51" y="28"/>
                      </a:lnTo>
                      <a:lnTo>
                        <a:pt x="67" y="25"/>
                      </a:lnTo>
                      <a:lnTo>
                        <a:pt x="84" y="15"/>
                      </a:lnTo>
                      <a:lnTo>
                        <a:pt x="102" y="0"/>
                      </a:lnTo>
                      <a:close/>
                    </a:path>
                  </a:pathLst>
                </a:custGeom>
                <a:solidFill>
                  <a:srgbClr val="EDB97C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74" name="Freeform 55"/>
                <p:cNvSpPr>
                  <a:spLocks/>
                </p:cNvSpPr>
                <p:nvPr/>
              </p:nvSpPr>
              <p:spPr bwMode="auto">
                <a:xfrm>
                  <a:off x="3444876" y="3802063"/>
                  <a:ext cx="569913" cy="569913"/>
                </a:xfrm>
                <a:custGeom>
                  <a:avLst/>
                  <a:gdLst>
                    <a:gd name="T0" fmla="*/ 118 w 359"/>
                    <a:gd name="T1" fmla="*/ 0 h 359"/>
                    <a:gd name="T2" fmla="*/ 231 w 359"/>
                    <a:gd name="T3" fmla="*/ 3 h 359"/>
                    <a:gd name="T4" fmla="*/ 253 w 359"/>
                    <a:gd name="T5" fmla="*/ 3 h 359"/>
                    <a:gd name="T6" fmla="*/ 275 w 359"/>
                    <a:gd name="T7" fmla="*/ 4 h 359"/>
                    <a:gd name="T8" fmla="*/ 297 w 359"/>
                    <a:gd name="T9" fmla="*/ 7 h 359"/>
                    <a:gd name="T10" fmla="*/ 317 w 359"/>
                    <a:gd name="T11" fmla="*/ 11 h 359"/>
                    <a:gd name="T12" fmla="*/ 334 w 359"/>
                    <a:gd name="T13" fmla="*/ 16 h 359"/>
                    <a:gd name="T14" fmla="*/ 348 w 359"/>
                    <a:gd name="T15" fmla="*/ 23 h 359"/>
                    <a:gd name="T16" fmla="*/ 356 w 359"/>
                    <a:gd name="T17" fmla="*/ 32 h 359"/>
                    <a:gd name="T18" fmla="*/ 359 w 359"/>
                    <a:gd name="T19" fmla="*/ 42 h 359"/>
                    <a:gd name="T20" fmla="*/ 279 w 359"/>
                    <a:gd name="T21" fmla="*/ 295 h 359"/>
                    <a:gd name="T22" fmla="*/ 279 w 359"/>
                    <a:gd name="T23" fmla="*/ 309 h 359"/>
                    <a:gd name="T24" fmla="*/ 278 w 359"/>
                    <a:gd name="T25" fmla="*/ 322 h 359"/>
                    <a:gd name="T26" fmla="*/ 273 w 359"/>
                    <a:gd name="T27" fmla="*/ 334 h 359"/>
                    <a:gd name="T28" fmla="*/ 268 w 359"/>
                    <a:gd name="T29" fmla="*/ 344 h 359"/>
                    <a:gd name="T30" fmla="*/ 257 w 359"/>
                    <a:gd name="T31" fmla="*/ 353 h 359"/>
                    <a:gd name="T32" fmla="*/ 243 w 359"/>
                    <a:gd name="T33" fmla="*/ 357 h 359"/>
                    <a:gd name="T34" fmla="*/ 222 w 359"/>
                    <a:gd name="T35" fmla="*/ 359 h 359"/>
                    <a:gd name="T36" fmla="*/ 109 w 359"/>
                    <a:gd name="T37" fmla="*/ 356 h 359"/>
                    <a:gd name="T38" fmla="*/ 89 w 359"/>
                    <a:gd name="T39" fmla="*/ 354 h 359"/>
                    <a:gd name="T40" fmla="*/ 73 w 359"/>
                    <a:gd name="T41" fmla="*/ 349 h 359"/>
                    <a:gd name="T42" fmla="*/ 61 w 359"/>
                    <a:gd name="T43" fmla="*/ 340 h 359"/>
                    <a:gd name="T44" fmla="*/ 54 w 359"/>
                    <a:gd name="T45" fmla="*/ 328 h 359"/>
                    <a:gd name="T46" fmla="*/ 49 w 359"/>
                    <a:gd name="T47" fmla="*/ 317 h 359"/>
                    <a:gd name="T48" fmla="*/ 48 w 359"/>
                    <a:gd name="T49" fmla="*/ 303 h 359"/>
                    <a:gd name="T50" fmla="*/ 48 w 359"/>
                    <a:gd name="T51" fmla="*/ 290 h 359"/>
                    <a:gd name="T52" fmla="*/ 0 w 359"/>
                    <a:gd name="T53" fmla="*/ 39 h 359"/>
                    <a:gd name="T54" fmla="*/ 3 w 359"/>
                    <a:gd name="T55" fmla="*/ 26 h 359"/>
                    <a:gd name="T56" fmla="*/ 14 w 359"/>
                    <a:gd name="T57" fmla="*/ 17 h 359"/>
                    <a:gd name="T58" fmla="*/ 29 w 359"/>
                    <a:gd name="T59" fmla="*/ 10 h 359"/>
                    <a:gd name="T60" fmla="*/ 49 w 359"/>
                    <a:gd name="T61" fmla="*/ 4 h 359"/>
                    <a:gd name="T62" fmla="*/ 71 w 359"/>
                    <a:gd name="T63" fmla="*/ 1 h 359"/>
                    <a:gd name="T64" fmla="*/ 94 w 359"/>
                    <a:gd name="T65" fmla="*/ 0 h 359"/>
                    <a:gd name="T66" fmla="*/ 118 w 359"/>
                    <a:gd name="T67" fmla="*/ 0 h 3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359" h="359">
                      <a:moveTo>
                        <a:pt x="118" y="0"/>
                      </a:moveTo>
                      <a:lnTo>
                        <a:pt x="231" y="3"/>
                      </a:lnTo>
                      <a:lnTo>
                        <a:pt x="253" y="3"/>
                      </a:lnTo>
                      <a:lnTo>
                        <a:pt x="275" y="4"/>
                      </a:lnTo>
                      <a:lnTo>
                        <a:pt x="297" y="7"/>
                      </a:lnTo>
                      <a:lnTo>
                        <a:pt x="317" y="11"/>
                      </a:lnTo>
                      <a:lnTo>
                        <a:pt x="334" y="16"/>
                      </a:lnTo>
                      <a:lnTo>
                        <a:pt x="348" y="23"/>
                      </a:lnTo>
                      <a:lnTo>
                        <a:pt x="356" y="32"/>
                      </a:lnTo>
                      <a:lnTo>
                        <a:pt x="359" y="42"/>
                      </a:lnTo>
                      <a:lnTo>
                        <a:pt x="279" y="295"/>
                      </a:lnTo>
                      <a:lnTo>
                        <a:pt x="279" y="309"/>
                      </a:lnTo>
                      <a:lnTo>
                        <a:pt x="278" y="322"/>
                      </a:lnTo>
                      <a:lnTo>
                        <a:pt x="273" y="334"/>
                      </a:lnTo>
                      <a:lnTo>
                        <a:pt x="268" y="344"/>
                      </a:lnTo>
                      <a:lnTo>
                        <a:pt x="257" y="353"/>
                      </a:lnTo>
                      <a:lnTo>
                        <a:pt x="243" y="357"/>
                      </a:lnTo>
                      <a:lnTo>
                        <a:pt x="222" y="359"/>
                      </a:lnTo>
                      <a:lnTo>
                        <a:pt x="109" y="356"/>
                      </a:lnTo>
                      <a:lnTo>
                        <a:pt x="89" y="354"/>
                      </a:lnTo>
                      <a:lnTo>
                        <a:pt x="73" y="349"/>
                      </a:lnTo>
                      <a:lnTo>
                        <a:pt x="61" y="340"/>
                      </a:lnTo>
                      <a:lnTo>
                        <a:pt x="54" y="328"/>
                      </a:lnTo>
                      <a:lnTo>
                        <a:pt x="49" y="317"/>
                      </a:lnTo>
                      <a:lnTo>
                        <a:pt x="48" y="303"/>
                      </a:lnTo>
                      <a:lnTo>
                        <a:pt x="48" y="290"/>
                      </a:lnTo>
                      <a:lnTo>
                        <a:pt x="0" y="39"/>
                      </a:lnTo>
                      <a:lnTo>
                        <a:pt x="3" y="26"/>
                      </a:lnTo>
                      <a:lnTo>
                        <a:pt x="14" y="17"/>
                      </a:lnTo>
                      <a:lnTo>
                        <a:pt x="29" y="10"/>
                      </a:lnTo>
                      <a:lnTo>
                        <a:pt x="49" y="4"/>
                      </a:lnTo>
                      <a:lnTo>
                        <a:pt x="71" y="1"/>
                      </a:lnTo>
                      <a:lnTo>
                        <a:pt x="94" y="0"/>
                      </a:lnTo>
                      <a:lnTo>
                        <a:pt x="118" y="0"/>
                      </a:lnTo>
                      <a:close/>
                    </a:path>
                  </a:pathLst>
                </a:custGeom>
                <a:solidFill>
                  <a:srgbClr val="FF875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75" name="Freeform 56"/>
                <p:cNvSpPr>
                  <a:spLocks/>
                </p:cNvSpPr>
                <p:nvPr/>
              </p:nvSpPr>
              <p:spPr bwMode="auto">
                <a:xfrm>
                  <a:off x="3933826" y="3725863"/>
                  <a:ext cx="196850" cy="493713"/>
                </a:xfrm>
                <a:custGeom>
                  <a:avLst/>
                  <a:gdLst>
                    <a:gd name="T0" fmla="*/ 51 w 124"/>
                    <a:gd name="T1" fmla="*/ 0 h 311"/>
                    <a:gd name="T2" fmla="*/ 58 w 124"/>
                    <a:gd name="T3" fmla="*/ 3 h 311"/>
                    <a:gd name="T4" fmla="*/ 63 w 124"/>
                    <a:gd name="T5" fmla="*/ 10 h 311"/>
                    <a:gd name="T6" fmla="*/ 64 w 124"/>
                    <a:gd name="T7" fmla="*/ 20 h 311"/>
                    <a:gd name="T8" fmla="*/ 66 w 124"/>
                    <a:gd name="T9" fmla="*/ 32 h 311"/>
                    <a:gd name="T10" fmla="*/ 67 w 124"/>
                    <a:gd name="T11" fmla="*/ 45 h 311"/>
                    <a:gd name="T12" fmla="*/ 69 w 124"/>
                    <a:gd name="T13" fmla="*/ 59 h 311"/>
                    <a:gd name="T14" fmla="*/ 99 w 124"/>
                    <a:gd name="T15" fmla="*/ 61 h 311"/>
                    <a:gd name="T16" fmla="*/ 104 w 124"/>
                    <a:gd name="T17" fmla="*/ 104 h 311"/>
                    <a:gd name="T18" fmla="*/ 106 w 124"/>
                    <a:gd name="T19" fmla="*/ 138 h 311"/>
                    <a:gd name="T20" fmla="*/ 108 w 124"/>
                    <a:gd name="T21" fmla="*/ 167 h 311"/>
                    <a:gd name="T22" fmla="*/ 111 w 124"/>
                    <a:gd name="T23" fmla="*/ 189 h 311"/>
                    <a:gd name="T24" fmla="*/ 114 w 124"/>
                    <a:gd name="T25" fmla="*/ 208 h 311"/>
                    <a:gd name="T26" fmla="*/ 115 w 124"/>
                    <a:gd name="T27" fmla="*/ 225 h 311"/>
                    <a:gd name="T28" fmla="*/ 120 w 124"/>
                    <a:gd name="T29" fmla="*/ 241 h 311"/>
                    <a:gd name="T30" fmla="*/ 124 w 124"/>
                    <a:gd name="T31" fmla="*/ 258 h 311"/>
                    <a:gd name="T32" fmla="*/ 41 w 124"/>
                    <a:gd name="T33" fmla="*/ 311 h 311"/>
                    <a:gd name="T34" fmla="*/ 29 w 124"/>
                    <a:gd name="T35" fmla="*/ 274 h 311"/>
                    <a:gd name="T36" fmla="*/ 21 w 124"/>
                    <a:gd name="T37" fmla="*/ 240 h 311"/>
                    <a:gd name="T38" fmla="*/ 16 w 124"/>
                    <a:gd name="T39" fmla="*/ 206 h 311"/>
                    <a:gd name="T40" fmla="*/ 15 w 124"/>
                    <a:gd name="T41" fmla="*/ 170 h 311"/>
                    <a:gd name="T42" fmla="*/ 16 w 124"/>
                    <a:gd name="T43" fmla="*/ 131 h 311"/>
                    <a:gd name="T44" fmla="*/ 2 w 124"/>
                    <a:gd name="T45" fmla="*/ 64 h 311"/>
                    <a:gd name="T46" fmla="*/ 0 w 124"/>
                    <a:gd name="T47" fmla="*/ 45 h 311"/>
                    <a:gd name="T48" fmla="*/ 3 w 124"/>
                    <a:gd name="T49" fmla="*/ 29 h 311"/>
                    <a:gd name="T50" fmla="*/ 10 w 124"/>
                    <a:gd name="T51" fmla="*/ 16 h 311"/>
                    <a:gd name="T52" fmla="*/ 24 w 124"/>
                    <a:gd name="T53" fmla="*/ 5 h 311"/>
                    <a:gd name="T54" fmla="*/ 40 w 124"/>
                    <a:gd name="T55" fmla="*/ 0 h 311"/>
                    <a:gd name="T56" fmla="*/ 51 w 124"/>
                    <a:gd name="T57" fmla="*/ 0 h 3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124" h="311">
                      <a:moveTo>
                        <a:pt x="51" y="0"/>
                      </a:moveTo>
                      <a:lnTo>
                        <a:pt x="58" y="3"/>
                      </a:lnTo>
                      <a:lnTo>
                        <a:pt x="63" y="10"/>
                      </a:lnTo>
                      <a:lnTo>
                        <a:pt x="64" y="20"/>
                      </a:lnTo>
                      <a:lnTo>
                        <a:pt x="66" y="32"/>
                      </a:lnTo>
                      <a:lnTo>
                        <a:pt x="67" y="45"/>
                      </a:lnTo>
                      <a:lnTo>
                        <a:pt x="69" y="59"/>
                      </a:lnTo>
                      <a:lnTo>
                        <a:pt x="99" y="61"/>
                      </a:lnTo>
                      <a:lnTo>
                        <a:pt x="104" y="104"/>
                      </a:lnTo>
                      <a:lnTo>
                        <a:pt x="106" y="138"/>
                      </a:lnTo>
                      <a:lnTo>
                        <a:pt x="108" y="167"/>
                      </a:lnTo>
                      <a:lnTo>
                        <a:pt x="111" y="189"/>
                      </a:lnTo>
                      <a:lnTo>
                        <a:pt x="114" y="208"/>
                      </a:lnTo>
                      <a:lnTo>
                        <a:pt x="115" y="225"/>
                      </a:lnTo>
                      <a:lnTo>
                        <a:pt x="120" y="241"/>
                      </a:lnTo>
                      <a:lnTo>
                        <a:pt x="124" y="258"/>
                      </a:lnTo>
                      <a:lnTo>
                        <a:pt x="41" y="311"/>
                      </a:lnTo>
                      <a:lnTo>
                        <a:pt x="29" y="274"/>
                      </a:lnTo>
                      <a:lnTo>
                        <a:pt x="21" y="240"/>
                      </a:lnTo>
                      <a:lnTo>
                        <a:pt x="16" y="206"/>
                      </a:lnTo>
                      <a:lnTo>
                        <a:pt x="15" y="170"/>
                      </a:lnTo>
                      <a:lnTo>
                        <a:pt x="16" y="131"/>
                      </a:lnTo>
                      <a:lnTo>
                        <a:pt x="2" y="64"/>
                      </a:lnTo>
                      <a:lnTo>
                        <a:pt x="0" y="45"/>
                      </a:lnTo>
                      <a:lnTo>
                        <a:pt x="3" y="29"/>
                      </a:lnTo>
                      <a:lnTo>
                        <a:pt x="10" y="16"/>
                      </a:lnTo>
                      <a:lnTo>
                        <a:pt x="24" y="5"/>
                      </a:lnTo>
                      <a:lnTo>
                        <a:pt x="40" y="0"/>
                      </a:lnTo>
                      <a:lnTo>
                        <a:pt x="51" y="0"/>
                      </a:lnTo>
                      <a:close/>
                    </a:path>
                  </a:pathLst>
                </a:custGeom>
                <a:solidFill>
                  <a:srgbClr val="FF875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76" name="Freeform 57"/>
                <p:cNvSpPr>
                  <a:spLocks/>
                </p:cNvSpPr>
                <p:nvPr/>
              </p:nvSpPr>
              <p:spPr bwMode="auto">
                <a:xfrm>
                  <a:off x="3486151" y="4056063"/>
                  <a:ext cx="457200" cy="306388"/>
                </a:xfrm>
                <a:custGeom>
                  <a:avLst/>
                  <a:gdLst>
                    <a:gd name="T0" fmla="*/ 175 w 288"/>
                    <a:gd name="T1" fmla="*/ 0 h 193"/>
                    <a:gd name="T2" fmla="*/ 198 w 288"/>
                    <a:gd name="T3" fmla="*/ 2 h 193"/>
                    <a:gd name="T4" fmla="*/ 221 w 288"/>
                    <a:gd name="T5" fmla="*/ 5 h 193"/>
                    <a:gd name="T6" fmla="*/ 242 w 288"/>
                    <a:gd name="T7" fmla="*/ 11 h 193"/>
                    <a:gd name="T8" fmla="*/ 260 w 288"/>
                    <a:gd name="T9" fmla="*/ 16 h 193"/>
                    <a:gd name="T10" fmla="*/ 275 w 288"/>
                    <a:gd name="T11" fmla="*/ 21 h 193"/>
                    <a:gd name="T12" fmla="*/ 285 w 288"/>
                    <a:gd name="T13" fmla="*/ 24 h 193"/>
                    <a:gd name="T14" fmla="*/ 288 w 288"/>
                    <a:gd name="T15" fmla="*/ 26 h 193"/>
                    <a:gd name="T16" fmla="*/ 282 w 288"/>
                    <a:gd name="T17" fmla="*/ 53 h 193"/>
                    <a:gd name="T18" fmla="*/ 279 w 288"/>
                    <a:gd name="T19" fmla="*/ 82 h 193"/>
                    <a:gd name="T20" fmla="*/ 279 w 288"/>
                    <a:gd name="T21" fmla="*/ 114 h 193"/>
                    <a:gd name="T22" fmla="*/ 281 w 288"/>
                    <a:gd name="T23" fmla="*/ 145 h 193"/>
                    <a:gd name="T24" fmla="*/ 284 w 288"/>
                    <a:gd name="T25" fmla="*/ 173 h 193"/>
                    <a:gd name="T26" fmla="*/ 287 w 288"/>
                    <a:gd name="T27" fmla="*/ 193 h 193"/>
                    <a:gd name="T28" fmla="*/ 9 w 288"/>
                    <a:gd name="T29" fmla="*/ 193 h 193"/>
                    <a:gd name="T30" fmla="*/ 13 w 288"/>
                    <a:gd name="T31" fmla="*/ 186 h 193"/>
                    <a:gd name="T32" fmla="*/ 15 w 288"/>
                    <a:gd name="T33" fmla="*/ 177 h 193"/>
                    <a:gd name="T34" fmla="*/ 15 w 288"/>
                    <a:gd name="T35" fmla="*/ 171 h 193"/>
                    <a:gd name="T36" fmla="*/ 15 w 288"/>
                    <a:gd name="T37" fmla="*/ 158 h 193"/>
                    <a:gd name="T38" fmla="*/ 13 w 288"/>
                    <a:gd name="T39" fmla="*/ 138 h 193"/>
                    <a:gd name="T40" fmla="*/ 12 w 288"/>
                    <a:gd name="T41" fmla="*/ 113 h 193"/>
                    <a:gd name="T42" fmla="*/ 10 w 288"/>
                    <a:gd name="T43" fmla="*/ 82 h 193"/>
                    <a:gd name="T44" fmla="*/ 6 w 288"/>
                    <a:gd name="T45" fmla="*/ 52 h 193"/>
                    <a:gd name="T46" fmla="*/ 0 w 288"/>
                    <a:gd name="T47" fmla="*/ 18 h 193"/>
                    <a:gd name="T48" fmla="*/ 4 w 288"/>
                    <a:gd name="T49" fmla="*/ 18 h 193"/>
                    <a:gd name="T50" fmla="*/ 16 w 288"/>
                    <a:gd name="T51" fmla="*/ 16 h 193"/>
                    <a:gd name="T52" fmla="*/ 32 w 288"/>
                    <a:gd name="T53" fmla="*/ 13 h 193"/>
                    <a:gd name="T54" fmla="*/ 54 w 288"/>
                    <a:gd name="T55" fmla="*/ 8 h 193"/>
                    <a:gd name="T56" fmla="*/ 79 w 288"/>
                    <a:gd name="T57" fmla="*/ 7 h 193"/>
                    <a:gd name="T58" fmla="*/ 106 w 288"/>
                    <a:gd name="T59" fmla="*/ 5 h 193"/>
                    <a:gd name="T60" fmla="*/ 175 w 288"/>
                    <a:gd name="T61" fmla="*/ 0 h 1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288" h="193">
                      <a:moveTo>
                        <a:pt x="175" y="0"/>
                      </a:moveTo>
                      <a:lnTo>
                        <a:pt x="198" y="2"/>
                      </a:lnTo>
                      <a:lnTo>
                        <a:pt x="221" y="5"/>
                      </a:lnTo>
                      <a:lnTo>
                        <a:pt x="242" y="11"/>
                      </a:lnTo>
                      <a:lnTo>
                        <a:pt x="260" y="16"/>
                      </a:lnTo>
                      <a:lnTo>
                        <a:pt x="275" y="21"/>
                      </a:lnTo>
                      <a:lnTo>
                        <a:pt x="285" y="24"/>
                      </a:lnTo>
                      <a:lnTo>
                        <a:pt x="288" y="26"/>
                      </a:lnTo>
                      <a:lnTo>
                        <a:pt x="282" y="53"/>
                      </a:lnTo>
                      <a:lnTo>
                        <a:pt x="279" y="82"/>
                      </a:lnTo>
                      <a:lnTo>
                        <a:pt x="279" y="114"/>
                      </a:lnTo>
                      <a:lnTo>
                        <a:pt x="281" y="145"/>
                      </a:lnTo>
                      <a:lnTo>
                        <a:pt x="284" y="173"/>
                      </a:lnTo>
                      <a:lnTo>
                        <a:pt x="287" y="193"/>
                      </a:lnTo>
                      <a:lnTo>
                        <a:pt x="9" y="193"/>
                      </a:lnTo>
                      <a:lnTo>
                        <a:pt x="13" y="186"/>
                      </a:lnTo>
                      <a:lnTo>
                        <a:pt x="15" y="177"/>
                      </a:lnTo>
                      <a:lnTo>
                        <a:pt x="15" y="171"/>
                      </a:lnTo>
                      <a:lnTo>
                        <a:pt x="15" y="158"/>
                      </a:lnTo>
                      <a:lnTo>
                        <a:pt x="13" y="138"/>
                      </a:lnTo>
                      <a:lnTo>
                        <a:pt x="12" y="113"/>
                      </a:lnTo>
                      <a:lnTo>
                        <a:pt x="10" y="82"/>
                      </a:lnTo>
                      <a:lnTo>
                        <a:pt x="6" y="52"/>
                      </a:lnTo>
                      <a:lnTo>
                        <a:pt x="0" y="18"/>
                      </a:lnTo>
                      <a:lnTo>
                        <a:pt x="4" y="18"/>
                      </a:lnTo>
                      <a:lnTo>
                        <a:pt x="16" y="16"/>
                      </a:lnTo>
                      <a:lnTo>
                        <a:pt x="32" y="13"/>
                      </a:lnTo>
                      <a:lnTo>
                        <a:pt x="54" y="8"/>
                      </a:lnTo>
                      <a:lnTo>
                        <a:pt x="79" y="7"/>
                      </a:lnTo>
                      <a:lnTo>
                        <a:pt x="106" y="5"/>
                      </a:lnTo>
                      <a:lnTo>
                        <a:pt x="175" y="0"/>
                      </a:lnTo>
                      <a:close/>
                    </a:path>
                  </a:pathLst>
                </a:custGeom>
                <a:solidFill>
                  <a:srgbClr val="FF875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77" name="Freeform 58"/>
                <p:cNvSpPr>
                  <a:spLocks noEditPoints="1"/>
                </p:cNvSpPr>
                <p:nvPr/>
              </p:nvSpPr>
              <p:spPr bwMode="auto">
                <a:xfrm>
                  <a:off x="3438526" y="3921125"/>
                  <a:ext cx="88900" cy="441325"/>
                </a:xfrm>
                <a:custGeom>
                  <a:avLst/>
                  <a:gdLst>
                    <a:gd name="T0" fmla="*/ 21 w 56"/>
                    <a:gd name="T1" fmla="*/ 35 h 278"/>
                    <a:gd name="T2" fmla="*/ 27 w 56"/>
                    <a:gd name="T3" fmla="*/ 48 h 278"/>
                    <a:gd name="T4" fmla="*/ 37 w 56"/>
                    <a:gd name="T5" fmla="*/ 80 h 278"/>
                    <a:gd name="T6" fmla="*/ 45 w 56"/>
                    <a:gd name="T7" fmla="*/ 115 h 278"/>
                    <a:gd name="T8" fmla="*/ 50 w 56"/>
                    <a:gd name="T9" fmla="*/ 150 h 278"/>
                    <a:gd name="T10" fmla="*/ 53 w 56"/>
                    <a:gd name="T11" fmla="*/ 183 h 278"/>
                    <a:gd name="T12" fmla="*/ 56 w 56"/>
                    <a:gd name="T13" fmla="*/ 215 h 278"/>
                    <a:gd name="T14" fmla="*/ 56 w 56"/>
                    <a:gd name="T15" fmla="*/ 243 h 278"/>
                    <a:gd name="T16" fmla="*/ 56 w 56"/>
                    <a:gd name="T17" fmla="*/ 265 h 278"/>
                    <a:gd name="T18" fmla="*/ 56 w 56"/>
                    <a:gd name="T19" fmla="*/ 278 h 278"/>
                    <a:gd name="T20" fmla="*/ 39 w 56"/>
                    <a:gd name="T21" fmla="*/ 278 h 278"/>
                    <a:gd name="T22" fmla="*/ 43 w 56"/>
                    <a:gd name="T23" fmla="*/ 271 h 278"/>
                    <a:gd name="T24" fmla="*/ 45 w 56"/>
                    <a:gd name="T25" fmla="*/ 262 h 278"/>
                    <a:gd name="T26" fmla="*/ 45 w 56"/>
                    <a:gd name="T27" fmla="*/ 258 h 278"/>
                    <a:gd name="T28" fmla="*/ 45 w 56"/>
                    <a:gd name="T29" fmla="*/ 244 h 278"/>
                    <a:gd name="T30" fmla="*/ 45 w 56"/>
                    <a:gd name="T31" fmla="*/ 226 h 278"/>
                    <a:gd name="T32" fmla="*/ 43 w 56"/>
                    <a:gd name="T33" fmla="*/ 202 h 278"/>
                    <a:gd name="T34" fmla="*/ 40 w 56"/>
                    <a:gd name="T35" fmla="*/ 173 h 278"/>
                    <a:gd name="T36" fmla="*/ 37 w 56"/>
                    <a:gd name="T37" fmla="*/ 144 h 278"/>
                    <a:gd name="T38" fmla="*/ 32 w 56"/>
                    <a:gd name="T39" fmla="*/ 112 h 278"/>
                    <a:gd name="T40" fmla="*/ 20 w 56"/>
                    <a:gd name="T41" fmla="*/ 54 h 278"/>
                    <a:gd name="T42" fmla="*/ 21 w 56"/>
                    <a:gd name="T43" fmla="*/ 35 h 278"/>
                    <a:gd name="T44" fmla="*/ 18 w 56"/>
                    <a:gd name="T45" fmla="*/ 31 h 278"/>
                    <a:gd name="T46" fmla="*/ 21 w 56"/>
                    <a:gd name="T47" fmla="*/ 34 h 278"/>
                    <a:gd name="T48" fmla="*/ 21 w 56"/>
                    <a:gd name="T49" fmla="*/ 35 h 278"/>
                    <a:gd name="T50" fmla="*/ 18 w 56"/>
                    <a:gd name="T51" fmla="*/ 31 h 278"/>
                    <a:gd name="T52" fmla="*/ 0 w 56"/>
                    <a:gd name="T53" fmla="*/ 0 h 278"/>
                    <a:gd name="T54" fmla="*/ 16 w 56"/>
                    <a:gd name="T55" fmla="*/ 22 h 278"/>
                    <a:gd name="T56" fmla="*/ 18 w 56"/>
                    <a:gd name="T57" fmla="*/ 31 h 278"/>
                    <a:gd name="T58" fmla="*/ 0 w 56"/>
                    <a:gd name="T59" fmla="*/ 0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56" h="278">
                      <a:moveTo>
                        <a:pt x="21" y="35"/>
                      </a:moveTo>
                      <a:lnTo>
                        <a:pt x="27" y="48"/>
                      </a:lnTo>
                      <a:lnTo>
                        <a:pt x="37" y="80"/>
                      </a:lnTo>
                      <a:lnTo>
                        <a:pt x="45" y="115"/>
                      </a:lnTo>
                      <a:lnTo>
                        <a:pt x="50" y="150"/>
                      </a:lnTo>
                      <a:lnTo>
                        <a:pt x="53" y="183"/>
                      </a:lnTo>
                      <a:lnTo>
                        <a:pt x="56" y="215"/>
                      </a:lnTo>
                      <a:lnTo>
                        <a:pt x="56" y="243"/>
                      </a:lnTo>
                      <a:lnTo>
                        <a:pt x="56" y="265"/>
                      </a:lnTo>
                      <a:lnTo>
                        <a:pt x="56" y="278"/>
                      </a:lnTo>
                      <a:lnTo>
                        <a:pt x="39" y="278"/>
                      </a:lnTo>
                      <a:lnTo>
                        <a:pt x="43" y="271"/>
                      </a:lnTo>
                      <a:lnTo>
                        <a:pt x="45" y="262"/>
                      </a:lnTo>
                      <a:lnTo>
                        <a:pt x="45" y="258"/>
                      </a:lnTo>
                      <a:lnTo>
                        <a:pt x="45" y="244"/>
                      </a:lnTo>
                      <a:lnTo>
                        <a:pt x="45" y="226"/>
                      </a:lnTo>
                      <a:lnTo>
                        <a:pt x="43" y="202"/>
                      </a:lnTo>
                      <a:lnTo>
                        <a:pt x="40" y="173"/>
                      </a:lnTo>
                      <a:lnTo>
                        <a:pt x="37" y="144"/>
                      </a:lnTo>
                      <a:lnTo>
                        <a:pt x="32" y="112"/>
                      </a:lnTo>
                      <a:lnTo>
                        <a:pt x="20" y="54"/>
                      </a:lnTo>
                      <a:lnTo>
                        <a:pt x="21" y="35"/>
                      </a:lnTo>
                      <a:close/>
                      <a:moveTo>
                        <a:pt x="18" y="31"/>
                      </a:moveTo>
                      <a:lnTo>
                        <a:pt x="21" y="34"/>
                      </a:lnTo>
                      <a:lnTo>
                        <a:pt x="21" y="35"/>
                      </a:lnTo>
                      <a:lnTo>
                        <a:pt x="18" y="31"/>
                      </a:lnTo>
                      <a:close/>
                      <a:moveTo>
                        <a:pt x="0" y="0"/>
                      </a:moveTo>
                      <a:lnTo>
                        <a:pt x="16" y="22"/>
                      </a:lnTo>
                      <a:lnTo>
                        <a:pt x="18" y="3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B6B43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78" name="Rectangle 59"/>
                <p:cNvSpPr>
                  <a:spLocks noChangeArrowheads="1"/>
                </p:cNvSpPr>
                <p:nvPr/>
              </p:nvSpPr>
              <p:spPr bwMode="auto">
                <a:xfrm>
                  <a:off x="3492501" y="4359275"/>
                  <a:ext cx="450850" cy="53975"/>
                </a:xfrm>
                <a:prstGeom prst="rect">
                  <a:avLst/>
                </a:prstGeom>
                <a:solidFill>
                  <a:srgbClr val="B05D3B"/>
                </a:soli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79" name="Freeform 60"/>
                <p:cNvSpPr>
                  <a:spLocks/>
                </p:cNvSpPr>
                <p:nvPr/>
              </p:nvSpPr>
              <p:spPr bwMode="auto">
                <a:xfrm>
                  <a:off x="3492501" y="4389438"/>
                  <a:ext cx="347663" cy="23813"/>
                </a:xfrm>
                <a:custGeom>
                  <a:avLst/>
                  <a:gdLst>
                    <a:gd name="T0" fmla="*/ 0 w 219"/>
                    <a:gd name="T1" fmla="*/ 0 h 15"/>
                    <a:gd name="T2" fmla="*/ 62 w 219"/>
                    <a:gd name="T3" fmla="*/ 0 h 15"/>
                    <a:gd name="T4" fmla="*/ 60 w 219"/>
                    <a:gd name="T5" fmla="*/ 3 h 15"/>
                    <a:gd name="T6" fmla="*/ 59 w 219"/>
                    <a:gd name="T7" fmla="*/ 6 h 15"/>
                    <a:gd name="T8" fmla="*/ 64 w 219"/>
                    <a:gd name="T9" fmla="*/ 0 h 15"/>
                    <a:gd name="T10" fmla="*/ 219 w 219"/>
                    <a:gd name="T11" fmla="*/ 0 h 15"/>
                    <a:gd name="T12" fmla="*/ 217 w 219"/>
                    <a:gd name="T13" fmla="*/ 2 h 15"/>
                    <a:gd name="T14" fmla="*/ 206 w 219"/>
                    <a:gd name="T15" fmla="*/ 15 h 15"/>
                    <a:gd name="T16" fmla="*/ 0 w 219"/>
                    <a:gd name="T17" fmla="*/ 15 h 15"/>
                    <a:gd name="T18" fmla="*/ 0 w 219"/>
                    <a:gd name="T19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19" h="15">
                      <a:moveTo>
                        <a:pt x="0" y="0"/>
                      </a:moveTo>
                      <a:lnTo>
                        <a:pt x="62" y="0"/>
                      </a:lnTo>
                      <a:lnTo>
                        <a:pt x="60" y="3"/>
                      </a:lnTo>
                      <a:lnTo>
                        <a:pt x="59" y="6"/>
                      </a:lnTo>
                      <a:lnTo>
                        <a:pt x="64" y="0"/>
                      </a:lnTo>
                      <a:lnTo>
                        <a:pt x="219" y="0"/>
                      </a:lnTo>
                      <a:lnTo>
                        <a:pt x="217" y="2"/>
                      </a:lnTo>
                      <a:lnTo>
                        <a:pt x="206" y="15"/>
                      </a:lnTo>
                      <a:lnTo>
                        <a:pt x="0" y="1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81402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80" name="Freeform 61"/>
                <p:cNvSpPr>
                  <a:spLocks/>
                </p:cNvSpPr>
                <p:nvPr/>
              </p:nvSpPr>
              <p:spPr bwMode="auto">
                <a:xfrm>
                  <a:off x="3659188" y="4351338"/>
                  <a:ext cx="115888" cy="71438"/>
                </a:xfrm>
                <a:custGeom>
                  <a:avLst/>
                  <a:gdLst>
                    <a:gd name="T0" fmla="*/ 18 w 73"/>
                    <a:gd name="T1" fmla="*/ 0 h 45"/>
                    <a:gd name="T2" fmla="*/ 55 w 73"/>
                    <a:gd name="T3" fmla="*/ 0 h 45"/>
                    <a:gd name="T4" fmla="*/ 61 w 73"/>
                    <a:gd name="T5" fmla="*/ 1 h 45"/>
                    <a:gd name="T6" fmla="*/ 66 w 73"/>
                    <a:gd name="T7" fmla="*/ 4 h 45"/>
                    <a:gd name="T8" fmla="*/ 70 w 73"/>
                    <a:gd name="T9" fmla="*/ 7 h 45"/>
                    <a:gd name="T10" fmla="*/ 71 w 73"/>
                    <a:gd name="T11" fmla="*/ 13 h 45"/>
                    <a:gd name="T12" fmla="*/ 73 w 73"/>
                    <a:gd name="T13" fmla="*/ 19 h 45"/>
                    <a:gd name="T14" fmla="*/ 73 w 73"/>
                    <a:gd name="T15" fmla="*/ 27 h 45"/>
                    <a:gd name="T16" fmla="*/ 71 w 73"/>
                    <a:gd name="T17" fmla="*/ 32 h 45"/>
                    <a:gd name="T18" fmla="*/ 70 w 73"/>
                    <a:gd name="T19" fmla="*/ 37 h 45"/>
                    <a:gd name="T20" fmla="*/ 66 w 73"/>
                    <a:gd name="T21" fmla="*/ 40 h 45"/>
                    <a:gd name="T22" fmla="*/ 61 w 73"/>
                    <a:gd name="T23" fmla="*/ 43 h 45"/>
                    <a:gd name="T24" fmla="*/ 55 w 73"/>
                    <a:gd name="T25" fmla="*/ 45 h 45"/>
                    <a:gd name="T26" fmla="*/ 18 w 73"/>
                    <a:gd name="T27" fmla="*/ 45 h 45"/>
                    <a:gd name="T28" fmla="*/ 13 w 73"/>
                    <a:gd name="T29" fmla="*/ 43 h 45"/>
                    <a:gd name="T30" fmla="*/ 7 w 73"/>
                    <a:gd name="T31" fmla="*/ 40 h 45"/>
                    <a:gd name="T32" fmla="*/ 5 w 73"/>
                    <a:gd name="T33" fmla="*/ 37 h 45"/>
                    <a:gd name="T34" fmla="*/ 2 w 73"/>
                    <a:gd name="T35" fmla="*/ 32 h 45"/>
                    <a:gd name="T36" fmla="*/ 0 w 73"/>
                    <a:gd name="T37" fmla="*/ 27 h 45"/>
                    <a:gd name="T38" fmla="*/ 0 w 73"/>
                    <a:gd name="T39" fmla="*/ 19 h 45"/>
                    <a:gd name="T40" fmla="*/ 2 w 73"/>
                    <a:gd name="T41" fmla="*/ 13 h 45"/>
                    <a:gd name="T42" fmla="*/ 5 w 73"/>
                    <a:gd name="T43" fmla="*/ 7 h 45"/>
                    <a:gd name="T44" fmla="*/ 7 w 73"/>
                    <a:gd name="T45" fmla="*/ 4 h 45"/>
                    <a:gd name="T46" fmla="*/ 13 w 73"/>
                    <a:gd name="T47" fmla="*/ 1 h 45"/>
                    <a:gd name="T48" fmla="*/ 18 w 73"/>
                    <a:gd name="T49" fmla="*/ 0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73" h="45">
                      <a:moveTo>
                        <a:pt x="18" y="0"/>
                      </a:moveTo>
                      <a:lnTo>
                        <a:pt x="55" y="0"/>
                      </a:lnTo>
                      <a:lnTo>
                        <a:pt x="61" y="1"/>
                      </a:lnTo>
                      <a:lnTo>
                        <a:pt x="66" y="4"/>
                      </a:lnTo>
                      <a:lnTo>
                        <a:pt x="70" y="7"/>
                      </a:lnTo>
                      <a:lnTo>
                        <a:pt x="71" y="13"/>
                      </a:lnTo>
                      <a:lnTo>
                        <a:pt x="73" y="19"/>
                      </a:lnTo>
                      <a:lnTo>
                        <a:pt x="73" y="27"/>
                      </a:lnTo>
                      <a:lnTo>
                        <a:pt x="71" y="32"/>
                      </a:lnTo>
                      <a:lnTo>
                        <a:pt x="70" y="37"/>
                      </a:lnTo>
                      <a:lnTo>
                        <a:pt x="66" y="40"/>
                      </a:lnTo>
                      <a:lnTo>
                        <a:pt x="61" y="43"/>
                      </a:lnTo>
                      <a:lnTo>
                        <a:pt x="55" y="45"/>
                      </a:lnTo>
                      <a:lnTo>
                        <a:pt x="18" y="45"/>
                      </a:lnTo>
                      <a:lnTo>
                        <a:pt x="13" y="43"/>
                      </a:lnTo>
                      <a:lnTo>
                        <a:pt x="7" y="40"/>
                      </a:lnTo>
                      <a:lnTo>
                        <a:pt x="5" y="37"/>
                      </a:lnTo>
                      <a:lnTo>
                        <a:pt x="2" y="32"/>
                      </a:lnTo>
                      <a:lnTo>
                        <a:pt x="0" y="27"/>
                      </a:lnTo>
                      <a:lnTo>
                        <a:pt x="0" y="19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7" y="4"/>
                      </a:lnTo>
                      <a:lnTo>
                        <a:pt x="13" y="1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solidFill>
                  <a:srgbClr val="FECE5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81" name="Freeform 62"/>
                <p:cNvSpPr>
                  <a:spLocks/>
                </p:cNvSpPr>
                <p:nvPr/>
              </p:nvSpPr>
              <p:spPr bwMode="auto">
                <a:xfrm>
                  <a:off x="3668713" y="4352925"/>
                  <a:ext cx="106363" cy="69850"/>
                </a:xfrm>
                <a:custGeom>
                  <a:avLst/>
                  <a:gdLst>
                    <a:gd name="T0" fmla="*/ 51 w 67"/>
                    <a:gd name="T1" fmla="*/ 0 h 44"/>
                    <a:gd name="T2" fmla="*/ 57 w 67"/>
                    <a:gd name="T3" fmla="*/ 0 h 44"/>
                    <a:gd name="T4" fmla="*/ 61 w 67"/>
                    <a:gd name="T5" fmla="*/ 3 h 44"/>
                    <a:gd name="T6" fmla="*/ 64 w 67"/>
                    <a:gd name="T7" fmla="*/ 7 h 44"/>
                    <a:gd name="T8" fmla="*/ 65 w 67"/>
                    <a:gd name="T9" fmla="*/ 12 h 44"/>
                    <a:gd name="T10" fmla="*/ 67 w 67"/>
                    <a:gd name="T11" fmla="*/ 18 h 44"/>
                    <a:gd name="T12" fmla="*/ 67 w 67"/>
                    <a:gd name="T13" fmla="*/ 26 h 44"/>
                    <a:gd name="T14" fmla="*/ 65 w 67"/>
                    <a:gd name="T15" fmla="*/ 31 h 44"/>
                    <a:gd name="T16" fmla="*/ 64 w 67"/>
                    <a:gd name="T17" fmla="*/ 36 h 44"/>
                    <a:gd name="T18" fmla="*/ 60 w 67"/>
                    <a:gd name="T19" fmla="*/ 39 h 44"/>
                    <a:gd name="T20" fmla="*/ 55 w 67"/>
                    <a:gd name="T21" fmla="*/ 42 h 44"/>
                    <a:gd name="T22" fmla="*/ 49 w 67"/>
                    <a:gd name="T23" fmla="*/ 44 h 44"/>
                    <a:gd name="T24" fmla="*/ 12 w 67"/>
                    <a:gd name="T25" fmla="*/ 44 h 44"/>
                    <a:gd name="T26" fmla="*/ 7 w 67"/>
                    <a:gd name="T27" fmla="*/ 42 h 44"/>
                    <a:gd name="T28" fmla="*/ 3 w 67"/>
                    <a:gd name="T29" fmla="*/ 41 h 44"/>
                    <a:gd name="T30" fmla="*/ 0 w 67"/>
                    <a:gd name="T31" fmla="*/ 38 h 44"/>
                    <a:gd name="T32" fmla="*/ 1 w 67"/>
                    <a:gd name="T33" fmla="*/ 38 h 44"/>
                    <a:gd name="T34" fmla="*/ 31 w 67"/>
                    <a:gd name="T35" fmla="*/ 38 h 44"/>
                    <a:gd name="T36" fmla="*/ 42 w 67"/>
                    <a:gd name="T37" fmla="*/ 35 h 44"/>
                    <a:gd name="T38" fmla="*/ 52 w 67"/>
                    <a:gd name="T39" fmla="*/ 25 h 44"/>
                    <a:gd name="T40" fmla="*/ 55 w 67"/>
                    <a:gd name="T41" fmla="*/ 13 h 44"/>
                    <a:gd name="T42" fmla="*/ 54 w 67"/>
                    <a:gd name="T43" fmla="*/ 6 h 44"/>
                    <a:gd name="T44" fmla="*/ 51 w 67"/>
                    <a:gd name="T45" fmla="*/ 0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7" h="44">
                      <a:moveTo>
                        <a:pt x="51" y="0"/>
                      </a:moveTo>
                      <a:lnTo>
                        <a:pt x="57" y="0"/>
                      </a:lnTo>
                      <a:lnTo>
                        <a:pt x="61" y="3"/>
                      </a:lnTo>
                      <a:lnTo>
                        <a:pt x="64" y="7"/>
                      </a:lnTo>
                      <a:lnTo>
                        <a:pt x="65" y="12"/>
                      </a:lnTo>
                      <a:lnTo>
                        <a:pt x="67" y="18"/>
                      </a:lnTo>
                      <a:lnTo>
                        <a:pt x="67" y="26"/>
                      </a:lnTo>
                      <a:lnTo>
                        <a:pt x="65" y="31"/>
                      </a:lnTo>
                      <a:lnTo>
                        <a:pt x="64" y="36"/>
                      </a:lnTo>
                      <a:lnTo>
                        <a:pt x="60" y="39"/>
                      </a:lnTo>
                      <a:lnTo>
                        <a:pt x="55" y="42"/>
                      </a:lnTo>
                      <a:lnTo>
                        <a:pt x="49" y="44"/>
                      </a:lnTo>
                      <a:lnTo>
                        <a:pt x="12" y="44"/>
                      </a:lnTo>
                      <a:lnTo>
                        <a:pt x="7" y="42"/>
                      </a:lnTo>
                      <a:lnTo>
                        <a:pt x="3" y="41"/>
                      </a:lnTo>
                      <a:lnTo>
                        <a:pt x="0" y="38"/>
                      </a:lnTo>
                      <a:lnTo>
                        <a:pt x="1" y="38"/>
                      </a:lnTo>
                      <a:lnTo>
                        <a:pt x="31" y="38"/>
                      </a:lnTo>
                      <a:lnTo>
                        <a:pt x="42" y="35"/>
                      </a:lnTo>
                      <a:lnTo>
                        <a:pt x="52" y="25"/>
                      </a:lnTo>
                      <a:lnTo>
                        <a:pt x="55" y="13"/>
                      </a:lnTo>
                      <a:lnTo>
                        <a:pt x="54" y="6"/>
                      </a:lnTo>
                      <a:lnTo>
                        <a:pt x="51" y="0"/>
                      </a:lnTo>
                      <a:close/>
                    </a:path>
                  </a:pathLst>
                </a:custGeom>
                <a:solidFill>
                  <a:srgbClr val="FFB33C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82" name="Freeform 63"/>
                <p:cNvSpPr>
                  <a:spLocks/>
                </p:cNvSpPr>
                <p:nvPr/>
              </p:nvSpPr>
              <p:spPr bwMode="auto">
                <a:xfrm>
                  <a:off x="3822701" y="4083050"/>
                  <a:ext cx="312738" cy="366713"/>
                </a:xfrm>
                <a:custGeom>
                  <a:avLst/>
                  <a:gdLst>
                    <a:gd name="T0" fmla="*/ 142 w 197"/>
                    <a:gd name="T1" fmla="*/ 0 h 231"/>
                    <a:gd name="T2" fmla="*/ 159 w 197"/>
                    <a:gd name="T3" fmla="*/ 1 h 231"/>
                    <a:gd name="T4" fmla="*/ 174 w 197"/>
                    <a:gd name="T5" fmla="*/ 6 h 231"/>
                    <a:gd name="T6" fmla="*/ 187 w 197"/>
                    <a:gd name="T7" fmla="*/ 12 h 231"/>
                    <a:gd name="T8" fmla="*/ 194 w 197"/>
                    <a:gd name="T9" fmla="*/ 22 h 231"/>
                    <a:gd name="T10" fmla="*/ 197 w 197"/>
                    <a:gd name="T11" fmla="*/ 36 h 231"/>
                    <a:gd name="T12" fmla="*/ 197 w 197"/>
                    <a:gd name="T13" fmla="*/ 54 h 231"/>
                    <a:gd name="T14" fmla="*/ 194 w 197"/>
                    <a:gd name="T15" fmla="*/ 71 h 231"/>
                    <a:gd name="T16" fmla="*/ 190 w 197"/>
                    <a:gd name="T17" fmla="*/ 89 h 231"/>
                    <a:gd name="T18" fmla="*/ 184 w 197"/>
                    <a:gd name="T19" fmla="*/ 103 h 231"/>
                    <a:gd name="T20" fmla="*/ 176 w 197"/>
                    <a:gd name="T21" fmla="*/ 115 h 231"/>
                    <a:gd name="T22" fmla="*/ 171 w 197"/>
                    <a:gd name="T23" fmla="*/ 122 h 231"/>
                    <a:gd name="T24" fmla="*/ 160 w 197"/>
                    <a:gd name="T25" fmla="*/ 134 h 231"/>
                    <a:gd name="T26" fmla="*/ 149 w 197"/>
                    <a:gd name="T27" fmla="*/ 147 h 231"/>
                    <a:gd name="T28" fmla="*/ 134 w 197"/>
                    <a:gd name="T29" fmla="*/ 163 h 231"/>
                    <a:gd name="T30" fmla="*/ 120 w 197"/>
                    <a:gd name="T31" fmla="*/ 180 h 231"/>
                    <a:gd name="T32" fmla="*/ 104 w 197"/>
                    <a:gd name="T33" fmla="*/ 198 h 231"/>
                    <a:gd name="T34" fmla="*/ 89 w 197"/>
                    <a:gd name="T35" fmla="*/ 215 h 231"/>
                    <a:gd name="T36" fmla="*/ 75 w 197"/>
                    <a:gd name="T37" fmla="*/ 231 h 231"/>
                    <a:gd name="T38" fmla="*/ 63 w 197"/>
                    <a:gd name="T39" fmla="*/ 221 h 231"/>
                    <a:gd name="T40" fmla="*/ 47 w 197"/>
                    <a:gd name="T41" fmla="*/ 217 h 231"/>
                    <a:gd name="T42" fmla="*/ 31 w 197"/>
                    <a:gd name="T43" fmla="*/ 221 h 231"/>
                    <a:gd name="T44" fmla="*/ 18 w 197"/>
                    <a:gd name="T45" fmla="*/ 230 h 231"/>
                    <a:gd name="T46" fmla="*/ 12 w 197"/>
                    <a:gd name="T47" fmla="*/ 224 h 231"/>
                    <a:gd name="T48" fmla="*/ 9 w 197"/>
                    <a:gd name="T49" fmla="*/ 219 h 231"/>
                    <a:gd name="T50" fmla="*/ 5 w 197"/>
                    <a:gd name="T51" fmla="*/ 215 h 231"/>
                    <a:gd name="T52" fmla="*/ 0 w 197"/>
                    <a:gd name="T53" fmla="*/ 211 h 231"/>
                    <a:gd name="T54" fmla="*/ 16 w 197"/>
                    <a:gd name="T55" fmla="*/ 185 h 231"/>
                    <a:gd name="T56" fmla="*/ 34 w 197"/>
                    <a:gd name="T57" fmla="*/ 158 h 231"/>
                    <a:gd name="T58" fmla="*/ 54 w 197"/>
                    <a:gd name="T59" fmla="*/ 131 h 231"/>
                    <a:gd name="T60" fmla="*/ 73 w 197"/>
                    <a:gd name="T61" fmla="*/ 103 h 231"/>
                    <a:gd name="T62" fmla="*/ 91 w 197"/>
                    <a:gd name="T63" fmla="*/ 73 h 231"/>
                    <a:gd name="T64" fmla="*/ 104 w 197"/>
                    <a:gd name="T65" fmla="*/ 42 h 231"/>
                    <a:gd name="T66" fmla="*/ 111 w 197"/>
                    <a:gd name="T67" fmla="*/ 9 h 231"/>
                    <a:gd name="T68" fmla="*/ 115 w 197"/>
                    <a:gd name="T69" fmla="*/ 4 h 231"/>
                    <a:gd name="T70" fmla="*/ 127 w 197"/>
                    <a:gd name="T71" fmla="*/ 1 h 231"/>
                    <a:gd name="T72" fmla="*/ 142 w 197"/>
                    <a:gd name="T73" fmla="*/ 0 h 2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97" h="231">
                      <a:moveTo>
                        <a:pt x="142" y="0"/>
                      </a:moveTo>
                      <a:lnTo>
                        <a:pt x="159" y="1"/>
                      </a:lnTo>
                      <a:lnTo>
                        <a:pt x="174" y="6"/>
                      </a:lnTo>
                      <a:lnTo>
                        <a:pt x="187" y="12"/>
                      </a:lnTo>
                      <a:lnTo>
                        <a:pt x="194" y="22"/>
                      </a:lnTo>
                      <a:lnTo>
                        <a:pt x="197" y="36"/>
                      </a:lnTo>
                      <a:lnTo>
                        <a:pt x="197" y="54"/>
                      </a:lnTo>
                      <a:lnTo>
                        <a:pt x="194" y="71"/>
                      </a:lnTo>
                      <a:lnTo>
                        <a:pt x="190" y="89"/>
                      </a:lnTo>
                      <a:lnTo>
                        <a:pt x="184" y="103"/>
                      </a:lnTo>
                      <a:lnTo>
                        <a:pt x="176" y="115"/>
                      </a:lnTo>
                      <a:lnTo>
                        <a:pt x="171" y="122"/>
                      </a:lnTo>
                      <a:lnTo>
                        <a:pt x="160" y="134"/>
                      </a:lnTo>
                      <a:lnTo>
                        <a:pt x="149" y="147"/>
                      </a:lnTo>
                      <a:lnTo>
                        <a:pt x="134" y="163"/>
                      </a:lnTo>
                      <a:lnTo>
                        <a:pt x="120" y="180"/>
                      </a:lnTo>
                      <a:lnTo>
                        <a:pt x="104" y="198"/>
                      </a:lnTo>
                      <a:lnTo>
                        <a:pt x="89" y="215"/>
                      </a:lnTo>
                      <a:lnTo>
                        <a:pt x="75" y="231"/>
                      </a:lnTo>
                      <a:lnTo>
                        <a:pt x="63" y="221"/>
                      </a:lnTo>
                      <a:lnTo>
                        <a:pt x="47" y="217"/>
                      </a:lnTo>
                      <a:lnTo>
                        <a:pt x="31" y="221"/>
                      </a:lnTo>
                      <a:lnTo>
                        <a:pt x="18" y="230"/>
                      </a:lnTo>
                      <a:lnTo>
                        <a:pt x="12" y="224"/>
                      </a:lnTo>
                      <a:lnTo>
                        <a:pt x="9" y="219"/>
                      </a:lnTo>
                      <a:lnTo>
                        <a:pt x="5" y="215"/>
                      </a:lnTo>
                      <a:lnTo>
                        <a:pt x="0" y="211"/>
                      </a:lnTo>
                      <a:lnTo>
                        <a:pt x="16" y="185"/>
                      </a:lnTo>
                      <a:lnTo>
                        <a:pt x="34" y="158"/>
                      </a:lnTo>
                      <a:lnTo>
                        <a:pt x="54" y="131"/>
                      </a:lnTo>
                      <a:lnTo>
                        <a:pt x="73" y="103"/>
                      </a:lnTo>
                      <a:lnTo>
                        <a:pt x="91" y="73"/>
                      </a:lnTo>
                      <a:lnTo>
                        <a:pt x="104" y="42"/>
                      </a:lnTo>
                      <a:lnTo>
                        <a:pt x="111" y="9"/>
                      </a:lnTo>
                      <a:lnTo>
                        <a:pt x="115" y="4"/>
                      </a:lnTo>
                      <a:lnTo>
                        <a:pt x="127" y="1"/>
                      </a:lnTo>
                      <a:lnTo>
                        <a:pt x="142" y="0"/>
                      </a:lnTo>
                      <a:close/>
                    </a:path>
                  </a:pathLst>
                </a:custGeom>
                <a:solidFill>
                  <a:srgbClr val="FF875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83" name="Freeform 64"/>
                <p:cNvSpPr>
                  <a:spLocks/>
                </p:cNvSpPr>
                <p:nvPr/>
              </p:nvSpPr>
              <p:spPr bwMode="auto">
                <a:xfrm>
                  <a:off x="3819526" y="3965575"/>
                  <a:ext cx="190500" cy="474663"/>
                </a:xfrm>
                <a:custGeom>
                  <a:avLst/>
                  <a:gdLst>
                    <a:gd name="T0" fmla="*/ 109 w 120"/>
                    <a:gd name="T1" fmla="*/ 0 h 299"/>
                    <a:gd name="T2" fmla="*/ 106 w 120"/>
                    <a:gd name="T3" fmla="*/ 14 h 299"/>
                    <a:gd name="T4" fmla="*/ 106 w 120"/>
                    <a:gd name="T5" fmla="*/ 33 h 299"/>
                    <a:gd name="T6" fmla="*/ 107 w 120"/>
                    <a:gd name="T7" fmla="*/ 54 h 299"/>
                    <a:gd name="T8" fmla="*/ 112 w 120"/>
                    <a:gd name="T9" fmla="*/ 75 h 299"/>
                    <a:gd name="T10" fmla="*/ 114 w 120"/>
                    <a:gd name="T11" fmla="*/ 94 h 299"/>
                    <a:gd name="T12" fmla="*/ 119 w 120"/>
                    <a:gd name="T13" fmla="*/ 110 h 299"/>
                    <a:gd name="T14" fmla="*/ 120 w 120"/>
                    <a:gd name="T15" fmla="*/ 123 h 299"/>
                    <a:gd name="T16" fmla="*/ 120 w 120"/>
                    <a:gd name="T17" fmla="*/ 134 h 299"/>
                    <a:gd name="T18" fmla="*/ 119 w 120"/>
                    <a:gd name="T19" fmla="*/ 142 h 299"/>
                    <a:gd name="T20" fmla="*/ 116 w 120"/>
                    <a:gd name="T21" fmla="*/ 148 h 299"/>
                    <a:gd name="T22" fmla="*/ 112 w 120"/>
                    <a:gd name="T23" fmla="*/ 154 h 299"/>
                    <a:gd name="T24" fmla="*/ 104 w 120"/>
                    <a:gd name="T25" fmla="*/ 161 h 299"/>
                    <a:gd name="T26" fmla="*/ 96 w 120"/>
                    <a:gd name="T27" fmla="*/ 173 h 299"/>
                    <a:gd name="T28" fmla="*/ 82 w 120"/>
                    <a:gd name="T29" fmla="*/ 186 h 299"/>
                    <a:gd name="T30" fmla="*/ 69 w 120"/>
                    <a:gd name="T31" fmla="*/ 202 h 299"/>
                    <a:gd name="T32" fmla="*/ 55 w 120"/>
                    <a:gd name="T33" fmla="*/ 218 h 299"/>
                    <a:gd name="T34" fmla="*/ 42 w 120"/>
                    <a:gd name="T35" fmla="*/ 235 h 299"/>
                    <a:gd name="T36" fmla="*/ 30 w 120"/>
                    <a:gd name="T37" fmla="*/ 251 h 299"/>
                    <a:gd name="T38" fmla="*/ 20 w 120"/>
                    <a:gd name="T39" fmla="*/ 267 h 299"/>
                    <a:gd name="T40" fmla="*/ 14 w 120"/>
                    <a:gd name="T41" fmla="*/ 280 h 299"/>
                    <a:gd name="T42" fmla="*/ 13 w 120"/>
                    <a:gd name="T43" fmla="*/ 292 h 299"/>
                    <a:gd name="T44" fmla="*/ 16 w 120"/>
                    <a:gd name="T45" fmla="*/ 299 h 299"/>
                    <a:gd name="T46" fmla="*/ 0 w 120"/>
                    <a:gd name="T47" fmla="*/ 282 h 299"/>
                    <a:gd name="T48" fmla="*/ 14 w 120"/>
                    <a:gd name="T49" fmla="*/ 266 h 299"/>
                    <a:gd name="T50" fmla="*/ 29 w 120"/>
                    <a:gd name="T51" fmla="*/ 247 h 299"/>
                    <a:gd name="T52" fmla="*/ 43 w 120"/>
                    <a:gd name="T53" fmla="*/ 228 h 299"/>
                    <a:gd name="T54" fmla="*/ 56 w 120"/>
                    <a:gd name="T55" fmla="*/ 206 h 299"/>
                    <a:gd name="T56" fmla="*/ 69 w 120"/>
                    <a:gd name="T57" fmla="*/ 186 h 299"/>
                    <a:gd name="T58" fmla="*/ 80 w 120"/>
                    <a:gd name="T59" fmla="*/ 167 h 299"/>
                    <a:gd name="T60" fmla="*/ 90 w 120"/>
                    <a:gd name="T61" fmla="*/ 151 h 299"/>
                    <a:gd name="T62" fmla="*/ 97 w 120"/>
                    <a:gd name="T63" fmla="*/ 138 h 299"/>
                    <a:gd name="T64" fmla="*/ 101 w 120"/>
                    <a:gd name="T65" fmla="*/ 129 h 299"/>
                    <a:gd name="T66" fmla="*/ 103 w 120"/>
                    <a:gd name="T67" fmla="*/ 126 h 299"/>
                    <a:gd name="T68" fmla="*/ 94 w 120"/>
                    <a:gd name="T69" fmla="*/ 105 h 299"/>
                    <a:gd name="T70" fmla="*/ 90 w 120"/>
                    <a:gd name="T71" fmla="*/ 81 h 299"/>
                    <a:gd name="T72" fmla="*/ 88 w 120"/>
                    <a:gd name="T73" fmla="*/ 52 h 299"/>
                    <a:gd name="T74" fmla="*/ 88 w 120"/>
                    <a:gd name="T75" fmla="*/ 49 h 299"/>
                    <a:gd name="T76" fmla="*/ 93 w 120"/>
                    <a:gd name="T77" fmla="*/ 39 h 299"/>
                    <a:gd name="T78" fmla="*/ 97 w 120"/>
                    <a:gd name="T79" fmla="*/ 26 h 299"/>
                    <a:gd name="T80" fmla="*/ 101 w 120"/>
                    <a:gd name="T81" fmla="*/ 13 h 299"/>
                    <a:gd name="T82" fmla="*/ 106 w 120"/>
                    <a:gd name="T83" fmla="*/ 4 h 299"/>
                    <a:gd name="T84" fmla="*/ 109 w 120"/>
                    <a:gd name="T85" fmla="*/ 0 h 2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20" h="299">
                      <a:moveTo>
                        <a:pt x="109" y="0"/>
                      </a:moveTo>
                      <a:lnTo>
                        <a:pt x="106" y="14"/>
                      </a:lnTo>
                      <a:lnTo>
                        <a:pt x="106" y="33"/>
                      </a:lnTo>
                      <a:lnTo>
                        <a:pt x="107" y="54"/>
                      </a:lnTo>
                      <a:lnTo>
                        <a:pt x="112" y="75"/>
                      </a:lnTo>
                      <a:lnTo>
                        <a:pt x="114" y="94"/>
                      </a:lnTo>
                      <a:lnTo>
                        <a:pt x="119" y="110"/>
                      </a:lnTo>
                      <a:lnTo>
                        <a:pt x="120" y="123"/>
                      </a:lnTo>
                      <a:lnTo>
                        <a:pt x="120" y="134"/>
                      </a:lnTo>
                      <a:lnTo>
                        <a:pt x="119" y="142"/>
                      </a:lnTo>
                      <a:lnTo>
                        <a:pt x="116" y="148"/>
                      </a:lnTo>
                      <a:lnTo>
                        <a:pt x="112" y="154"/>
                      </a:lnTo>
                      <a:lnTo>
                        <a:pt x="104" y="161"/>
                      </a:lnTo>
                      <a:lnTo>
                        <a:pt x="96" y="173"/>
                      </a:lnTo>
                      <a:lnTo>
                        <a:pt x="82" y="186"/>
                      </a:lnTo>
                      <a:lnTo>
                        <a:pt x="69" y="202"/>
                      </a:lnTo>
                      <a:lnTo>
                        <a:pt x="55" y="218"/>
                      </a:lnTo>
                      <a:lnTo>
                        <a:pt x="42" y="235"/>
                      </a:lnTo>
                      <a:lnTo>
                        <a:pt x="30" y="251"/>
                      </a:lnTo>
                      <a:lnTo>
                        <a:pt x="20" y="267"/>
                      </a:lnTo>
                      <a:lnTo>
                        <a:pt x="14" y="280"/>
                      </a:lnTo>
                      <a:lnTo>
                        <a:pt x="13" y="292"/>
                      </a:lnTo>
                      <a:lnTo>
                        <a:pt x="16" y="299"/>
                      </a:lnTo>
                      <a:lnTo>
                        <a:pt x="0" y="282"/>
                      </a:lnTo>
                      <a:lnTo>
                        <a:pt x="14" y="266"/>
                      </a:lnTo>
                      <a:lnTo>
                        <a:pt x="29" y="247"/>
                      </a:lnTo>
                      <a:lnTo>
                        <a:pt x="43" y="228"/>
                      </a:lnTo>
                      <a:lnTo>
                        <a:pt x="56" y="206"/>
                      </a:lnTo>
                      <a:lnTo>
                        <a:pt x="69" y="186"/>
                      </a:lnTo>
                      <a:lnTo>
                        <a:pt x="80" y="167"/>
                      </a:lnTo>
                      <a:lnTo>
                        <a:pt x="90" y="151"/>
                      </a:lnTo>
                      <a:lnTo>
                        <a:pt x="97" y="138"/>
                      </a:lnTo>
                      <a:lnTo>
                        <a:pt x="101" y="129"/>
                      </a:lnTo>
                      <a:lnTo>
                        <a:pt x="103" y="126"/>
                      </a:lnTo>
                      <a:lnTo>
                        <a:pt x="94" y="105"/>
                      </a:lnTo>
                      <a:lnTo>
                        <a:pt x="90" y="81"/>
                      </a:lnTo>
                      <a:lnTo>
                        <a:pt x="88" y="52"/>
                      </a:lnTo>
                      <a:lnTo>
                        <a:pt x="88" y="49"/>
                      </a:lnTo>
                      <a:lnTo>
                        <a:pt x="93" y="39"/>
                      </a:lnTo>
                      <a:lnTo>
                        <a:pt x="97" y="26"/>
                      </a:lnTo>
                      <a:lnTo>
                        <a:pt x="101" y="13"/>
                      </a:lnTo>
                      <a:lnTo>
                        <a:pt x="106" y="4"/>
                      </a:lnTo>
                      <a:lnTo>
                        <a:pt x="109" y="0"/>
                      </a:lnTo>
                      <a:close/>
                    </a:path>
                  </a:pathLst>
                </a:custGeom>
                <a:solidFill>
                  <a:srgbClr val="CB6B43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84" name="Freeform 65"/>
                <p:cNvSpPr>
                  <a:spLocks/>
                </p:cNvSpPr>
                <p:nvPr/>
              </p:nvSpPr>
              <p:spPr bwMode="auto">
                <a:xfrm>
                  <a:off x="3298826" y="3711575"/>
                  <a:ext cx="196850" cy="466725"/>
                </a:xfrm>
                <a:custGeom>
                  <a:avLst/>
                  <a:gdLst>
                    <a:gd name="T0" fmla="*/ 114 w 124"/>
                    <a:gd name="T1" fmla="*/ 0 h 294"/>
                    <a:gd name="T2" fmla="*/ 121 w 124"/>
                    <a:gd name="T3" fmla="*/ 13 h 294"/>
                    <a:gd name="T4" fmla="*/ 124 w 124"/>
                    <a:gd name="T5" fmla="*/ 29 h 294"/>
                    <a:gd name="T6" fmla="*/ 122 w 124"/>
                    <a:gd name="T7" fmla="*/ 46 h 294"/>
                    <a:gd name="T8" fmla="*/ 106 w 124"/>
                    <a:gd name="T9" fmla="*/ 113 h 294"/>
                    <a:gd name="T10" fmla="*/ 109 w 124"/>
                    <a:gd name="T11" fmla="*/ 153 h 294"/>
                    <a:gd name="T12" fmla="*/ 108 w 124"/>
                    <a:gd name="T13" fmla="*/ 187 h 294"/>
                    <a:gd name="T14" fmla="*/ 104 w 124"/>
                    <a:gd name="T15" fmla="*/ 222 h 294"/>
                    <a:gd name="T16" fmla="*/ 95 w 124"/>
                    <a:gd name="T17" fmla="*/ 256 h 294"/>
                    <a:gd name="T18" fmla="*/ 82 w 124"/>
                    <a:gd name="T19" fmla="*/ 294 h 294"/>
                    <a:gd name="T20" fmla="*/ 0 w 124"/>
                    <a:gd name="T21" fmla="*/ 241 h 294"/>
                    <a:gd name="T22" fmla="*/ 5 w 124"/>
                    <a:gd name="T23" fmla="*/ 224 h 294"/>
                    <a:gd name="T24" fmla="*/ 8 w 124"/>
                    <a:gd name="T25" fmla="*/ 206 h 294"/>
                    <a:gd name="T26" fmla="*/ 10 w 124"/>
                    <a:gd name="T27" fmla="*/ 190 h 294"/>
                    <a:gd name="T28" fmla="*/ 13 w 124"/>
                    <a:gd name="T29" fmla="*/ 171 h 294"/>
                    <a:gd name="T30" fmla="*/ 15 w 124"/>
                    <a:gd name="T31" fmla="*/ 148 h 294"/>
                    <a:gd name="T32" fmla="*/ 18 w 124"/>
                    <a:gd name="T33" fmla="*/ 121 h 294"/>
                    <a:gd name="T34" fmla="*/ 21 w 124"/>
                    <a:gd name="T35" fmla="*/ 86 h 294"/>
                    <a:gd name="T36" fmla="*/ 25 w 124"/>
                    <a:gd name="T37" fmla="*/ 44 h 294"/>
                    <a:gd name="T38" fmla="*/ 56 w 124"/>
                    <a:gd name="T39" fmla="*/ 41 h 294"/>
                    <a:gd name="T40" fmla="*/ 58 w 124"/>
                    <a:gd name="T41" fmla="*/ 14 h 294"/>
                    <a:gd name="T42" fmla="*/ 64 w 124"/>
                    <a:gd name="T43" fmla="*/ 19 h 294"/>
                    <a:gd name="T44" fmla="*/ 70 w 124"/>
                    <a:gd name="T45" fmla="*/ 22 h 294"/>
                    <a:gd name="T46" fmla="*/ 77 w 124"/>
                    <a:gd name="T47" fmla="*/ 22 h 294"/>
                    <a:gd name="T48" fmla="*/ 93 w 124"/>
                    <a:gd name="T49" fmla="*/ 19 h 294"/>
                    <a:gd name="T50" fmla="*/ 105 w 124"/>
                    <a:gd name="T51" fmla="*/ 12 h 294"/>
                    <a:gd name="T52" fmla="*/ 114 w 124"/>
                    <a:gd name="T53" fmla="*/ 0 h 2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24" h="294">
                      <a:moveTo>
                        <a:pt x="114" y="0"/>
                      </a:moveTo>
                      <a:lnTo>
                        <a:pt x="121" y="13"/>
                      </a:lnTo>
                      <a:lnTo>
                        <a:pt x="124" y="29"/>
                      </a:lnTo>
                      <a:lnTo>
                        <a:pt x="122" y="46"/>
                      </a:lnTo>
                      <a:lnTo>
                        <a:pt x="106" y="113"/>
                      </a:lnTo>
                      <a:lnTo>
                        <a:pt x="109" y="153"/>
                      </a:lnTo>
                      <a:lnTo>
                        <a:pt x="108" y="187"/>
                      </a:lnTo>
                      <a:lnTo>
                        <a:pt x="104" y="222"/>
                      </a:lnTo>
                      <a:lnTo>
                        <a:pt x="95" y="256"/>
                      </a:lnTo>
                      <a:lnTo>
                        <a:pt x="82" y="294"/>
                      </a:lnTo>
                      <a:lnTo>
                        <a:pt x="0" y="241"/>
                      </a:lnTo>
                      <a:lnTo>
                        <a:pt x="5" y="224"/>
                      </a:lnTo>
                      <a:lnTo>
                        <a:pt x="8" y="206"/>
                      </a:lnTo>
                      <a:lnTo>
                        <a:pt x="10" y="190"/>
                      </a:lnTo>
                      <a:lnTo>
                        <a:pt x="13" y="171"/>
                      </a:lnTo>
                      <a:lnTo>
                        <a:pt x="15" y="148"/>
                      </a:lnTo>
                      <a:lnTo>
                        <a:pt x="18" y="121"/>
                      </a:lnTo>
                      <a:lnTo>
                        <a:pt x="21" y="86"/>
                      </a:lnTo>
                      <a:lnTo>
                        <a:pt x="25" y="44"/>
                      </a:lnTo>
                      <a:lnTo>
                        <a:pt x="56" y="41"/>
                      </a:lnTo>
                      <a:lnTo>
                        <a:pt x="58" y="14"/>
                      </a:lnTo>
                      <a:lnTo>
                        <a:pt x="64" y="19"/>
                      </a:lnTo>
                      <a:lnTo>
                        <a:pt x="70" y="22"/>
                      </a:lnTo>
                      <a:lnTo>
                        <a:pt x="77" y="22"/>
                      </a:lnTo>
                      <a:lnTo>
                        <a:pt x="93" y="19"/>
                      </a:lnTo>
                      <a:lnTo>
                        <a:pt x="105" y="12"/>
                      </a:lnTo>
                      <a:lnTo>
                        <a:pt x="114" y="0"/>
                      </a:lnTo>
                      <a:close/>
                    </a:path>
                  </a:pathLst>
                </a:custGeom>
                <a:solidFill>
                  <a:srgbClr val="FF875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85" name="Freeform 66"/>
                <p:cNvSpPr>
                  <a:spLocks/>
                </p:cNvSpPr>
                <p:nvPr/>
              </p:nvSpPr>
              <p:spPr bwMode="auto">
                <a:xfrm>
                  <a:off x="3416301" y="3921125"/>
                  <a:ext cx="200025" cy="477838"/>
                </a:xfrm>
                <a:custGeom>
                  <a:avLst/>
                  <a:gdLst>
                    <a:gd name="T0" fmla="*/ 14 w 126"/>
                    <a:gd name="T1" fmla="*/ 0 h 301"/>
                    <a:gd name="T2" fmla="*/ 16 w 126"/>
                    <a:gd name="T3" fmla="*/ 3 h 301"/>
                    <a:gd name="T4" fmla="*/ 21 w 126"/>
                    <a:gd name="T5" fmla="*/ 10 h 301"/>
                    <a:gd name="T6" fmla="*/ 25 w 126"/>
                    <a:gd name="T7" fmla="*/ 18 h 301"/>
                    <a:gd name="T8" fmla="*/ 31 w 126"/>
                    <a:gd name="T9" fmla="*/ 25 h 301"/>
                    <a:gd name="T10" fmla="*/ 34 w 126"/>
                    <a:gd name="T11" fmla="*/ 32 h 301"/>
                    <a:gd name="T12" fmla="*/ 35 w 126"/>
                    <a:gd name="T13" fmla="*/ 34 h 301"/>
                    <a:gd name="T14" fmla="*/ 34 w 126"/>
                    <a:gd name="T15" fmla="*/ 58 h 301"/>
                    <a:gd name="T16" fmla="*/ 31 w 126"/>
                    <a:gd name="T17" fmla="*/ 85 h 301"/>
                    <a:gd name="T18" fmla="*/ 25 w 126"/>
                    <a:gd name="T19" fmla="*/ 109 h 301"/>
                    <a:gd name="T20" fmla="*/ 19 w 126"/>
                    <a:gd name="T21" fmla="*/ 128 h 301"/>
                    <a:gd name="T22" fmla="*/ 21 w 126"/>
                    <a:gd name="T23" fmla="*/ 131 h 301"/>
                    <a:gd name="T24" fmla="*/ 25 w 126"/>
                    <a:gd name="T25" fmla="*/ 140 h 301"/>
                    <a:gd name="T26" fmla="*/ 32 w 126"/>
                    <a:gd name="T27" fmla="*/ 153 h 301"/>
                    <a:gd name="T28" fmla="*/ 43 w 126"/>
                    <a:gd name="T29" fmla="*/ 170 h 301"/>
                    <a:gd name="T30" fmla="*/ 54 w 126"/>
                    <a:gd name="T31" fmla="*/ 189 h 301"/>
                    <a:gd name="T32" fmla="*/ 69 w 126"/>
                    <a:gd name="T33" fmla="*/ 212 h 301"/>
                    <a:gd name="T34" fmla="*/ 86 w 126"/>
                    <a:gd name="T35" fmla="*/ 236 h 301"/>
                    <a:gd name="T36" fmla="*/ 105 w 126"/>
                    <a:gd name="T37" fmla="*/ 259 h 301"/>
                    <a:gd name="T38" fmla="*/ 126 w 126"/>
                    <a:gd name="T39" fmla="*/ 282 h 301"/>
                    <a:gd name="T40" fmla="*/ 107 w 126"/>
                    <a:gd name="T41" fmla="*/ 301 h 301"/>
                    <a:gd name="T42" fmla="*/ 110 w 126"/>
                    <a:gd name="T43" fmla="*/ 292 h 301"/>
                    <a:gd name="T44" fmla="*/ 108 w 126"/>
                    <a:gd name="T45" fmla="*/ 282 h 301"/>
                    <a:gd name="T46" fmla="*/ 101 w 126"/>
                    <a:gd name="T47" fmla="*/ 268 h 301"/>
                    <a:gd name="T48" fmla="*/ 92 w 126"/>
                    <a:gd name="T49" fmla="*/ 253 h 301"/>
                    <a:gd name="T50" fmla="*/ 80 w 126"/>
                    <a:gd name="T51" fmla="*/ 236 h 301"/>
                    <a:gd name="T52" fmla="*/ 66 w 126"/>
                    <a:gd name="T53" fmla="*/ 220 h 301"/>
                    <a:gd name="T54" fmla="*/ 53 w 126"/>
                    <a:gd name="T55" fmla="*/ 204 h 301"/>
                    <a:gd name="T56" fmla="*/ 40 w 126"/>
                    <a:gd name="T57" fmla="*/ 188 h 301"/>
                    <a:gd name="T58" fmla="*/ 27 w 126"/>
                    <a:gd name="T59" fmla="*/ 175 h 301"/>
                    <a:gd name="T60" fmla="*/ 16 w 126"/>
                    <a:gd name="T61" fmla="*/ 163 h 301"/>
                    <a:gd name="T62" fmla="*/ 11 w 126"/>
                    <a:gd name="T63" fmla="*/ 156 h 301"/>
                    <a:gd name="T64" fmla="*/ 6 w 126"/>
                    <a:gd name="T65" fmla="*/ 150 h 301"/>
                    <a:gd name="T66" fmla="*/ 3 w 126"/>
                    <a:gd name="T67" fmla="*/ 143 h 301"/>
                    <a:gd name="T68" fmla="*/ 0 w 126"/>
                    <a:gd name="T69" fmla="*/ 135 h 301"/>
                    <a:gd name="T70" fmla="*/ 0 w 126"/>
                    <a:gd name="T71" fmla="*/ 125 h 301"/>
                    <a:gd name="T72" fmla="*/ 3 w 126"/>
                    <a:gd name="T73" fmla="*/ 111 h 301"/>
                    <a:gd name="T74" fmla="*/ 6 w 126"/>
                    <a:gd name="T75" fmla="*/ 96 h 301"/>
                    <a:gd name="T76" fmla="*/ 11 w 126"/>
                    <a:gd name="T77" fmla="*/ 77 h 301"/>
                    <a:gd name="T78" fmla="*/ 15 w 126"/>
                    <a:gd name="T79" fmla="*/ 55 h 301"/>
                    <a:gd name="T80" fmla="*/ 16 w 126"/>
                    <a:gd name="T81" fmla="*/ 35 h 301"/>
                    <a:gd name="T82" fmla="*/ 16 w 126"/>
                    <a:gd name="T83" fmla="*/ 16 h 301"/>
                    <a:gd name="T84" fmla="*/ 14 w 126"/>
                    <a:gd name="T85" fmla="*/ 0 h 3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26" h="301">
                      <a:moveTo>
                        <a:pt x="14" y="0"/>
                      </a:moveTo>
                      <a:lnTo>
                        <a:pt x="16" y="3"/>
                      </a:lnTo>
                      <a:lnTo>
                        <a:pt x="21" y="10"/>
                      </a:lnTo>
                      <a:lnTo>
                        <a:pt x="25" y="18"/>
                      </a:lnTo>
                      <a:lnTo>
                        <a:pt x="31" y="25"/>
                      </a:lnTo>
                      <a:lnTo>
                        <a:pt x="34" y="32"/>
                      </a:lnTo>
                      <a:lnTo>
                        <a:pt x="35" y="34"/>
                      </a:lnTo>
                      <a:lnTo>
                        <a:pt x="34" y="58"/>
                      </a:lnTo>
                      <a:lnTo>
                        <a:pt x="31" y="85"/>
                      </a:lnTo>
                      <a:lnTo>
                        <a:pt x="25" y="109"/>
                      </a:lnTo>
                      <a:lnTo>
                        <a:pt x="19" y="128"/>
                      </a:lnTo>
                      <a:lnTo>
                        <a:pt x="21" y="131"/>
                      </a:lnTo>
                      <a:lnTo>
                        <a:pt x="25" y="140"/>
                      </a:lnTo>
                      <a:lnTo>
                        <a:pt x="32" y="153"/>
                      </a:lnTo>
                      <a:lnTo>
                        <a:pt x="43" y="170"/>
                      </a:lnTo>
                      <a:lnTo>
                        <a:pt x="54" y="189"/>
                      </a:lnTo>
                      <a:lnTo>
                        <a:pt x="69" y="212"/>
                      </a:lnTo>
                      <a:lnTo>
                        <a:pt x="86" y="236"/>
                      </a:lnTo>
                      <a:lnTo>
                        <a:pt x="105" y="259"/>
                      </a:lnTo>
                      <a:lnTo>
                        <a:pt x="126" y="282"/>
                      </a:lnTo>
                      <a:lnTo>
                        <a:pt x="107" y="301"/>
                      </a:lnTo>
                      <a:lnTo>
                        <a:pt x="110" y="292"/>
                      </a:lnTo>
                      <a:lnTo>
                        <a:pt x="108" y="282"/>
                      </a:lnTo>
                      <a:lnTo>
                        <a:pt x="101" y="268"/>
                      </a:lnTo>
                      <a:lnTo>
                        <a:pt x="92" y="253"/>
                      </a:lnTo>
                      <a:lnTo>
                        <a:pt x="80" y="236"/>
                      </a:lnTo>
                      <a:lnTo>
                        <a:pt x="66" y="220"/>
                      </a:lnTo>
                      <a:lnTo>
                        <a:pt x="53" y="204"/>
                      </a:lnTo>
                      <a:lnTo>
                        <a:pt x="40" y="188"/>
                      </a:lnTo>
                      <a:lnTo>
                        <a:pt x="27" y="175"/>
                      </a:lnTo>
                      <a:lnTo>
                        <a:pt x="16" y="163"/>
                      </a:lnTo>
                      <a:lnTo>
                        <a:pt x="11" y="156"/>
                      </a:lnTo>
                      <a:lnTo>
                        <a:pt x="6" y="150"/>
                      </a:lnTo>
                      <a:lnTo>
                        <a:pt x="3" y="143"/>
                      </a:lnTo>
                      <a:lnTo>
                        <a:pt x="0" y="135"/>
                      </a:lnTo>
                      <a:lnTo>
                        <a:pt x="0" y="125"/>
                      </a:lnTo>
                      <a:lnTo>
                        <a:pt x="3" y="111"/>
                      </a:lnTo>
                      <a:lnTo>
                        <a:pt x="6" y="96"/>
                      </a:lnTo>
                      <a:lnTo>
                        <a:pt x="11" y="77"/>
                      </a:lnTo>
                      <a:lnTo>
                        <a:pt x="15" y="55"/>
                      </a:lnTo>
                      <a:lnTo>
                        <a:pt x="16" y="35"/>
                      </a:lnTo>
                      <a:lnTo>
                        <a:pt x="16" y="16"/>
                      </a:lnTo>
                      <a:lnTo>
                        <a:pt x="14" y="0"/>
                      </a:lnTo>
                      <a:close/>
                    </a:path>
                  </a:pathLst>
                </a:custGeom>
                <a:solidFill>
                  <a:srgbClr val="CB6B43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86" name="Freeform 67"/>
                <p:cNvSpPr>
                  <a:spLocks/>
                </p:cNvSpPr>
                <p:nvPr/>
              </p:nvSpPr>
              <p:spPr bwMode="auto">
                <a:xfrm>
                  <a:off x="3336926" y="3609975"/>
                  <a:ext cx="754063" cy="288925"/>
                </a:xfrm>
                <a:custGeom>
                  <a:avLst/>
                  <a:gdLst>
                    <a:gd name="T0" fmla="*/ 285 w 475"/>
                    <a:gd name="T1" fmla="*/ 0 h 182"/>
                    <a:gd name="T2" fmla="*/ 302 w 475"/>
                    <a:gd name="T3" fmla="*/ 1 h 182"/>
                    <a:gd name="T4" fmla="*/ 322 w 475"/>
                    <a:gd name="T5" fmla="*/ 7 h 182"/>
                    <a:gd name="T6" fmla="*/ 346 w 475"/>
                    <a:gd name="T7" fmla="*/ 16 h 182"/>
                    <a:gd name="T8" fmla="*/ 372 w 475"/>
                    <a:gd name="T9" fmla="*/ 26 h 182"/>
                    <a:gd name="T10" fmla="*/ 398 w 475"/>
                    <a:gd name="T11" fmla="*/ 39 h 182"/>
                    <a:gd name="T12" fmla="*/ 421 w 475"/>
                    <a:gd name="T13" fmla="*/ 52 h 182"/>
                    <a:gd name="T14" fmla="*/ 443 w 475"/>
                    <a:gd name="T15" fmla="*/ 67 h 182"/>
                    <a:gd name="T16" fmla="*/ 459 w 475"/>
                    <a:gd name="T17" fmla="*/ 83 h 182"/>
                    <a:gd name="T18" fmla="*/ 471 w 475"/>
                    <a:gd name="T19" fmla="*/ 97 h 182"/>
                    <a:gd name="T20" fmla="*/ 475 w 475"/>
                    <a:gd name="T21" fmla="*/ 112 h 182"/>
                    <a:gd name="T22" fmla="*/ 475 w 475"/>
                    <a:gd name="T23" fmla="*/ 134 h 182"/>
                    <a:gd name="T24" fmla="*/ 471 w 475"/>
                    <a:gd name="T25" fmla="*/ 147 h 182"/>
                    <a:gd name="T26" fmla="*/ 464 w 475"/>
                    <a:gd name="T27" fmla="*/ 158 h 182"/>
                    <a:gd name="T28" fmla="*/ 450 w 475"/>
                    <a:gd name="T29" fmla="*/ 167 h 182"/>
                    <a:gd name="T30" fmla="*/ 434 w 475"/>
                    <a:gd name="T31" fmla="*/ 173 h 182"/>
                    <a:gd name="T32" fmla="*/ 417 w 475"/>
                    <a:gd name="T33" fmla="*/ 177 h 182"/>
                    <a:gd name="T34" fmla="*/ 398 w 475"/>
                    <a:gd name="T35" fmla="*/ 180 h 182"/>
                    <a:gd name="T36" fmla="*/ 379 w 475"/>
                    <a:gd name="T37" fmla="*/ 182 h 182"/>
                    <a:gd name="T38" fmla="*/ 360 w 475"/>
                    <a:gd name="T39" fmla="*/ 182 h 182"/>
                    <a:gd name="T40" fmla="*/ 344 w 475"/>
                    <a:gd name="T41" fmla="*/ 182 h 182"/>
                    <a:gd name="T42" fmla="*/ 96 w 475"/>
                    <a:gd name="T43" fmla="*/ 176 h 182"/>
                    <a:gd name="T44" fmla="*/ 78 w 475"/>
                    <a:gd name="T45" fmla="*/ 176 h 182"/>
                    <a:gd name="T46" fmla="*/ 61 w 475"/>
                    <a:gd name="T47" fmla="*/ 174 h 182"/>
                    <a:gd name="T48" fmla="*/ 45 w 475"/>
                    <a:gd name="T49" fmla="*/ 174 h 182"/>
                    <a:gd name="T50" fmla="*/ 30 w 475"/>
                    <a:gd name="T51" fmla="*/ 172 h 182"/>
                    <a:gd name="T52" fmla="*/ 17 w 475"/>
                    <a:gd name="T53" fmla="*/ 167 h 182"/>
                    <a:gd name="T54" fmla="*/ 8 w 475"/>
                    <a:gd name="T55" fmla="*/ 160 h 182"/>
                    <a:gd name="T56" fmla="*/ 2 w 475"/>
                    <a:gd name="T57" fmla="*/ 150 h 182"/>
                    <a:gd name="T58" fmla="*/ 0 w 475"/>
                    <a:gd name="T59" fmla="*/ 135 h 182"/>
                    <a:gd name="T60" fmla="*/ 0 w 475"/>
                    <a:gd name="T61" fmla="*/ 116 h 182"/>
                    <a:gd name="T62" fmla="*/ 4 w 475"/>
                    <a:gd name="T63" fmla="*/ 102 h 182"/>
                    <a:gd name="T64" fmla="*/ 16 w 475"/>
                    <a:gd name="T65" fmla="*/ 86 h 182"/>
                    <a:gd name="T66" fmla="*/ 32 w 475"/>
                    <a:gd name="T67" fmla="*/ 70 h 182"/>
                    <a:gd name="T68" fmla="*/ 52 w 475"/>
                    <a:gd name="T69" fmla="*/ 55 h 182"/>
                    <a:gd name="T70" fmla="*/ 75 w 475"/>
                    <a:gd name="T71" fmla="*/ 41 h 182"/>
                    <a:gd name="T72" fmla="*/ 98 w 475"/>
                    <a:gd name="T73" fmla="*/ 28 h 182"/>
                    <a:gd name="T74" fmla="*/ 123 w 475"/>
                    <a:gd name="T75" fmla="*/ 16 h 182"/>
                    <a:gd name="T76" fmla="*/ 146 w 475"/>
                    <a:gd name="T77" fmla="*/ 7 h 182"/>
                    <a:gd name="T78" fmla="*/ 167 w 475"/>
                    <a:gd name="T79" fmla="*/ 1 h 182"/>
                    <a:gd name="T80" fmla="*/ 183 w 475"/>
                    <a:gd name="T81" fmla="*/ 0 h 182"/>
                    <a:gd name="T82" fmla="*/ 184 w 475"/>
                    <a:gd name="T83" fmla="*/ 3 h 182"/>
                    <a:gd name="T84" fmla="*/ 187 w 475"/>
                    <a:gd name="T85" fmla="*/ 9 h 182"/>
                    <a:gd name="T86" fmla="*/ 193 w 475"/>
                    <a:gd name="T87" fmla="*/ 16 h 182"/>
                    <a:gd name="T88" fmla="*/ 202 w 475"/>
                    <a:gd name="T89" fmla="*/ 23 h 182"/>
                    <a:gd name="T90" fmla="*/ 215 w 475"/>
                    <a:gd name="T91" fmla="*/ 29 h 182"/>
                    <a:gd name="T92" fmla="*/ 231 w 475"/>
                    <a:gd name="T93" fmla="*/ 32 h 182"/>
                    <a:gd name="T94" fmla="*/ 248 w 475"/>
                    <a:gd name="T95" fmla="*/ 31 h 182"/>
                    <a:gd name="T96" fmla="*/ 261 w 475"/>
                    <a:gd name="T97" fmla="*/ 26 h 182"/>
                    <a:gd name="T98" fmla="*/ 272 w 475"/>
                    <a:gd name="T99" fmla="*/ 20 h 182"/>
                    <a:gd name="T100" fmla="*/ 279 w 475"/>
                    <a:gd name="T101" fmla="*/ 13 h 182"/>
                    <a:gd name="T102" fmla="*/ 282 w 475"/>
                    <a:gd name="T103" fmla="*/ 7 h 182"/>
                    <a:gd name="T104" fmla="*/ 285 w 475"/>
                    <a:gd name="T105" fmla="*/ 1 h 182"/>
                    <a:gd name="T106" fmla="*/ 285 w 475"/>
                    <a:gd name="T107" fmla="*/ 0 h 1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475" h="182">
                      <a:moveTo>
                        <a:pt x="285" y="0"/>
                      </a:moveTo>
                      <a:lnTo>
                        <a:pt x="302" y="1"/>
                      </a:lnTo>
                      <a:lnTo>
                        <a:pt x="322" y="7"/>
                      </a:lnTo>
                      <a:lnTo>
                        <a:pt x="346" y="16"/>
                      </a:lnTo>
                      <a:lnTo>
                        <a:pt x="372" y="26"/>
                      </a:lnTo>
                      <a:lnTo>
                        <a:pt x="398" y="39"/>
                      </a:lnTo>
                      <a:lnTo>
                        <a:pt x="421" y="52"/>
                      </a:lnTo>
                      <a:lnTo>
                        <a:pt x="443" y="67"/>
                      </a:lnTo>
                      <a:lnTo>
                        <a:pt x="459" y="83"/>
                      </a:lnTo>
                      <a:lnTo>
                        <a:pt x="471" y="97"/>
                      </a:lnTo>
                      <a:lnTo>
                        <a:pt x="475" y="112"/>
                      </a:lnTo>
                      <a:lnTo>
                        <a:pt x="475" y="134"/>
                      </a:lnTo>
                      <a:lnTo>
                        <a:pt x="471" y="147"/>
                      </a:lnTo>
                      <a:lnTo>
                        <a:pt x="464" y="158"/>
                      </a:lnTo>
                      <a:lnTo>
                        <a:pt x="450" y="167"/>
                      </a:lnTo>
                      <a:lnTo>
                        <a:pt x="434" y="173"/>
                      </a:lnTo>
                      <a:lnTo>
                        <a:pt x="417" y="177"/>
                      </a:lnTo>
                      <a:lnTo>
                        <a:pt x="398" y="180"/>
                      </a:lnTo>
                      <a:lnTo>
                        <a:pt x="379" y="182"/>
                      </a:lnTo>
                      <a:lnTo>
                        <a:pt x="360" y="182"/>
                      </a:lnTo>
                      <a:lnTo>
                        <a:pt x="344" y="182"/>
                      </a:lnTo>
                      <a:lnTo>
                        <a:pt x="96" y="176"/>
                      </a:lnTo>
                      <a:lnTo>
                        <a:pt x="78" y="176"/>
                      </a:lnTo>
                      <a:lnTo>
                        <a:pt x="61" y="174"/>
                      </a:lnTo>
                      <a:lnTo>
                        <a:pt x="45" y="174"/>
                      </a:lnTo>
                      <a:lnTo>
                        <a:pt x="30" y="172"/>
                      </a:lnTo>
                      <a:lnTo>
                        <a:pt x="17" y="167"/>
                      </a:lnTo>
                      <a:lnTo>
                        <a:pt x="8" y="160"/>
                      </a:lnTo>
                      <a:lnTo>
                        <a:pt x="2" y="150"/>
                      </a:lnTo>
                      <a:lnTo>
                        <a:pt x="0" y="135"/>
                      </a:lnTo>
                      <a:lnTo>
                        <a:pt x="0" y="116"/>
                      </a:lnTo>
                      <a:lnTo>
                        <a:pt x="4" y="102"/>
                      </a:lnTo>
                      <a:lnTo>
                        <a:pt x="16" y="86"/>
                      </a:lnTo>
                      <a:lnTo>
                        <a:pt x="32" y="70"/>
                      </a:lnTo>
                      <a:lnTo>
                        <a:pt x="52" y="55"/>
                      </a:lnTo>
                      <a:lnTo>
                        <a:pt x="75" y="41"/>
                      </a:lnTo>
                      <a:lnTo>
                        <a:pt x="98" y="28"/>
                      </a:lnTo>
                      <a:lnTo>
                        <a:pt x="123" y="16"/>
                      </a:lnTo>
                      <a:lnTo>
                        <a:pt x="146" y="7"/>
                      </a:lnTo>
                      <a:lnTo>
                        <a:pt x="167" y="1"/>
                      </a:lnTo>
                      <a:lnTo>
                        <a:pt x="183" y="0"/>
                      </a:lnTo>
                      <a:lnTo>
                        <a:pt x="184" y="3"/>
                      </a:lnTo>
                      <a:lnTo>
                        <a:pt x="187" y="9"/>
                      </a:lnTo>
                      <a:lnTo>
                        <a:pt x="193" y="16"/>
                      </a:lnTo>
                      <a:lnTo>
                        <a:pt x="202" y="23"/>
                      </a:lnTo>
                      <a:lnTo>
                        <a:pt x="215" y="29"/>
                      </a:lnTo>
                      <a:lnTo>
                        <a:pt x="231" y="32"/>
                      </a:lnTo>
                      <a:lnTo>
                        <a:pt x="248" y="31"/>
                      </a:lnTo>
                      <a:lnTo>
                        <a:pt x="261" y="26"/>
                      </a:lnTo>
                      <a:lnTo>
                        <a:pt x="272" y="20"/>
                      </a:lnTo>
                      <a:lnTo>
                        <a:pt x="279" y="13"/>
                      </a:lnTo>
                      <a:lnTo>
                        <a:pt x="282" y="7"/>
                      </a:lnTo>
                      <a:lnTo>
                        <a:pt x="285" y="1"/>
                      </a:lnTo>
                      <a:lnTo>
                        <a:pt x="285" y="0"/>
                      </a:lnTo>
                      <a:close/>
                    </a:path>
                  </a:pathLst>
                </a:custGeom>
                <a:solidFill>
                  <a:srgbClr val="FF875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87" name="Freeform 68"/>
                <p:cNvSpPr>
                  <a:spLocks/>
                </p:cNvSpPr>
                <p:nvPr/>
              </p:nvSpPr>
              <p:spPr bwMode="auto">
                <a:xfrm>
                  <a:off x="3557588" y="3609975"/>
                  <a:ext cx="320675" cy="149225"/>
                </a:xfrm>
                <a:custGeom>
                  <a:avLst/>
                  <a:gdLst>
                    <a:gd name="T0" fmla="*/ 146 w 202"/>
                    <a:gd name="T1" fmla="*/ 0 h 94"/>
                    <a:gd name="T2" fmla="*/ 162 w 202"/>
                    <a:gd name="T3" fmla="*/ 1 h 94"/>
                    <a:gd name="T4" fmla="*/ 181 w 202"/>
                    <a:gd name="T5" fmla="*/ 7 h 94"/>
                    <a:gd name="T6" fmla="*/ 202 w 202"/>
                    <a:gd name="T7" fmla="*/ 15 h 94"/>
                    <a:gd name="T8" fmla="*/ 181 w 202"/>
                    <a:gd name="T9" fmla="*/ 26 h 94"/>
                    <a:gd name="T10" fmla="*/ 160 w 202"/>
                    <a:gd name="T11" fmla="*/ 39 h 94"/>
                    <a:gd name="T12" fmla="*/ 141 w 202"/>
                    <a:gd name="T13" fmla="*/ 55 h 94"/>
                    <a:gd name="T14" fmla="*/ 124 w 202"/>
                    <a:gd name="T15" fmla="*/ 74 h 94"/>
                    <a:gd name="T16" fmla="*/ 106 w 202"/>
                    <a:gd name="T17" fmla="*/ 94 h 94"/>
                    <a:gd name="T18" fmla="*/ 105 w 202"/>
                    <a:gd name="T19" fmla="*/ 94 h 94"/>
                    <a:gd name="T20" fmla="*/ 102 w 202"/>
                    <a:gd name="T21" fmla="*/ 94 h 94"/>
                    <a:gd name="T22" fmla="*/ 101 w 202"/>
                    <a:gd name="T23" fmla="*/ 93 h 94"/>
                    <a:gd name="T24" fmla="*/ 98 w 202"/>
                    <a:gd name="T25" fmla="*/ 92 h 94"/>
                    <a:gd name="T26" fmla="*/ 95 w 202"/>
                    <a:gd name="T27" fmla="*/ 89 h 94"/>
                    <a:gd name="T28" fmla="*/ 92 w 202"/>
                    <a:gd name="T29" fmla="*/ 87 h 94"/>
                    <a:gd name="T30" fmla="*/ 90 w 202"/>
                    <a:gd name="T31" fmla="*/ 86 h 94"/>
                    <a:gd name="T32" fmla="*/ 89 w 202"/>
                    <a:gd name="T33" fmla="*/ 86 h 94"/>
                    <a:gd name="T34" fmla="*/ 87 w 202"/>
                    <a:gd name="T35" fmla="*/ 87 h 94"/>
                    <a:gd name="T36" fmla="*/ 87 w 202"/>
                    <a:gd name="T37" fmla="*/ 87 h 94"/>
                    <a:gd name="T38" fmla="*/ 85 w 202"/>
                    <a:gd name="T39" fmla="*/ 83 h 94"/>
                    <a:gd name="T40" fmla="*/ 80 w 202"/>
                    <a:gd name="T41" fmla="*/ 78 h 94"/>
                    <a:gd name="T42" fmla="*/ 76 w 202"/>
                    <a:gd name="T43" fmla="*/ 76 h 94"/>
                    <a:gd name="T44" fmla="*/ 69 w 202"/>
                    <a:gd name="T45" fmla="*/ 71 h 94"/>
                    <a:gd name="T46" fmla="*/ 64 w 202"/>
                    <a:gd name="T47" fmla="*/ 64 h 94"/>
                    <a:gd name="T48" fmla="*/ 44 w 202"/>
                    <a:gd name="T49" fmla="*/ 44 h 94"/>
                    <a:gd name="T50" fmla="*/ 23 w 202"/>
                    <a:gd name="T51" fmla="*/ 25 h 94"/>
                    <a:gd name="T52" fmla="*/ 0 w 202"/>
                    <a:gd name="T53" fmla="*/ 10 h 94"/>
                    <a:gd name="T54" fmla="*/ 16 w 202"/>
                    <a:gd name="T55" fmla="*/ 4 h 94"/>
                    <a:gd name="T56" fmla="*/ 32 w 202"/>
                    <a:gd name="T57" fmla="*/ 1 h 94"/>
                    <a:gd name="T58" fmla="*/ 44 w 202"/>
                    <a:gd name="T59" fmla="*/ 0 h 94"/>
                    <a:gd name="T60" fmla="*/ 45 w 202"/>
                    <a:gd name="T61" fmla="*/ 3 h 94"/>
                    <a:gd name="T62" fmla="*/ 48 w 202"/>
                    <a:gd name="T63" fmla="*/ 9 h 94"/>
                    <a:gd name="T64" fmla="*/ 54 w 202"/>
                    <a:gd name="T65" fmla="*/ 16 h 94"/>
                    <a:gd name="T66" fmla="*/ 63 w 202"/>
                    <a:gd name="T67" fmla="*/ 23 h 94"/>
                    <a:gd name="T68" fmla="*/ 76 w 202"/>
                    <a:gd name="T69" fmla="*/ 29 h 94"/>
                    <a:gd name="T70" fmla="*/ 92 w 202"/>
                    <a:gd name="T71" fmla="*/ 32 h 94"/>
                    <a:gd name="T72" fmla="*/ 109 w 202"/>
                    <a:gd name="T73" fmla="*/ 31 h 94"/>
                    <a:gd name="T74" fmla="*/ 122 w 202"/>
                    <a:gd name="T75" fmla="*/ 26 h 94"/>
                    <a:gd name="T76" fmla="*/ 133 w 202"/>
                    <a:gd name="T77" fmla="*/ 20 h 94"/>
                    <a:gd name="T78" fmla="*/ 140 w 202"/>
                    <a:gd name="T79" fmla="*/ 13 h 94"/>
                    <a:gd name="T80" fmla="*/ 143 w 202"/>
                    <a:gd name="T81" fmla="*/ 7 h 94"/>
                    <a:gd name="T82" fmla="*/ 146 w 202"/>
                    <a:gd name="T83" fmla="*/ 1 h 94"/>
                    <a:gd name="T84" fmla="*/ 146 w 202"/>
                    <a:gd name="T85" fmla="*/ 0 h 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02" h="94">
                      <a:moveTo>
                        <a:pt x="146" y="0"/>
                      </a:moveTo>
                      <a:lnTo>
                        <a:pt x="162" y="1"/>
                      </a:lnTo>
                      <a:lnTo>
                        <a:pt x="181" y="7"/>
                      </a:lnTo>
                      <a:lnTo>
                        <a:pt x="202" y="15"/>
                      </a:lnTo>
                      <a:lnTo>
                        <a:pt x="181" y="26"/>
                      </a:lnTo>
                      <a:lnTo>
                        <a:pt x="160" y="39"/>
                      </a:lnTo>
                      <a:lnTo>
                        <a:pt x="141" y="55"/>
                      </a:lnTo>
                      <a:lnTo>
                        <a:pt x="124" y="74"/>
                      </a:lnTo>
                      <a:lnTo>
                        <a:pt x="106" y="94"/>
                      </a:lnTo>
                      <a:lnTo>
                        <a:pt x="105" y="94"/>
                      </a:lnTo>
                      <a:lnTo>
                        <a:pt x="102" y="94"/>
                      </a:lnTo>
                      <a:lnTo>
                        <a:pt x="101" y="93"/>
                      </a:lnTo>
                      <a:lnTo>
                        <a:pt x="98" y="92"/>
                      </a:lnTo>
                      <a:lnTo>
                        <a:pt x="95" y="89"/>
                      </a:lnTo>
                      <a:lnTo>
                        <a:pt x="92" y="87"/>
                      </a:lnTo>
                      <a:lnTo>
                        <a:pt x="90" y="86"/>
                      </a:lnTo>
                      <a:lnTo>
                        <a:pt x="89" y="86"/>
                      </a:lnTo>
                      <a:lnTo>
                        <a:pt x="87" y="87"/>
                      </a:lnTo>
                      <a:lnTo>
                        <a:pt x="87" y="87"/>
                      </a:lnTo>
                      <a:lnTo>
                        <a:pt x="85" y="83"/>
                      </a:lnTo>
                      <a:lnTo>
                        <a:pt x="80" y="78"/>
                      </a:lnTo>
                      <a:lnTo>
                        <a:pt x="76" y="76"/>
                      </a:lnTo>
                      <a:lnTo>
                        <a:pt x="69" y="71"/>
                      </a:lnTo>
                      <a:lnTo>
                        <a:pt x="64" y="64"/>
                      </a:lnTo>
                      <a:lnTo>
                        <a:pt x="44" y="44"/>
                      </a:lnTo>
                      <a:lnTo>
                        <a:pt x="23" y="25"/>
                      </a:lnTo>
                      <a:lnTo>
                        <a:pt x="0" y="10"/>
                      </a:lnTo>
                      <a:lnTo>
                        <a:pt x="16" y="4"/>
                      </a:lnTo>
                      <a:lnTo>
                        <a:pt x="32" y="1"/>
                      </a:lnTo>
                      <a:lnTo>
                        <a:pt x="44" y="0"/>
                      </a:lnTo>
                      <a:lnTo>
                        <a:pt x="45" y="3"/>
                      </a:lnTo>
                      <a:lnTo>
                        <a:pt x="48" y="9"/>
                      </a:lnTo>
                      <a:lnTo>
                        <a:pt x="54" y="16"/>
                      </a:lnTo>
                      <a:lnTo>
                        <a:pt x="63" y="23"/>
                      </a:lnTo>
                      <a:lnTo>
                        <a:pt x="76" y="29"/>
                      </a:lnTo>
                      <a:lnTo>
                        <a:pt x="92" y="32"/>
                      </a:lnTo>
                      <a:lnTo>
                        <a:pt x="109" y="31"/>
                      </a:lnTo>
                      <a:lnTo>
                        <a:pt x="122" y="26"/>
                      </a:lnTo>
                      <a:lnTo>
                        <a:pt x="133" y="20"/>
                      </a:lnTo>
                      <a:lnTo>
                        <a:pt x="140" y="13"/>
                      </a:lnTo>
                      <a:lnTo>
                        <a:pt x="143" y="7"/>
                      </a:lnTo>
                      <a:lnTo>
                        <a:pt x="146" y="1"/>
                      </a:lnTo>
                      <a:lnTo>
                        <a:pt x="146" y="0"/>
                      </a:lnTo>
                      <a:close/>
                    </a:path>
                  </a:pathLst>
                </a:custGeom>
                <a:solidFill>
                  <a:srgbClr val="FFF0D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88" name="Freeform 69"/>
                <p:cNvSpPr>
                  <a:spLocks/>
                </p:cNvSpPr>
                <p:nvPr/>
              </p:nvSpPr>
              <p:spPr bwMode="auto">
                <a:xfrm>
                  <a:off x="3714751" y="3575050"/>
                  <a:ext cx="201613" cy="228600"/>
                </a:xfrm>
                <a:custGeom>
                  <a:avLst/>
                  <a:gdLst>
                    <a:gd name="T0" fmla="*/ 47 w 127"/>
                    <a:gd name="T1" fmla="*/ 0 h 144"/>
                    <a:gd name="T2" fmla="*/ 73 w 127"/>
                    <a:gd name="T3" fmla="*/ 5 h 144"/>
                    <a:gd name="T4" fmla="*/ 95 w 127"/>
                    <a:gd name="T5" fmla="*/ 12 h 144"/>
                    <a:gd name="T6" fmla="*/ 112 w 127"/>
                    <a:gd name="T7" fmla="*/ 19 h 144"/>
                    <a:gd name="T8" fmla="*/ 122 w 127"/>
                    <a:gd name="T9" fmla="*/ 28 h 144"/>
                    <a:gd name="T10" fmla="*/ 127 w 127"/>
                    <a:gd name="T11" fmla="*/ 38 h 144"/>
                    <a:gd name="T12" fmla="*/ 122 w 127"/>
                    <a:gd name="T13" fmla="*/ 47 h 144"/>
                    <a:gd name="T14" fmla="*/ 114 w 127"/>
                    <a:gd name="T15" fmla="*/ 57 h 144"/>
                    <a:gd name="T16" fmla="*/ 100 w 127"/>
                    <a:gd name="T17" fmla="*/ 67 h 144"/>
                    <a:gd name="T18" fmla="*/ 83 w 127"/>
                    <a:gd name="T19" fmla="*/ 79 h 144"/>
                    <a:gd name="T20" fmla="*/ 64 w 127"/>
                    <a:gd name="T21" fmla="*/ 89 h 144"/>
                    <a:gd name="T22" fmla="*/ 42 w 127"/>
                    <a:gd name="T23" fmla="*/ 96 h 144"/>
                    <a:gd name="T24" fmla="*/ 35 w 127"/>
                    <a:gd name="T25" fmla="*/ 100 h 144"/>
                    <a:gd name="T26" fmla="*/ 25 w 127"/>
                    <a:gd name="T27" fmla="*/ 106 h 144"/>
                    <a:gd name="T28" fmla="*/ 15 w 127"/>
                    <a:gd name="T29" fmla="*/ 116 h 144"/>
                    <a:gd name="T30" fmla="*/ 7 w 127"/>
                    <a:gd name="T31" fmla="*/ 130 h 144"/>
                    <a:gd name="T32" fmla="*/ 2 w 127"/>
                    <a:gd name="T33" fmla="*/ 144 h 144"/>
                    <a:gd name="T34" fmla="*/ 0 w 127"/>
                    <a:gd name="T35" fmla="*/ 105 h 144"/>
                    <a:gd name="T36" fmla="*/ 0 w 127"/>
                    <a:gd name="T37" fmla="*/ 92 h 144"/>
                    <a:gd name="T38" fmla="*/ 4 w 127"/>
                    <a:gd name="T39" fmla="*/ 82 h 144"/>
                    <a:gd name="T40" fmla="*/ 10 w 127"/>
                    <a:gd name="T41" fmla="*/ 74 h 144"/>
                    <a:gd name="T42" fmla="*/ 19 w 127"/>
                    <a:gd name="T43" fmla="*/ 67 h 144"/>
                    <a:gd name="T44" fmla="*/ 26 w 127"/>
                    <a:gd name="T45" fmla="*/ 60 h 144"/>
                    <a:gd name="T46" fmla="*/ 35 w 127"/>
                    <a:gd name="T47" fmla="*/ 51 h 144"/>
                    <a:gd name="T48" fmla="*/ 41 w 127"/>
                    <a:gd name="T49" fmla="*/ 38 h 144"/>
                    <a:gd name="T50" fmla="*/ 45 w 127"/>
                    <a:gd name="T51" fmla="*/ 22 h 144"/>
                    <a:gd name="T52" fmla="*/ 47 w 127"/>
                    <a:gd name="T53" fmla="*/ 0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27" h="144">
                      <a:moveTo>
                        <a:pt x="47" y="0"/>
                      </a:moveTo>
                      <a:lnTo>
                        <a:pt x="73" y="5"/>
                      </a:lnTo>
                      <a:lnTo>
                        <a:pt x="95" y="12"/>
                      </a:lnTo>
                      <a:lnTo>
                        <a:pt x="112" y="19"/>
                      </a:lnTo>
                      <a:lnTo>
                        <a:pt x="122" y="28"/>
                      </a:lnTo>
                      <a:lnTo>
                        <a:pt x="127" y="38"/>
                      </a:lnTo>
                      <a:lnTo>
                        <a:pt x="122" y="47"/>
                      </a:lnTo>
                      <a:lnTo>
                        <a:pt x="114" y="57"/>
                      </a:lnTo>
                      <a:lnTo>
                        <a:pt x="100" y="67"/>
                      </a:lnTo>
                      <a:lnTo>
                        <a:pt x="83" y="79"/>
                      </a:lnTo>
                      <a:lnTo>
                        <a:pt x="64" y="89"/>
                      </a:lnTo>
                      <a:lnTo>
                        <a:pt x="42" y="96"/>
                      </a:lnTo>
                      <a:lnTo>
                        <a:pt x="35" y="100"/>
                      </a:lnTo>
                      <a:lnTo>
                        <a:pt x="25" y="106"/>
                      </a:lnTo>
                      <a:lnTo>
                        <a:pt x="15" y="116"/>
                      </a:lnTo>
                      <a:lnTo>
                        <a:pt x="7" y="130"/>
                      </a:lnTo>
                      <a:lnTo>
                        <a:pt x="2" y="144"/>
                      </a:lnTo>
                      <a:lnTo>
                        <a:pt x="0" y="105"/>
                      </a:lnTo>
                      <a:lnTo>
                        <a:pt x="0" y="92"/>
                      </a:lnTo>
                      <a:lnTo>
                        <a:pt x="4" y="82"/>
                      </a:lnTo>
                      <a:lnTo>
                        <a:pt x="10" y="74"/>
                      </a:lnTo>
                      <a:lnTo>
                        <a:pt x="19" y="67"/>
                      </a:lnTo>
                      <a:lnTo>
                        <a:pt x="26" y="60"/>
                      </a:lnTo>
                      <a:lnTo>
                        <a:pt x="35" y="51"/>
                      </a:lnTo>
                      <a:lnTo>
                        <a:pt x="41" y="38"/>
                      </a:lnTo>
                      <a:lnTo>
                        <a:pt x="45" y="22"/>
                      </a:lnTo>
                      <a:lnTo>
                        <a:pt x="47" y="0"/>
                      </a:lnTo>
                      <a:close/>
                    </a:path>
                  </a:pathLst>
                </a:custGeom>
                <a:solidFill>
                  <a:srgbClr val="CB6B43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89" name="Freeform 70"/>
                <p:cNvSpPr>
                  <a:spLocks/>
                </p:cNvSpPr>
                <p:nvPr/>
              </p:nvSpPr>
              <p:spPr bwMode="auto">
                <a:xfrm>
                  <a:off x="3502026" y="3575050"/>
                  <a:ext cx="201613" cy="228600"/>
                </a:xfrm>
                <a:custGeom>
                  <a:avLst/>
                  <a:gdLst>
                    <a:gd name="T0" fmla="*/ 79 w 127"/>
                    <a:gd name="T1" fmla="*/ 0 h 144"/>
                    <a:gd name="T2" fmla="*/ 80 w 127"/>
                    <a:gd name="T3" fmla="*/ 22 h 144"/>
                    <a:gd name="T4" fmla="*/ 85 w 127"/>
                    <a:gd name="T5" fmla="*/ 38 h 144"/>
                    <a:gd name="T6" fmla="*/ 92 w 127"/>
                    <a:gd name="T7" fmla="*/ 51 h 144"/>
                    <a:gd name="T8" fmla="*/ 99 w 127"/>
                    <a:gd name="T9" fmla="*/ 60 h 144"/>
                    <a:gd name="T10" fmla="*/ 108 w 127"/>
                    <a:gd name="T11" fmla="*/ 67 h 144"/>
                    <a:gd name="T12" fmla="*/ 115 w 127"/>
                    <a:gd name="T13" fmla="*/ 74 h 144"/>
                    <a:gd name="T14" fmla="*/ 121 w 127"/>
                    <a:gd name="T15" fmla="*/ 82 h 144"/>
                    <a:gd name="T16" fmla="*/ 125 w 127"/>
                    <a:gd name="T17" fmla="*/ 92 h 144"/>
                    <a:gd name="T18" fmla="*/ 127 w 127"/>
                    <a:gd name="T19" fmla="*/ 105 h 144"/>
                    <a:gd name="T20" fmla="*/ 127 w 127"/>
                    <a:gd name="T21" fmla="*/ 144 h 144"/>
                    <a:gd name="T22" fmla="*/ 121 w 127"/>
                    <a:gd name="T23" fmla="*/ 130 h 144"/>
                    <a:gd name="T24" fmla="*/ 112 w 127"/>
                    <a:gd name="T25" fmla="*/ 116 h 144"/>
                    <a:gd name="T26" fmla="*/ 102 w 127"/>
                    <a:gd name="T27" fmla="*/ 106 h 144"/>
                    <a:gd name="T28" fmla="*/ 92 w 127"/>
                    <a:gd name="T29" fmla="*/ 100 h 144"/>
                    <a:gd name="T30" fmla="*/ 85 w 127"/>
                    <a:gd name="T31" fmla="*/ 96 h 144"/>
                    <a:gd name="T32" fmla="*/ 63 w 127"/>
                    <a:gd name="T33" fmla="*/ 89 h 144"/>
                    <a:gd name="T34" fmla="*/ 42 w 127"/>
                    <a:gd name="T35" fmla="*/ 79 h 144"/>
                    <a:gd name="T36" fmla="*/ 25 w 127"/>
                    <a:gd name="T37" fmla="*/ 67 h 144"/>
                    <a:gd name="T38" fmla="*/ 12 w 127"/>
                    <a:gd name="T39" fmla="*/ 57 h 144"/>
                    <a:gd name="T40" fmla="*/ 3 w 127"/>
                    <a:gd name="T41" fmla="*/ 47 h 144"/>
                    <a:gd name="T42" fmla="*/ 0 w 127"/>
                    <a:gd name="T43" fmla="*/ 38 h 144"/>
                    <a:gd name="T44" fmla="*/ 3 w 127"/>
                    <a:gd name="T45" fmla="*/ 28 h 144"/>
                    <a:gd name="T46" fmla="*/ 15 w 127"/>
                    <a:gd name="T47" fmla="*/ 19 h 144"/>
                    <a:gd name="T48" fmla="*/ 31 w 127"/>
                    <a:gd name="T49" fmla="*/ 12 h 144"/>
                    <a:gd name="T50" fmla="*/ 53 w 127"/>
                    <a:gd name="T51" fmla="*/ 5 h 144"/>
                    <a:gd name="T52" fmla="*/ 79 w 127"/>
                    <a:gd name="T53" fmla="*/ 0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27" h="144">
                      <a:moveTo>
                        <a:pt x="79" y="0"/>
                      </a:moveTo>
                      <a:lnTo>
                        <a:pt x="80" y="22"/>
                      </a:lnTo>
                      <a:lnTo>
                        <a:pt x="85" y="38"/>
                      </a:lnTo>
                      <a:lnTo>
                        <a:pt x="92" y="51"/>
                      </a:lnTo>
                      <a:lnTo>
                        <a:pt x="99" y="60"/>
                      </a:lnTo>
                      <a:lnTo>
                        <a:pt x="108" y="67"/>
                      </a:lnTo>
                      <a:lnTo>
                        <a:pt x="115" y="74"/>
                      </a:lnTo>
                      <a:lnTo>
                        <a:pt x="121" y="82"/>
                      </a:lnTo>
                      <a:lnTo>
                        <a:pt x="125" y="92"/>
                      </a:lnTo>
                      <a:lnTo>
                        <a:pt x="127" y="105"/>
                      </a:lnTo>
                      <a:lnTo>
                        <a:pt x="127" y="144"/>
                      </a:lnTo>
                      <a:lnTo>
                        <a:pt x="121" y="130"/>
                      </a:lnTo>
                      <a:lnTo>
                        <a:pt x="112" y="116"/>
                      </a:lnTo>
                      <a:lnTo>
                        <a:pt x="102" y="106"/>
                      </a:lnTo>
                      <a:lnTo>
                        <a:pt x="92" y="100"/>
                      </a:lnTo>
                      <a:lnTo>
                        <a:pt x="85" y="96"/>
                      </a:lnTo>
                      <a:lnTo>
                        <a:pt x="63" y="89"/>
                      </a:lnTo>
                      <a:lnTo>
                        <a:pt x="42" y="79"/>
                      </a:lnTo>
                      <a:lnTo>
                        <a:pt x="25" y="67"/>
                      </a:lnTo>
                      <a:lnTo>
                        <a:pt x="12" y="57"/>
                      </a:lnTo>
                      <a:lnTo>
                        <a:pt x="3" y="47"/>
                      </a:lnTo>
                      <a:lnTo>
                        <a:pt x="0" y="38"/>
                      </a:lnTo>
                      <a:lnTo>
                        <a:pt x="3" y="28"/>
                      </a:lnTo>
                      <a:lnTo>
                        <a:pt x="15" y="19"/>
                      </a:lnTo>
                      <a:lnTo>
                        <a:pt x="31" y="12"/>
                      </a:lnTo>
                      <a:lnTo>
                        <a:pt x="53" y="5"/>
                      </a:lnTo>
                      <a:lnTo>
                        <a:pt x="79" y="0"/>
                      </a:lnTo>
                      <a:close/>
                    </a:path>
                  </a:pathLst>
                </a:custGeom>
                <a:solidFill>
                  <a:srgbClr val="CB6B43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90" name="Rectangle 71"/>
                <p:cNvSpPr>
                  <a:spLocks noChangeArrowheads="1"/>
                </p:cNvSpPr>
                <p:nvPr/>
              </p:nvSpPr>
              <p:spPr bwMode="auto">
                <a:xfrm>
                  <a:off x="3700463" y="3743325"/>
                  <a:ext cx="17463" cy="415925"/>
                </a:xfrm>
                <a:prstGeom prst="rect">
                  <a:avLst/>
                </a:prstGeom>
                <a:solidFill>
                  <a:srgbClr val="CB6B43"/>
                </a:soli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91" name="Rectangle 72"/>
                <p:cNvSpPr>
                  <a:spLocks noChangeArrowheads="1"/>
                </p:cNvSpPr>
                <p:nvPr/>
              </p:nvSpPr>
              <p:spPr bwMode="auto">
                <a:xfrm>
                  <a:off x="3784601" y="3810000"/>
                  <a:ext cx="133350" cy="9525"/>
                </a:xfrm>
                <a:prstGeom prst="rect">
                  <a:avLst/>
                </a:prstGeom>
                <a:solidFill>
                  <a:srgbClr val="CB6B43"/>
                </a:soli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92" name="Freeform 73"/>
                <p:cNvSpPr>
                  <a:spLocks/>
                </p:cNvSpPr>
                <p:nvPr/>
              </p:nvSpPr>
              <p:spPr bwMode="auto">
                <a:xfrm>
                  <a:off x="3784601" y="3840163"/>
                  <a:ext cx="133350" cy="146050"/>
                </a:xfrm>
                <a:custGeom>
                  <a:avLst/>
                  <a:gdLst>
                    <a:gd name="T0" fmla="*/ 0 w 84"/>
                    <a:gd name="T1" fmla="*/ 0 h 92"/>
                    <a:gd name="T2" fmla="*/ 84 w 84"/>
                    <a:gd name="T3" fmla="*/ 0 h 92"/>
                    <a:gd name="T4" fmla="*/ 84 w 84"/>
                    <a:gd name="T5" fmla="*/ 60 h 92"/>
                    <a:gd name="T6" fmla="*/ 42 w 84"/>
                    <a:gd name="T7" fmla="*/ 92 h 92"/>
                    <a:gd name="T8" fmla="*/ 0 w 84"/>
                    <a:gd name="T9" fmla="*/ 60 h 92"/>
                    <a:gd name="T10" fmla="*/ 0 w 84"/>
                    <a:gd name="T11" fmla="*/ 0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4" h="92">
                      <a:moveTo>
                        <a:pt x="0" y="0"/>
                      </a:moveTo>
                      <a:lnTo>
                        <a:pt x="84" y="0"/>
                      </a:lnTo>
                      <a:lnTo>
                        <a:pt x="84" y="60"/>
                      </a:lnTo>
                      <a:lnTo>
                        <a:pt x="42" y="92"/>
                      </a:lnTo>
                      <a:lnTo>
                        <a:pt x="0" y="6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B6B43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93" name="Freeform 74"/>
                <p:cNvSpPr>
                  <a:spLocks/>
                </p:cNvSpPr>
                <p:nvPr/>
              </p:nvSpPr>
              <p:spPr bwMode="auto">
                <a:xfrm>
                  <a:off x="3790951" y="3838575"/>
                  <a:ext cx="120650" cy="141288"/>
                </a:xfrm>
                <a:custGeom>
                  <a:avLst/>
                  <a:gdLst>
                    <a:gd name="T0" fmla="*/ 0 w 76"/>
                    <a:gd name="T1" fmla="*/ 0 h 89"/>
                    <a:gd name="T2" fmla="*/ 76 w 76"/>
                    <a:gd name="T3" fmla="*/ 0 h 89"/>
                    <a:gd name="T4" fmla="*/ 76 w 76"/>
                    <a:gd name="T5" fmla="*/ 58 h 89"/>
                    <a:gd name="T6" fmla="*/ 38 w 76"/>
                    <a:gd name="T7" fmla="*/ 89 h 89"/>
                    <a:gd name="T8" fmla="*/ 0 w 76"/>
                    <a:gd name="T9" fmla="*/ 58 h 89"/>
                    <a:gd name="T10" fmla="*/ 0 w 76"/>
                    <a:gd name="T11" fmla="*/ 0 h 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6" h="89">
                      <a:moveTo>
                        <a:pt x="0" y="0"/>
                      </a:moveTo>
                      <a:lnTo>
                        <a:pt x="76" y="0"/>
                      </a:lnTo>
                      <a:lnTo>
                        <a:pt x="76" y="58"/>
                      </a:lnTo>
                      <a:lnTo>
                        <a:pt x="38" y="89"/>
                      </a:lnTo>
                      <a:lnTo>
                        <a:pt x="0" y="5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875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94" name="Freeform 75"/>
                <p:cNvSpPr>
                  <a:spLocks/>
                </p:cNvSpPr>
                <p:nvPr/>
              </p:nvSpPr>
              <p:spPr bwMode="auto">
                <a:xfrm>
                  <a:off x="3552826" y="3157538"/>
                  <a:ext cx="307975" cy="446088"/>
                </a:xfrm>
                <a:custGeom>
                  <a:avLst/>
                  <a:gdLst>
                    <a:gd name="T0" fmla="*/ 98 w 194"/>
                    <a:gd name="T1" fmla="*/ 0 h 281"/>
                    <a:gd name="T2" fmla="*/ 122 w 194"/>
                    <a:gd name="T3" fmla="*/ 6 h 281"/>
                    <a:gd name="T4" fmla="*/ 146 w 194"/>
                    <a:gd name="T5" fmla="*/ 19 h 281"/>
                    <a:gd name="T6" fmla="*/ 166 w 194"/>
                    <a:gd name="T7" fmla="*/ 39 h 281"/>
                    <a:gd name="T8" fmla="*/ 181 w 194"/>
                    <a:gd name="T9" fmla="*/ 67 h 281"/>
                    <a:gd name="T10" fmla="*/ 191 w 194"/>
                    <a:gd name="T11" fmla="*/ 99 h 281"/>
                    <a:gd name="T12" fmla="*/ 194 w 194"/>
                    <a:gd name="T13" fmla="*/ 137 h 281"/>
                    <a:gd name="T14" fmla="*/ 191 w 194"/>
                    <a:gd name="T15" fmla="*/ 170 h 281"/>
                    <a:gd name="T16" fmla="*/ 182 w 194"/>
                    <a:gd name="T17" fmla="*/ 201 h 281"/>
                    <a:gd name="T18" fmla="*/ 169 w 194"/>
                    <a:gd name="T19" fmla="*/ 227 h 281"/>
                    <a:gd name="T20" fmla="*/ 153 w 194"/>
                    <a:gd name="T21" fmla="*/ 249 h 281"/>
                    <a:gd name="T22" fmla="*/ 134 w 194"/>
                    <a:gd name="T23" fmla="*/ 266 h 281"/>
                    <a:gd name="T24" fmla="*/ 115 w 194"/>
                    <a:gd name="T25" fmla="*/ 276 h 281"/>
                    <a:gd name="T26" fmla="*/ 98 w 194"/>
                    <a:gd name="T27" fmla="*/ 281 h 281"/>
                    <a:gd name="T28" fmla="*/ 80 w 194"/>
                    <a:gd name="T29" fmla="*/ 276 h 281"/>
                    <a:gd name="T30" fmla="*/ 61 w 194"/>
                    <a:gd name="T31" fmla="*/ 266 h 281"/>
                    <a:gd name="T32" fmla="*/ 42 w 194"/>
                    <a:gd name="T33" fmla="*/ 249 h 281"/>
                    <a:gd name="T34" fmla="*/ 26 w 194"/>
                    <a:gd name="T35" fmla="*/ 227 h 281"/>
                    <a:gd name="T36" fmla="*/ 13 w 194"/>
                    <a:gd name="T37" fmla="*/ 201 h 281"/>
                    <a:gd name="T38" fmla="*/ 3 w 194"/>
                    <a:gd name="T39" fmla="*/ 170 h 281"/>
                    <a:gd name="T40" fmla="*/ 0 w 194"/>
                    <a:gd name="T41" fmla="*/ 137 h 281"/>
                    <a:gd name="T42" fmla="*/ 5 w 194"/>
                    <a:gd name="T43" fmla="*/ 99 h 281"/>
                    <a:gd name="T44" fmla="*/ 13 w 194"/>
                    <a:gd name="T45" fmla="*/ 67 h 281"/>
                    <a:gd name="T46" fmla="*/ 29 w 194"/>
                    <a:gd name="T47" fmla="*/ 39 h 281"/>
                    <a:gd name="T48" fmla="*/ 48 w 194"/>
                    <a:gd name="T49" fmla="*/ 19 h 281"/>
                    <a:gd name="T50" fmla="*/ 72 w 194"/>
                    <a:gd name="T51" fmla="*/ 6 h 281"/>
                    <a:gd name="T52" fmla="*/ 98 w 194"/>
                    <a:gd name="T53" fmla="*/ 0 h 2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94" h="281">
                      <a:moveTo>
                        <a:pt x="98" y="0"/>
                      </a:moveTo>
                      <a:lnTo>
                        <a:pt x="122" y="6"/>
                      </a:lnTo>
                      <a:lnTo>
                        <a:pt x="146" y="19"/>
                      </a:lnTo>
                      <a:lnTo>
                        <a:pt x="166" y="39"/>
                      </a:lnTo>
                      <a:lnTo>
                        <a:pt x="181" y="67"/>
                      </a:lnTo>
                      <a:lnTo>
                        <a:pt x="191" y="99"/>
                      </a:lnTo>
                      <a:lnTo>
                        <a:pt x="194" y="137"/>
                      </a:lnTo>
                      <a:lnTo>
                        <a:pt x="191" y="170"/>
                      </a:lnTo>
                      <a:lnTo>
                        <a:pt x="182" y="201"/>
                      </a:lnTo>
                      <a:lnTo>
                        <a:pt x="169" y="227"/>
                      </a:lnTo>
                      <a:lnTo>
                        <a:pt x="153" y="249"/>
                      </a:lnTo>
                      <a:lnTo>
                        <a:pt x="134" y="266"/>
                      </a:lnTo>
                      <a:lnTo>
                        <a:pt x="115" y="276"/>
                      </a:lnTo>
                      <a:lnTo>
                        <a:pt x="98" y="281"/>
                      </a:lnTo>
                      <a:lnTo>
                        <a:pt x="80" y="276"/>
                      </a:lnTo>
                      <a:lnTo>
                        <a:pt x="61" y="266"/>
                      </a:lnTo>
                      <a:lnTo>
                        <a:pt x="42" y="249"/>
                      </a:lnTo>
                      <a:lnTo>
                        <a:pt x="26" y="227"/>
                      </a:lnTo>
                      <a:lnTo>
                        <a:pt x="13" y="201"/>
                      </a:lnTo>
                      <a:lnTo>
                        <a:pt x="3" y="170"/>
                      </a:lnTo>
                      <a:lnTo>
                        <a:pt x="0" y="137"/>
                      </a:lnTo>
                      <a:lnTo>
                        <a:pt x="5" y="99"/>
                      </a:lnTo>
                      <a:lnTo>
                        <a:pt x="13" y="67"/>
                      </a:lnTo>
                      <a:lnTo>
                        <a:pt x="29" y="39"/>
                      </a:lnTo>
                      <a:lnTo>
                        <a:pt x="48" y="19"/>
                      </a:lnTo>
                      <a:lnTo>
                        <a:pt x="72" y="6"/>
                      </a:lnTo>
                      <a:lnTo>
                        <a:pt x="98" y="0"/>
                      </a:lnTo>
                      <a:close/>
                    </a:path>
                  </a:pathLst>
                </a:custGeom>
                <a:solidFill>
                  <a:srgbClr val="FFDEB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95" name="Freeform 76"/>
                <p:cNvSpPr>
                  <a:spLocks/>
                </p:cNvSpPr>
                <p:nvPr/>
              </p:nvSpPr>
              <p:spPr bwMode="auto">
                <a:xfrm>
                  <a:off x="3708401" y="3265488"/>
                  <a:ext cx="152400" cy="338138"/>
                </a:xfrm>
                <a:custGeom>
                  <a:avLst/>
                  <a:gdLst>
                    <a:gd name="T0" fmla="*/ 64 w 96"/>
                    <a:gd name="T1" fmla="*/ 0 h 213"/>
                    <a:gd name="T2" fmla="*/ 67 w 96"/>
                    <a:gd name="T3" fmla="*/ 2 h 213"/>
                    <a:gd name="T4" fmla="*/ 70 w 96"/>
                    <a:gd name="T5" fmla="*/ 5 h 213"/>
                    <a:gd name="T6" fmla="*/ 78 w 96"/>
                    <a:gd name="T7" fmla="*/ 16 h 213"/>
                    <a:gd name="T8" fmla="*/ 86 w 96"/>
                    <a:gd name="T9" fmla="*/ 35 h 213"/>
                    <a:gd name="T10" fmla="*/ 91 w 96"/>
                    <a:gd name="T11" fmla="*/ 54 h 213"/>
                    <a:gd name="T12" fmla="*/ 93 w 96"/>
                    <a:gd name="T13" fmla="*/ 73 h 213"/>
                    <a:gd name="T14" fmla="*/ 93 w 96"/>
                    <a:gd name="T15" fmla="*/ 75 h 213"/>
                    <a:gd name="T16" fmla="*/ 93 w 96"/>
                    <a:gd name="T17" fmla="*/ 76 h 213"/>
                    <a:gd name="T18" fmla="*/ 93 w 96"/>
                    <a:gd name="T19" fmla="*/ 76 h 213"/>
                    <a:gd name="T20" fmla="*/ 94 w 96"/>
                    <a:gd name="T21" fmla="*/ 76 h 213"/>
                    <a:gd name="T22" fmla="*/ 94 w 96"/>
                    <a:gd name="T23" fmla="*/ 73 h 213"/>
                    <a:gd name="T24" fmla="*/ 96 w 96"/>
                    <a:gd name="T25" fmla="*/ 70 h 213"/>
                    <a:gd name="T26" fmla="*/ 93 w 96"/>
                    <a:gd name="T27" fmla="*/ 102 h 213"/>
                    <a:gd name="T28" fmla="*/ 84 w 96"/>
                    <a:gd name="T29" fmla="*/ 133 h 213"/>
                    <a:gd name="T30" fmla="*/ 71 w 96"/>
                    <a:gd name="T31" fmla="*/ 159 h 213"/>
                    <a:gd name="T32" fmla="*/ 55 w 96"/>
                    <a:gd name="T33" fmla="*/ 181 h 213"/>
                    <a:gd name="T34" fmla="*/ 36 w 96"/>
                    <a:gd name="T35" fmla="*/ 198 h 213"/>
                    <a:gd name="T36" fmla="*/ 17 w 96"/>
                    <a:gd name="T37" fmla="*/ 208 h 213"/>
                    <a:gd name="T38" fmla="*/ 0 w 96"/>
                    <a:gd name="T39" fmla="*/ 213 h 213"/>
                    <a:gd name="T40" fmla="*/ 3 w 96"/>
                    <a:gd name="T41" fmla="*/ 211 h 213"/>
                    <a:gd name="T42" fmla="*/ 10 w 96"/>
                    <a:gd name="T43" fmla="*/ 207 h 213"/>
                    <a:gd name="T44" fmla="*/ 22 w 96"/>
                    <a:gd name="T45" fmla="*/ 200 h 213"/>
                    <a:gd name="T46" fmla="*/ 35 w 96"/>
                    <a:gd name="T47" fmla="*/ 188 h 213"/>
                    <a:gd name="T48" fmla="*/ 49 w 96"/>
                    <a:gd name="T49" fmla="*/ 173 h 213"/>
                    <a:gd name="T50" fmla="*/ 62 w 96"/>
                    <a:gd name="T51" fmla="*/ 156 h 213"/>
                    <a:gd name="T52" fmla="*/ 74 w 96"/>
                    <a:gd name="T53" fmla="*/ 134 h 213"/>
                    <a:gd name="T54" fmla="*/ 83 w 96"/>
                    <a:gd name="T55" fmla="*/ 109 h 213"/>
                    <a:gd name="T56" fmla="*/ 86 w 96"/>
                    <a:gd name="T57" fmla="*/ 80 h 213"/>
                    <a:gd name="T58" fmla="*/ 84 w 96"/>
                    <a:gd name="T59" fmla="*/ 56 h 213"/>
                    <a:gd name="T60" fmla="*/ 80 w 96"/>
                    <a:gd name="T61" fmla="*/ 35 h 213"/>
                    <a:gd name="T62" fmla="*/ 72 w 96"/>
                    <a:gd name="T63" fmla="*/ 16 h 213"/>
                    <a:gd name="T64" fmla="*/ 64 w 96"/>
                    <a:gd name="T65" fmla="*/ 0 h 2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96" h="213">
                      <a:moveTo>
                        <a:pt x="64" y="0"/>
                      </a:moveTo>
                      <a:lnTo>
                        <a:pt x="67" y="2"/>
                      </a:lnTo>
                      <a:lnTo>
                        <a:pt x="70" y="5"/>
                      </a:lnTo>
                      <a:lnTo>
                        <a:pt x="78" y="16"/>
                      </a:lnTo>
                      <a:lnTo>
                        <a:pt x="86" y="35"/>
                      </a:lnTo>
                      <a:lnTo>
                        <a:pt x="91" y="54"/>
                      </a:lnTo>
                      <a:lnTo>
                        <a:pt x="93" y="73"/>
                      </a:lnTo>
                      <a:lnTo>
                        <a:pt x="93" y="75"/>
                      </a:lnTo>
                      <a:lnTo>
                        <a:pt x="93" y="76"/>
                      </a:lnTo>
                      <a:lnTo>
                        <a:pt x="93" y="76"/>
                      </a:lnTo>
                      <a:lnTo>
                        <a:pt x="94" y="76"/>
                      </a:lnTo>
                      <a:lnTo>
                        <a:pt x="94" y="73"/>
                      </a:lnTo>
                      <a:lnTo>
                        <a:pt x="96" y="70"/>
                      </a:lnTo>
                      <a:lnTo>
                        <a:pt x="93" y="102"/>
                      </a:lnTo>
                      <a:lnTo>
                        <a:pt x="84" y="133"/>
                      </a:lnTo>
                      <a:lnTo>
                        <a:pt x="71" y="159"/>
                      </a:lnTo>
                      <a:lnTo>
                        <a:pt x="55" y="181"/>
                      </a:lnTo>
                      <a:lnTo>
                        <a:pt x="36" y="198"/>
                      </a:lnTo>
                      <a:lnTo>
                        <a:pt x="17" y="208"/>
                      </a:lnTo>
                      <a:lnTo>
                        <a:pt x="0" y="213"/>
                      </a:lnTo>
                      <a:lnTo>
                        <a:pt x="3" y="211"/>
                      </a:lnTo>
                      <a:lnTo>
                        <a:pt x="10" y="207"/>
                      </a:lnTo>
                      <a:lnTo>
                        <a:pt x="22" y="200"/>
                      </a:lnTo>
                      <a:lnTo>
                        <a:pt x="35" y="188"/>
                      </a:lnTo>
                      <a:lnTo>
                        <a:pt x="49" y="173"/>
                      </a:lnTo>
                      <a:lnTo>
                        <a:pt x="62" y="156"/>
                      </a:lnTo>
                      <a:lnTo>
                        <a:pt x="74" y="134"/>
                      </a:lnTo>
                      <a:lnTo>
                        <a:pt x="83" y="109"/>
                      </a:lnTo>
                      <a:lnTo>
                        <a:pt x="86" y="80"/>
                      </a:lnTo>
                      <a:lnTo>
                        <a:pt x="84" y="56"/>
                      </a:lnTo>
                      <a:lnTo>
                        <a:pt x="80" y="35"/>
                      </a:lnTo>
                      <a:lnTo>
                        <a:pt x="72" y="16"/>
                      </a:lnTo>
                      <a:lnTo>
                        <a:pt x="64" y="0"/>
                      </a:lnTo>
                      <a:close/>
                    </a:path>
                  </a:pathLst>
                </a:custGeom>
                <a:solidFill>
                  <a:srgbClr val="F2B78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96" name="Freeform 77"/>
                <p:cNvSpPr>
                  <a:spLocks/>
                </p:cNvSpPr>
                <p:nvPr/>
              </p:nvSpPr>
              <p:spPr bwMode="auto">
                <a:xfrm>
                  <a:off x="3540126" y="3117850"/>
                  <a:ext cx="333375" cy="273050"/>
                </a:xfrm>
                <a:custGeom>
                  <a:avLst/>
                  <a:gdLst>
                    <a:gd name="T0" fmla="*/ 74 w 210"/>
                    <a:gd name="T1" fmla="*/ 0 h 172"/>
                    <a:gd name="T2" fmla="*/ 98 w 210"/>
                    <a:gd name="T3" fmla="*/ 0 h 172"/>
                    <a:gd name="T4" fmla="*/ 119 w 210"/>
                    <a:gd name="T5" fmla="*/ 5 h 172"/>
                    <a:gd name="T6" fmla="*/ 133 w 210"/>
                    <a:gd name="T7" fmla="*/ 12 h 172"/>
                    <a:gd name="T8" fmla="*/ 145 w 210"/>
                    <a:gd name="T9" fmla="*/ 21 h 172"/>
                    <a:gd name="T10" fmla="*/ 155 w 210"/>
                    <a:gd name="T11" fmla="*/ 27 h 172"/>
                    <a:gd name="T12" fmla="*/ 162 w 210"/>
                    <a:gd name="T13" fmla="*/ 31 h 172"/>
                    <a:gd name="T14" fmla="*/ 183 w 210"/>
                    <a:gd name="T15" fmla="*/ 38 h 172"/>
                    <a:gd name="T16" fmla="*/ 197 w 210"/>
                    <a:gd name="T17" fmla="*/ 48 h 172"/>
                    <a:gd name="T18" fmla="*/ 205 w 210"/>
                    <a:gd name="T19" fmla="*/ 61 h 172"/>
                    <a:gd name="T20" fmla="*/ 209 w 210"/>
                    <a:gd name="T21" fmla="*/ 75 h 172"/>
                    <a:gd name="T22" fmla="*/ 210 w 210"/>
                    <a:gd name="T23" fmla="*/ 90 h 172"/>
                    <a:gd name="T24" fmla="*/ 209 w 210"/>
                    <a:gd name="T25" fmla="*/ 106 h 172"/>
                    <a:gd name="T26" fmla="*/ 209 w 210"/>
                    <a:gd name="T27" fmla="*/ 122 h 172"/>
                    <a:gd name="T28" fmla="*/ 208 w 210"/>
                    <a:gd name="T29" fmla="*/ 136 h 172"/>
                    <a:gd name="T30" fmla="*/ 206 w 210"/>
                    <a:gd name="T31" fmla="*/ 147 h 172"/>
                    <a:gd name="T32" fmla="*/ 203 w 210"/>
                    <a:gd name="T33" fmla="*/ 159 h 172"/>
                    <a:gd name="T34" fmla="*/ 200 w 210"/>
                    <a:gd name="T35" fmla="*/ 166 h 172"/>
                    <a:gd name="T36" fmla="*/ 199 w 210"/>
                    <a:gd name="T37" fmla="*/ 169 h 172"/>
                    <a:gd name="T38" fmla="*/ 199 w 210"/>
                    <a:gd name="T39" fmla="*/ 166 h 172"/>
                    <a:gd name="T40" fmla="*/ 197 w 210"/>
                    <a:gd name="T41" fmla="*/ 147 h 172"/>
                    <a:gd name="T42" fmla="*/ 192 w 210"/>
                    <a:gd name="T43" fmla="*/ 127 h 172"/>
                    <a:gd name="T44" fmla="*/ 184 w 210"/>
                    <a:gd name="T45" fmla="*/ 109 h 172"/>
                    <a:gd name="T46" fmla="*/ 176 w 210"/>
                    <a:gd name="T47" fmla="*/ 98 h 172"/>
                    <a:gd name="T48" fmla="*/ 165 w 210"/>
                    <a:gd name="T49" fmla="*/ 92 h 172"/>
                    <a:gd name="T50" fmla="*/ 155 w 210"/>
                    <a:gd name="T51" fmla="*/ 90 h 172"/>
                    <a:gd name="T52" fmla="*/ 145 w 210"/>
                    <a:gd name="T53" fmla="*/ 95 h 172"/>
                    <a:gd name="T54" fmla="*/ 128 w 210"/>
                    <a:gd name="T55" fmla="*/ 106 h 172"/>
                    <a:gd name="T56" fmla="*/ 110 w 210"/>
                    <a:gd name="T57" fmla="*/ 112 h 172"/>
                    <a:gd name="T58" fmla="*/ 91 w 210"/>
                    <a:gd name="T59" fmla="*/ 112 h 172"/>
                    <a:gd name="T60" fmla="*/ 75 w 210"/>
                    <a:gd name="T61" fmla="*/ 109 h 172"/>
                    <a:gd name="T62" fmla="*/ 59 w 210"/>
                    <a:gd name="T63" fmla="*/ 106 h 172"/>
                    <a:gd name="T64" fmla="*/ 46 w 210"/>
                    <a:gd name="T65" fmla="*/ 102 h 172"/>
                    <a:gd name="T66" fmla="*/ 36 w 210"/>
                    <a:gd name="T67" fmla="*/ 99 h 172"/>
                    <a:gd name="T68" fmla="*/ 29 w 210"/>
                    <a:gd name="T69" fmla="*/ 99 h 172"/>
                    <a:gd name="T70" fmla="*/ 24 w 210"/>
                    <a:gd name="T71" fmla="*/ 104 h 172"/>
                    <a:gd name="T72" fmla="*/ 21 w 210"/>
                    <a:gd name="T73" fmla="*/ 114 h 172"/>
                    <a:gd name="T74" fmla="*/ 17 w 210"/>
                    <a:gd name="T75" fmla="*/ 125 h 172"/>
                    <a:gd name="T76" fmla="*/ 14 w 210"/>
                    <a:gd name="T77" fmla="*/ 140 h 172"/>
                    <a:gd name="T78" fmla="*/ 11 w 210"/>
                    <a:gd name="T79" fmla="*/ 154 h 172"/>
                    <a:gd name="T80" fmla="*/ 11 w 210"/>
                    <a:gd name="T81" fmla="*/ 166 h 172"/>
                    <a:gd name="T82" fmla="*/ 13 w 210"/>
                    <a:gd name="T83" fmla="*/ 172 h 172"/>
                    <a:gd name="T84" fmla="*/ 11 w 210"/>
                    <a:gd name="T85" fmla="*/ 172 h 172"/>
                    <a:gd name="T86" fmla="*/ 8 w 210"/>
                    <a:gd name="T87" fmla="*/ 168 h 172"/>
                    <a:gd name="T88" fmla="*/ 5 w 210"/>
                    <a:gd name="T89" fmla="*/ 160 h 172"/>
                    <a:gd name="T90" fmla="*/ 2 w 210"/>
                    <a:gd name="T91" fmla="*/ 150 h 172"/>
                    <a:gd name="T92" fmla="*/ 1 w 210"/>
                    <a:gd name="T93" fmla="*/ 138 h 172"/>
                    <a:gd name="T94" fmla="*/ 0 w 210"/>
                    <a:gd name="T95" fmla="*/ 125 h 172"/>
                    <a:gd name="T96" fmla="*/ 0 w 210"/>
                    <a:gd name="T97" fmla="*/ 105 h 172"/>
                    <a:gd name="T98" fmla="*/ 2 w 210"/>
                    <a:gd name="T99" fmla="*/ 85 h 172"/>
                    <a:gd name="T100" fmla="*/ 7 w 210"/>
                    <a:gd name="T101" fmla="*/ 64 h 172"/>
                    <a:gd name="T102" fmla="*/ 13 w 210"/>
                    <a:gd name="T103" fmla="*/ 45 h 172"/>
                    <a:gd name="T104" fmla="*/ 23 w 210"/>
                    <a:gd name="T105" fmla="*/ 29 h 172"/>
                    <a:gd name="T106" fmla="*/ 36 w 210"/>
                    <a:gd name="T107" fmla="*/ 15 h 172"/>
                    <a:gd name="T108" fmla="*/ 52 w 210"/>
                    <a:gd name="T109" fmla="*/ 6 h 172"/>
                    <a:gd name="T110" fmla="*/ 74 w 210"/>
                    <a:gd name="T111" fmla="*/ 0 h 1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210" h="172">
                      <a:moveTo>
                        <a:pt x="74" y="0"/>
                      </a:moveTo>
                      <a:lnTo>
                        <a:pt x="98" y="0"/>
                      </a:lnTo>
                      <a:lnTo>
                        <a:pt x="119" y="5"/>
                      </a:lnTo>
                      <a:lnTo>
                        <a:pt x="133" y="12"/>
                      </a:lnTo>
                      <a:lnTo>
                        <a:pt x="145" y="21"/>
                      </a:lnTo>
                      <a:lnTo>
                        <a:pt x="155" y="27"/>
                      </a:lnTo>
                      <a:lnTo>
                        <a:pt x="162" y="31"/>
                      </a:lnTo>
                      <a:lnTo>
                        <a:pt x="183" y="38"/>
                      </a:lnTo>
                      <a:lnTo>
                        <a:pt x="197" y="48"/>
                      </a:lnTo>
                      <a:lnTo>
                        <a:pt x="205" y="61"/>
                      </a:lnTo>
                      <a:lnTo>
                        <a:pt x="209" y="75"/>
                      </a:lnTo>
                      <a:lnTo>
                        <a:pt x="210" y="90"/>
                      </a:lnTo>
                      <a:lnTo>
                        <a:pt x="209" y="106"/>
                      </a:lnTo>
                      <a:lnTo>
                        <a:pt x="209" y="122"/>
                      </a:lnTo>
                      <a:lnTo>
                        <a:pt x="208" y="136"/>
                      </a:lnTo>
                      <a:lnTo>
                        <a:pt x="206" y="147"/>
                      </a:lnTo>
                      <a:lnTo>
                        <a:pt x="203" y="159"/>
                      </a:lnTo>
                      <a:lnTo>
                        <a:pt x="200" y="166"/>
                      </a:lnTo>
                      <a:lnTo>
                        <a:pt x="199" y="169"/>
                      </a:lnTo>
                      <a:lnTo>
                        <a:pt x="199" y="166"/>
                      </a:lnTo>
                      <a:lnTo>
                        <a:pt x="197" y="147"/>
                      </a:lnTo>
                      <a:lnTo>
                        <a:pt x="192" y="127"/>
                      </a:lnTo>
                      <a:lnTo>
                        <a:pt x="184" y="109"/>
                      </a:lnTo>
                      <a:lnTo>
                        <a:pt x="176" y="98"/>
                      </a:lnTo>
                      <a:lnTo>
                        <a:pt x="165" y="92"/>
                      </a:lnTo>
                      <a:lnTo>
                        <a:pt x="155" y="90"/>
                      </a:lnTo>
                      <a:lnTo>
                        <a:pt x="145" y="95"/>
                      </a:lnTo>
                      <a:lnTo>
                        <a:pt x="128" y="106"/>
                      </a:lnTo>
                      <a:lnTo>
                        <a:pt x="110" y="112"/>
                      </a:lnTo>
                      <a:lnTo>
                        <a:pt x="91" y="112"/>
                      </a:lnTo>
                      <a:lnTo>
                        <a:pt x="75" y="109"/>
                      </a:lnTo>
                      <a:lnTo>
                        <a:pt x="59" y="106"/>
                      </a:lnTo>
                      <a:lnTo>
                        <a:pt x="46" y="102"/>
                      </a:lnTo>
                      <a:lnTo>
                        <a:pt x="36" y="99"/>
                      </a:lnTo>
                      <a:lnTo>
                        <a:pt x="29" y="99"/>
                      </a:lnTo>
                      <a:lnTo>
                        <a:pt x="24" y="104"/>
                      </a:lnTo>
                      <a:lnTo>
                        <a:pt x="21" y="114"/>
                      </a:lnTo>
                      <a:lnTo>
                        <a:pt x="17" y="125"/>
                      </a:lnTo>
                      <a:lnTo>
                        <a:pt x="14" y="140"/>
                      </a:lnTo>
                      <a:lnTo>
                        <a:pt x="11" y="154"/>
                      </a:lnTo>
                      <a:lnTo>
                        <a:pt x="11" y="166"/>
                      </a:lnTo>
                      <a:lnTo>
                        <a:pt x="13" y="172"/>
                      </a:lnTo>
                      <a:lnTo>
                        <a:pt x="11" y="172"/>
                      </a:lnTo>
                      <a:lnTo>
                        <a:pt x="8" y="168"/>
                      </a:lnTo>
                      <a:lnTo>
                        <a:pt x="5" y="160"/>
                      </a:lnTo>
                      <a:lnTo>
                        <a:pt x="2" y="150"/>
                      </a:lnTo>
                      <a:lnTo>
                        <a:pt x="1" y="138"/>
                      </a:lnTo>
                      <a:lnTo>
                        <a:pt x="0" y="125"/>
                      </a:lnTo>
                      <a:lnTo>
                        <a:pt x="0" y="105"/>
                      </a:lnTo>
                      <a:lnTo>
                        <a:pt x="2" y="85"/>
                      </a:lnTo>
                      <a:lnTo>
                        <a:pt x="7" y="64"/>
                      </a:lnTo>
                      <a:lnTo>
                        <a:pt x="13" y="45"/>
                      </a:lnTo>
                      <a:lnTo>
                        <a:pt x="23" y="29"/>
                      </a:lnTo>
                      <a:lnTo>
                        <a:pt x="36" y="15"/>
                      </a:lnTo>
                      <a:lnTo>
                        <a:pt x="52" y="6"/>
                      </a:lnTo>
                      <a:lnTo>
                        <a:pt x="74" y="0"/>
                      </a:lnTo>
                      <a:close/>
                    </a:path>
                  </a:pathLst>
                </a:custGeom>
                <a:solidFill>
                  <a:srgbClr val="394856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97" name="Freeform 78"/>
                <p:cNvSpPr>
                  <a:spLocks/>
                </p:cNvSpPr>
                <p:nvPr/>
              </p:nvSpPr>
              <p:spPr bwMode="auto">
                <a:xfrm>
                  <a:off x="3819526" y="3273425"/>
                  <a:ext cx="36513" cy="107950"/>
                </a:xfrm>
                <a:custGeom>
                  <a:avLst/>
                  <a:gdLst>
                    <a:gd name="T0" fmla="*/ 0 w 23"/>
                    <a:gd name="T1" fmla="*/ 0 h 68"/>
                    <a:gd name="T2" fmla="*/ 8 w 23"/>
                    <a:gd name="T3" fmla="*/ 11 h 68"/>
                    <a:gd name="T4" fmla="*/ 16 w 23"/>
                    <a:gd name="T5" fmla="*/ 29 h 68"/>
                    <a:gd name="T6" fmla="*/ 21 w 23"/>
                    <a:gd name="T7" fmla="*/ 49 h 68"/>
                    <a:gd name="T8" fmla="*/ 23 w 23"/>
                    <a:gd name="T9" fmla="*/ 68 h 68"/>
                    <a:gd name="T10" fmla="*/ 21 w 23"/>
                    <a:gd name="T11" fmla="*/ 49 h 68"/>
                    <a:gd name="T12" fmla="*/ 16 w 23"/>
                    <a:gd name="T13" fmla="*/ 30 h 68"/>
                    <a:gd name="T14" fmla="*/ 8 w 23"/>
                    <a:gd name="T15" fmla="*/ 11 h 68"/>
                    <a:gd name="T16" fmla="*/ 0 w 23"/>
                    <a:gd name="T17" fmla="*/ 0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3" h="68">
                      <a:moveTo>
                        <a:pt x="0" y="0"/>
                      </a:moveTo>
                      <a:lnTo>
                        <a:pt x="8" y="11"/>
                      </a:lnTo>
                      <a:lnTo>
                        <a:pt x="16" y="29"/>
                      </a:lnTo>
                      <a:lnTo>
                        <a:pt x="21" y="49"/>
                      </a:lnTo>
                      <a:lnTo>
                        <a:pt x="23" y="68"/>
                      </a:lnTo>
                      <a:lnTo>
                        <a:pt x="21" y="49"/>
                      </a:lnTo>
                      <a:lnTo>
                        <a:pt x="16" y="30"/>
                      </a:lnTo>
                      <a:lnTo>
                        <a:pt x="8" y="1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F804A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98" name="Freeform 79"/>
                <p:cNvSpPr>
                  <a:spLocks/>
                </p:cNvSpPr>
                <p:nvPr/>
              </p:nvSpPr>
              <p:spPr bwMode="auto">
                <a:xfrm>
                  <a:off x="3654426" y="3117850"/>
                  <a:ext cx="219075" cy="268288"/>
                </a:xfrm>
                <a:custGeom>
                  <a:avLst/>
                  <a:gdLst>
                    <a:gd name="T0" fmla="*/ 15 w 138"/>
                    <a:gd name="T1" fmla="*/ 0 h 169"/>
                    <a:gd name="T2" fmla="*/ 21 w 138"/>
                    <a:gd name="T3" fmla="*/ 0 h 169"/>
                    <a:gd name="T4" fmla="*/ 26 w 138"/>
                    <a:gd name="T5" fmla="*/ 0 h 169"/>
                    <a:gd name="T6" fmla="*/ 26 w 138"/>
                    <a:gd name="T7" fmla="*/ 0 h 169"/>
                    <a:gd name="T8" fmla="*/ 47 w 138"/>
                    <a:gd name="T9" fmla="*/ 5 h 169"/>
                    <a:gd name="T10" fmla="*/ 61 w 138"/>
                    <a:gd name="T11" fmla="*/ 12 h 169"/>
                    <a:gd name="T12" fmla="*/ 73 w 138"/>
                    <a:gd name="T13" fmla="*/ 21 h 169"/>
                    <a:gd name="T14" fmla="*/ 83 w 138"/>
                    <a:gd name="T15" fmla="*/ 27 h 169"/>
                    <a:gd name="T16" fmla="*/ 90 w 138"/>
                    <a:gd name="T17" fmla="*/ 31 h 169"/>
                    <a:gd name="T18" fmla="*/ 109 w 138"/>
                    <a:gd name="T19" fmla="*/ 37 h 169"/>
                    <a:gd name="T20" fmla="*/ 121 w 138"/>
                    <a:gd name="T21" fmla="*/ 45 h 169"/>
                    <a:gd name="T22" fmla="*/ 130 w 138"/>
                    <a:gd name="T23" fmla="*/ 54 h 169"/>
                    <a:gd name="T24" fmla="*/ 134 w 138"/>
                    <a:gd name="T25" fmla="*/ 66 h 169"/>
                    <a:gd name="T26" fmla="*/ 137 w 138"/>
                    <a:gd name="T27" fmla="*/ 79 h 169"/>
                    <a:gd name="T28" fmla="*/ 138 w 138"/>
                    <a:gd name="T29" fmla="*/ 92 h 169"/>
                    <a:gd name="T30" fmla="*/ 137 w 138"/>
                    <a:gd name="T31" fmla="*/ 122 h 169"/>
                    <a:gd name="T32" fmla="*/ 137 w 138"/>
                    <a:gd name="T33" fmla="*/ 130 h 169"/>
                    <a:gd name="T34" fmla="*/ 136 w 138"/>
                    <a:gd name="T35" fmla="*/ 136 h 169"/>
                    <a:gd name="T36" fmla="*/ 134 w 138"/>
                    <a:gd name="T37" fmla="*/ 149 h 169"/>
                    <a:gd name="T38" fmla="*/ 131 w 138"/>
                    <a:gd name="T39" fmla="*/ 159 h 169"/>
                    <a:gd name="T40" fmla="*/ 128 w 138"/>
                    <a:gd name="T41" fmla="*/ 166 h 169"/>
                    <a:gd name="T42" fmla="*/ 127 w 138"/>
                    <a:gd name="T43" fmla="*/ 169 h 169"/>
                    <a:gd name="T44" fmla="*/ 127 w 138"/>
                    <a:gd name="T45" fmla="*/ 169 h 169"/>
                    <a:gd name="T46" fmla="*/ 127 w 138"/>
                    <a:gd name="T47" fmla="*/ 168 h 169"/>
                    <a:gd name="T48" fmla="*/ 127 w 138"/>
                    <a:gd name="T49" fmla="*/ 166 h 169"/>
                    <a:gd name="T50" fmla="*/ 125 w 138"/>
                    <a:gd name="T51" fmla="*/ 147 h 169"/>
                    <a:gd name="T52" fmla="*/ 120 w 138"/>
                    <a:gd name="T53" fmla="*/ 127 h 169"/>
                    <a:gd name="T54" fmla="*/ 112 w 138"/>
                    <a:gd name="T55" fmla="*/ 109 h 169"/>
                    <a:gd name="T56" fmla="*/ 104 w 138"/>
                    <a:gd name="T57" fmla="*/ 98 h 169"/>
                    <a:gd name="T58" fmla="*/ 92 w 138"/>
                    <a:gd name="T59" fmla="*/ 83 h 169"/>
                    <a:gd name="T60" fmla="*/ 83 w 138"/>
                    <a:gd name="T61" fmla="*/ 70 h 169"/>
                    <a:gd name="T62" fmla="*/ 76 w 138"/>
                    <a:gd name="T63" fmla="*/ 56 h 169"/>
                    <a:gd name="T64" fmla="*/ 67 w 138"/>
                    <a:gd name="T65" fmla="*/ 43 h 169"/>
                    <a:gd name="T66" fmla="*/ 57 w 138"/>
                    <a:gd name="T67" fmla="*/ 29 h 169"/>
                    <a:gd name="T68" fmla="*/ 42 w 138"/>
                    <a:gd name="T69" fmla="*/ 18 h 169"/>
                    <a:gd name="T70" fmla="*/ 25 w 138"/>
                    <a:gd name="T71" fmla="*/ 9 h 169"/>
                    <a:gd name="T72" fmla="*/ 0 w 138"/>
                    <a:gd name="T73" fmla="*/ 0 h 169"/>
                    <a:gd name="T74" fmla="*/ 2 w 138"/>
                    <a:gd name="T75" fmla="*/ 0 h 169"/>
                    <a:gd name="T76" fmla="*/ 5 w 138"/>
                    <a:gd name="T77" fmla="*/ 0 h 169"/>
                    <a:gd name="T78" fmla="*/ 9 w 138"/>
                    <a:gd name="T79" fmla="*/ 0 h 169"/>
                    <a:gd name="T80" fmla="*/ 15 w 138"/>
                    <a:gd name="T81" fmla="*/ 0 h 1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138" h="169">
                      <a:moveTo>
                        <a:pt x="15" y="0"/>
                      </a:moveTo>
                      <a:lnTo>
                        <a:pt x="21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47" y="5"/>
                      </a:lnTo>
                      <a:lnTo>
                        <a:pt x="61" y="12"/>
                      </a:lnTo>
                      <a:lnTo>
                        <a:pt x="73" y="21"/>
                      </a:lnTo>
                      <a:lnTo>
                        <a:pt x="83" y="27"/>
                      </a:lnTo>
                      <a:lnTo>
                        <a:pt x="90" y="31"/>
                      </a:lnTo>
                      <a:lnTo>
                        <a:pt x="109" y="37"/>
                      </a:lnTo>
                      <a:lnTo>
                        <a:pt x="121" y="45"/>
                      </a:lnTo>
                      <a:lnTo>
                        <a:pt x="130" y="54"/>
                      </a:lnTo>
                      <a:lnTo>
                        <a:pt x="134" y="66"/>
                      </a:lnTo>
                      <a:lnTo>
                        <a:pt x="137" y="79"/>
                      </a:lnTo>
                      <a:lnTo>
                        <a:pt x="138" y="92"/>
                      </a:lnTo>
                      <a:lnTo>
                        <a:pt x="137" y="122"/>
                      </a:lnTo>
                      <a:lnTo>
                        <a:pt x="137" y="130"/>
                      </a:lnTo>
                      <a:lnTo>
                        <a:pt x="136" y="136"/>
                      </a:lnTo>
                      <a:lnTo>
                        <a:pt x="134" y="149"/>
                      </a:lnTo>
                      <a:lnTo>
                        <a:pt x="131" y="159"/>
                      </a:lnTo>
                      <a:lnTo>
                        <a:pt x="128" y="166"/>
                      </a:lnTo>
                      <a:lnTo>
                        <a:pt x="127" y="169"/>
                      </a:lnTo>
                      <a:lnTo>
                        <a:pt x="127" y="169"/>
                      </a:lnTo>
                      <a:lnTo>
                        <a:pt x="127" y="168"/>
                      </a:lnTo>
                      <a:lnTo>
                        <a:pt x="127" y="166"/>
                      </a:lnTo>
                      <a:lnTo>
                        <a:pt x="125" y="147"/>
                      </a:lnTo>
                      <a:lnTo>
                        <a:pt x="120" y="127"/>
                      </a:lnTo>
                      <a:lnTo>
                        <a:pt x="112" y="109"/>
                      </a:lnTo>
                      <a:lnTo>
                        <a:pt x="104" y="98"/>
                      </a:lnTo>
                      <a:lnTo>
                        <a:pt x="92" y="83"/>
                      </a:lnTo>
                      <a:lnTo>
                        <a:pt x="83" y="70"/>
                      </a:lnTo>
                      <a:lnTo>
                        <a:pt x="76" y="56"/>
                      </a:lnTo>
                      <a:lnTo>
                        <a:pt x="67" y="43"/>
                      </a:lnTo>
                      <a:lnTo>
                        <a:pt x="57" y="29"/>
                      </a:lnTo>
                      <a:lnTo>
                        <a:pt x="42" y="18"/>
                      </a:lnTo>
                      <a:lnTo>
                        <a:pt x="25" y="9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5" y="0"/>
                      </a:lnTo>
                      <a:lnTo>
                        <a:pt x="9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2D3232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199" name="Freeform 80"/>
                <p:cNvSpPr>
                  <a:spLocks/>
                </p:cNvSpPr>
                <p:nvPr/>
              </p:nvSpPr>
              <p:spPr bwMode="auto">
                <a:xfrm>
                  <a:off x="3255963" y="4113213"/>
                  <a:ext cx="509588" cy="260350"/>
                </a:xfrm>
                <a:custGeom>
                  <a:avLst/>
                  <a:gdLst>
                    <a:gd name="T0" fmla="*/ 53 w 321"/>
                    <a:gd name="T1" fmla="*/ 0 h 164"/>
                    <a:gd name="T2" fmla="*/ 61 w 321"/>
                    <a:gd name="T3" fmla="*/ 1 h 164"/>
                    <a:gd name="T4" fmla="*/ 88 w 321"/>
                    <a:gd name="T5" fmla="*/ 20 h 164"/>
                    <a:gd name="T6" fmla="*/ 120 w 321"/>
                    <a:gd name="T7" fmla="*/ 35 h 164"/>
                    <a:gd name="T8" fmla="*/ 152 w 321"/>
                    <a:gd name="T9" fmla="*/ 46 h 164"/>
                    <a:gd name="T10" fmla="*/ 187 w 321"/>
                    <a:gd name="T11" fmla="*/ 54 h 164"/>
                    <a:gd name="T12" fmla="*/ 221 w 321"/>
                    <a:gd name="T13" fmla="*/ 61 h 164"/>
                    <a:gd name="T14" fmla="*/ 256 w 321"/>
                    <a:gd name="T15" fmla="*/ 67 h 164"/>
                    <a:gd name="T16" fmla="*/ 286 w 321"/>
                    <a:gd name="T17" fmla="*/ 74 h 164"/>
                    <a:gd name="T18" fmla="*/ 315 w 321"/>
                    <a:gd name="T19" fmla="*/ 83 h 164"/>
                    <a:gd name="T20" fmla="*/ 315 w 321"/>
                    <a:gd name="T21" fmla="*/ 90 h 164"/>
                    <a:gd name="T22" fmla="*/ 317 w 321"/>
                    <a:gd name="T23" fmla="*/ 106 h 164"/>
                    <a:gd name="T24" fmla="*/ 318 w 321"/>
                    <a:gd name="T25" fmla="*/ 126 h 164"/>
                    <a:gd name="T26" fmla="*/ 320 w 321"/>
                    <a:gd name="T27" fmla="*/ 147 h 164"/>
                    <a:gd name="T28" fmla="*/ 321 w 321"/>
                    <a:gd name="T29" fmla="*/ 164 h 164"/>
                    <a:gd name="T30" fmla="*/ 315 w 321"/>
                    <a:gd name="T31" fmla="*/ 163 h 164"/>
                    <a:gd name="T32" fmla="*/ 302 w 321"/>
                    <a:gd name="T33" fmla="*/ 163 h 164"/>
                    <a:gd name="T34" fmla="*/ 282 w 321"/>
                    <a:gd name="T35" fmla="*/ 161 h 164"/>
                    <a:gd name="T36" fmla="*/ 257 w 321"/>
                    <a:gd name="T37" fmla="*/ 158 h 164"/>
                    <a:gd name="T38" fmla="*/ 229 w 321"/>
                    <a:gd name="T39" fmla="*/ 157 h 164"/>
                    <a:gd name="T40" fmla="*/ 200 w 321"/>
                    <a:gd name="T41" fmla="*/ 154 h 164"/>
                    <a:gd name="T42" fmla="*/ 171 w 321"/>
                    <a:gd name="T43" fmla="*/ 151 h 164"/>
                    <a:gd name="T44" fmla="*/ 144 w 321"/>
                    <a:gd name="T45" fmla="*/ 148 h 164"/>
                    <a:gd name="T46" fmla="*/ 120 w 321"/>
                    <a:gd name="T47" fmla="*/ 147 h 164"/>
                    <a:gd name="T48" fmla="*/ 101 w 321"/>
                    <a:gd name="T49" fmla="*/ 144 h 164"/>
                    <a:gd name="T50" fmla="*/ 90 w 321"/>
                    <a:gd name="T51" fmla="*/ 142 h 164"/>
                    <a:gd name="T52" fmla="*/ 75 w 321"/>
                    <a:gd name="T53" fmla="*/ 138 h 164"/>
                    <a:gd name="T54" fmla="*/ 58 w 321"/>
                    <a:gd name="T55" fmla="*/ 131 h 164"/>
                    <a:gd name="T56" fmla="*/ 39 w 321"/>
                    <a:gd name="T57" fmla="*/ 121 h 164"/>
                    <a:gd name="T58" fmla="*/ 23 w 321"/>
                    <a:gd name="T59" fmla="*/ 107 h 164"/>
                    <a:gd name="T60" fmla="*/ 10 w 321"/>
                    <a:gd name="T61" fmla="*/ 93 h 164"/>
                    <a:gd name="T62" fmla="*/ 1 w 321"/>
                    <a:gd name="T63" fmla="*/ 78 h 164"/>
                    <a:gd name="T64" fmla="*/ 0 w 321"/>
                    <a:gd name="T65" fmla="*/ 64 h 164"/>
                    <a:gd name="T66" fmla="*/ 4 w 321"/>
                    <a:gd name="T67" fmla="*/ 51 h 164"/>
                    <a:gd name="T68" fmla="*/ 11 w 321"/>
                    <a:gd name="T69" fmla="*/ 36 h 164"/>
                    <a:gd name="T70" fmla="*/ 21 w 321"/>
                    <a:gd name="T71" fmla="*/ 25 h 164"/>
                    <a:gd name="T72" fmla="*/ 33 w 321"/>
                    <a:gd name="T73" fmla="*/ 13 h 164"/>
                    <a:gd name="T74" fmla="*/ 45 w 321"/>
                    <a:gd name="T75" fmla="*/ 4 h 164"/>
                    <a:gd name="T76" fmla="*/ 53 w 321"/>
                    <a:gd name="T77" fmla="*/ 0 h 1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321" h="164">
                      <a:moveTo>
                        <a:pt x="53" y="0"/>
                      </a:moveTo>
                      <a:lnTo>
                        <a:pt x="61" y="1"/>
                      </a:lnTo>
                      <a:lnTo>
                        <a:pt x="88" y="20"/>
                      </a:lnTo>
                      <a:lnTo>
                        <a:pt x="120" y="35"/>
                      </a:lnTo>
                      <a:lnTo>
                        <a:pt x="152" y="46"/>
                      </a:lnTo>
                      <a:lnTo>
                        <a:pt x="187" y="54"/>
                      </a:lnTo>
                      <a:lnTo>
                        <a:pt x="221" y="61"/>
                      </a:lnTo>
                      <a:lnTo>
                        <a:pt x="256" y="67"/>
                      </a:lnTo>
                      <a:lnTo>
                        <a:pt x="286" y="74"/>
                      </a:lnTo>
                      <a:lnTo>
                        <a:pt x="315" y="83"/>
                      </a:lnTo>
                      <a:lnTo>
                        <a:pt x="315" y="90"/>
                      </a:lnTo>
                      <a:lnTo>
                        <a:pt x="317" y="106"/>
                      </a:lnTo>
                      <a:lnTo>
                        <a:pt x="318" y="126"/>
                      </a:lnTo>
                      <a:lnTo>
                        <a:pt x="320" y="147"/>
                      </a:lnTo>
                      <a:lnTo>
                        <a:pt x="321" y="164"/>
                      </a:lnTo>
                      <a:lnTo>
                        <a:pt x="315" y="163"/>
                      </a:lnTo>
                      <a:lnTo>
                        <a:pt x="302" y="163"/>
                      </a:lnTo>
                      <a:lnTo>
                        <a:pt x="282" y="161"/>
                      </a:lnTo>
                      <a:lnTo>
                        <a:pt x="257" y="158"/>
                      </a:lnTo>
                      <a:lnTo>
                        <a:pt x="229" y="157"/>
                      </a:lnTo>
                      <a:lnTo>
                        <a:pt x="200" y="154"/>
                      </a:lnTo>
                      <a:lnTo>
                        <a:pt x="171" y="151"/>
                      </a:lnTo>
                      <a:lnTo>
                        <a:pt x="144" y="148"/>
                      </a:lnTo>
                      <a:lnTo>
                        <a:pt x="120" y="147"/>
                      </a:lnTo>
                      <a:lnTo>
                        <a:pt x="101" y="144"/>
                      </a:lnTo>
                      <a:lnTo>
                        <a:pt x="90" y="142"/>
                      </a:lnTo>
                      <a:lnTo>
                        <a:pt x="75" y="138"/>
                      </a:lnTo>
                      <a:lnTo>
                        <a:pt x="58" y="131"/>
                      </a:lnTo>
                      <a:lnTo>
                        <a:pt x="39" y="121"/>
                      </a:lnTo>
                      <a:lnTo>
                        <a:pt x="23" y="107"/>
                      </a:lnTo>
                      <a:lnTo>
                        <a:pt x="10" y="93"/>
                      </a:lnTo>
                      <a:lnTo>
                        <a:pt x="1" y="78"/>
                      </a:lnTo>
                      <a:lnTo>
                        <a:pt x="0" y="64"/>
                      </a:lnTo>
                      <a:lnTo>
                        <a:pt x="4" y="51"/>
                      </a:lnTo>
                      <a:lnTo>
                        <a:pt x="11" y="36"/>
                      </a:lnTo>
                      <a:lnTo>
                        <a:pt x="21" y="25"/>
                      </a:lnTo>
                      <a:lnTo>
                        <a:pt x="33" y="13"/>
                      </a:lnTo>
                      <a:lnTo>
                        <a:pt x="45" y="4"/>
                      </a:lnTo>
                      <a:lnTo>
                        <a:pt x="53" y="0"/>
                      </a:lnTo>
                      <a:close/>
                    </a:path>
                  </a:pathLst>
                </a:custGeom>
                <a:solidFill>
                  <a:srgbClr val="FF875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00" name="Rectangle 81"/>
                <p:cNvSpPr>
                  <a:spLocks noChangeArrowheads="1"/>
                </p:cNvSpPr>
                <p:nvPr/>
              </p:nvSpPr>
              <p:spPr bwMode="auto">
                <a:xfrm>
                  <a:off x="5067301" y="4662488"/>
                  <a:ext cx="101600" cy="439738"/>
                </a:xfrm>
                <a:prstGeom prst="rect">
                  <a:avLst/>
                </a:prstGeom>
                <a:solidFill>
                  <a:srgbClr val="FFF0D7"/>
                </a:soli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01" name="Freeform 82"/>
                <p:cNvSpPr>
                  <a:spLocks/>
                </p:cNvSpPr>
                <p:nvPr/>
              </p:nvSpPr>
              <p:spPr bwMode="auto">
                <a:xfrm>
                  <a:off x="4835526" y="5070475"/>
                  <a:ext cx="566738" cy="212725"/>
                </a:xfrm>
                <a:custGeom>
                  <a:avLst/>
                  <a:gdLst>
                    <a:gd name="T0" fmla="*/ 155 w 357"/>
                    <a:gd name="T1" fmla="*/ 0 h 134"/>
                    <a:gd name="T2" fmla="*/ 202 w 357"/>
                    <a:gd name="T3" fmla="*/ 0 h 134"/>
                    <a:gd name="T4" fmla="*/ 237 w 357"/>
                    <a:gd name="T5" fmla="*/ 5 h 134"/>
                    <a:gd name="T6" fmla="*/ 267 w 357"/>
                    <a:gd name="T7" fmla="*/ 15 h 134"/>
                    <a:gd name="T8" fmla="*/ 296 w 357"/>
                    <a:gd name="T9" fmla="*/ 29 h 134"/>
                    <a:gd name="T10" fmla="*/ 320 w 357"/>
                    <a:gd name="T11" fmla="*/ 50 h 134"/>
                    <a:gd name="T12" fmla="*/ 338 w 357"/>
                    <a:gd name="T13" fmla="*/ 74 h 134"/>
                    <a:gd name="T14" fmla="*/ 352 w 357"/>
                    <a:gd name="T15" fmla="*/ 103 h 134"/>
                    <a:gd name="T16" fmla="*/ 357 w 357"/>
                    <a:gd name="T17" fmla="*/ 134 h 134"/>
                    <a:gd name="T18" fmla="*/ 299 w 357"/>
                    <a:gd name="T19" fmla="*/ 134 h 134"/>
                    <a:gd name="T20" fmla="*/ 289 w 357"/>
                    <a:gd name="T21" fmla="*/ 108 h 134"/>
                    <a:gd name="T22" fmla="*/ 273 w 357"/>
                    <a:gd name="T23" fmla="*/ 86 h 134"/>
                    <a:gd name="T24" fmla="*/ 251 w 357"/>
                    <a:gd name="T25" fmla="*/ 70 h 134"/>
                    <a:gd name="T26" fmla="*/ 224 w 357"/>
                    <a:gd name="T27" fmla="*/ 58 h 134"/>
                    <a:gd name="T28" fmla="*/ 194 w 357"/>
                    <a:gd name="T29" fmla="*/ 54 h 134"/>
                    <a:gd name="T30" fmla="*/ 162 w 357"/>
                    <a:gd name="T31" fmla="*/ 54 h 134"/>
                    <a:gd name="T32" fmla="*/ 133 w 357"/>
                    <a:gd name="T33" fmla="*/ 58 h 134"/>
                    <a:gd name="T34" fmla="*/ 106 w 357"/>
                    <a:gd name="T35" fmla="*/ 70 h 134"/>
                    <a:gd name="T36" fmla="*/ 84 w 357"/>
                    <a:gd name="T37" fmla="*/ 86 h 134"/>
                    <a:gd name="T38" fmla="*/ 68 w 357"/>
                    <a:gd name="T39" fmla="*/ 108 h 134"/>
                    <a:gd name="T40" fmla="*/ 58 w 357"/>
                    <a:gd name="T41" fmla="*/ 134 h 134"/>
                    <a:gd name="T42" fmla="*/ 0 w 357"/>
                    <a:gd name="T43" fmla="*/ 134 h 134"/>
                    <a:gd name="T44" fmla="*/ 5 w 357"/>
                    <a:gd name="T45" fmla="*/ 103 h 134"/>
                    <a:gd name="T46" fmla="*/ 18 w 357"/>
                    <a:gd name="T47" fmla="*/ 74 h 134"/>
                    <a:gd name="T48" fmla="*/ 37 w 357"/>
                    <a:gd name="T49" fmla="*/ 50 h 134"/>
                    <a:gd name="T50" fmla="*/ 61 w 357"/>
                    <a:gd name="T51" fmla="*/ 29 h 134"/>
                    <a:gd name="T52" fmla="*/ 90 w 357"/>
                    <a:gd name="T53" fmla="*/ 15 h 134"/>
                    <a:gd name="T54" fmla="*/ 122 w 357"/>
                    <a:gd name="T55" fmla="*/ 5 h 134"/>
                    <a:gd name="T56" fmla="*/ 155 w 357"/>
                    <a:gd name="T57" fmla="*/ 0 h 1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57" h="134">
                      <a:moveTo>
                        <a:pt x="155" y="0"/>
                      </a:moveTo>
                      <a:lnTo>
                        <a:pt x="202" y="0"/>
                      </a:lnTo>
                      <a:lnTo>
                        <a:pt x="237" y="5"/>
                      </a:lnTo>
                      <a:lnTo>
                        <a:pt x="267" y="15"/>
                      </a:lnTo>
                      <a:lnTo>
                        <a:pt x="296" y="29"/>
                      </a:lnTo>
                      <a:lnTo>
                        <a:pt x="320" y="50"/>
                      </a:lnTo>
                      <a:lnTo>
                        <a:pt x="338" y="74"/>
                      </a:lnTo>
                      <a:lnTo>
                        <a:pt x="352" y="103"/>
                      </a:lnTo>
                      <a:lnTo>
                        <a:pt x="357" y="134"/>
                      </a:lnTo>
                      <a:lnTo>
                        <a:pt x="299" y="134"/>
                      </a:lnTo>
                      <a:lnTo>
                        <a:pt x="289" y="108"/>
                      </a:lnTo>
                      <a:lnTo>
                        <a:pt x="273" y="86"/>
                      </a:lnTo>
                      <a:lnTo>
                        <a:pt x="251" y="70"/>
                      </a:lnTo>
                      <a:lnTo>
                        <a:pt x="224" y="58"/>
                      </a:lnTo>
                      <a:lnTo>
                        <a:pt x="194" y="54"/>
                      </a:lnTo>
                      <a:lnTo>
                        <a:pt x="162" y="54"/>
                      </a:lnTo>
                      <a:lnTo>
                        <a:pt x="133" y="58"/>
                      </a:lnTo>
                      <a:lnTo>
                        <a:pt x="106" y="70"/>
                      </a:lnTo>
                      <a:lnTo>
                        <a:pt x="84" y="86"/>
                      </a:lnTo>
                      <a:lnTo>
                        <a:pt x="68" y="108"/>
                      </a:lnTo>
                      <a:lnTo>
                        <a:pt x="58" y="134"/>
                      </a:lnTo>
                      <a:lnTo>
                        <a:pt x="0" y="134"/>
                      </a:lnTo>
                      <a:lnTo>
                        <a:pt x="5" y="103"/>
                      </a:lnTo>
                      <a:lnTo>
                        <a:pt x="18" y="74"/>
                      </a:lnTo>
                      <a:lnTo>
                        <a:pt x="37" y="50"/>
                      </a:lnTo>
                      <a:lnTo>
                        <a:pt x="61" y="29"/>
                      </a:lnTo>
                      <a:lnTo>
                        <a:pt x="90" y="15"/>
                      </a:lnTo>
                      <a:lnTo>
                        <a:pt x="122" y="5"/>
                      </a:lnTo>
                      <a:lnTo>
                        <a:pt x="155" y="0"/>
                      </a:lnTo>
                      <a:close/>
                    </a:path>
                  </a:pathLst>
                </a:custGeom>
                <a:solidFill>
                  <a:srgbClr val="FFF0D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02" name="Freeform 83"/>
                <p:cNvSpPr>
                  <a:spLocks/>
                </p:cNvSpPr>
                <p:nvPr/>
              </p:nvSpPr>
              <p:spPr bwMode="auto">
                <a:xfrm>
                  <a:off x="5324476" y="3578225"/>
                  <a:ext cx="274638" cy="1187450"/>
                </a:xfrm>
                <a:custGeom>
                  <a:avLst/>
                  <a:gdLst>
                    <a:gd name="T0" fmla="*/ 86 w 173"/>
                    <a:gd name="T1" fmla="*/ 0 h 748"/>
                    <a:gd name="T2" fmla="*/ 112 w 173"/>
                    <a:gd name="T3" fmla="*/ 4 h 748"/>
                    <a:gd name="T4" fmla="*/ 134 w 173"/>
                    <a:gd name="T5" fmla="*/ 14 h 748"/>
                    <a:gd name="T6" fmla="*/ 153 w 173"/>
                    <a:gd name="T7" fmla="*/ 32 h 748"/>
                    <a:gd name="T8" fmla="*/ 166 w 173"/>
                    <a:gd name="T9" fmla="*/ 52 h 748"/>
                    <a:gd name="T10" fmla="*/ 172 w 173"/>
                    <a:gd name="T11" fmla="*/ 77 h 748"/>
                    <a:gd name="T12" fmla="*/ 173 w 173"/>
                    <a:gd name="T13" fmla="*/ 82 h 748"/>
                    <a:gd name="T14" fmla="*/ 173 w 173"/>
                    <a:gd name="T15" fmla="*/ 88 h 748"/>
                    <a:gd name="T16" fmla="*/ 173 w 173"/>
                    <a:gd name="T17" fmla="*/ 668 h 748"/>
                    <a:gd name="T18" fmla="*/ 172 w 173"/>
                    <a:gd name="T19" fmla="*/ 681 h 748"/>
                    <a:gd name="T20" fmla="*/ 167 w 173"/>
                    <a:gd name="T21" fmla="*/ 697 h 748"/>
                    <a:gd name="T22" fmla="*/ 160 w 173"/>
                    <a:gd name="T23" fmla="*/ 713 h 748"/>
                    <a:gd name="T24" fmla="*/ 151 w 173"/>
                    <a:gd name="T25" fmla="*/ 726 h 748"/>
                    <a:gd name="T26" fmla="*/ 141 w 173"/>
                    <a:gd name="T27" fmla="*/ 737 h 748"/>
                    <a:gd name="T28" fmla="*/ 129 w 173"/>
                    <a:gd name="T29" fmla="*/ 741 h 748"/>
                    <a:gd name="T30" fmla="*/ 92 w 173"/>
                    <a:gd name="T31" fmla="*/ 748 h 748"/>
                    <a:gd name="T32" fmla="*/ 78 w 173"/>
                    <a:gd name="T33" fmla="*/ 747 h 748"/>
                    <a:gd name="T34" fmla="*/ 65 w 173"/>
                    <a:gd name="T35" fmla="*/ 742 h 748"/>
                    <a:gd name="T36" fmla="*/ 57 w 173"/>
                    <a:gd name="T37" fmla="*/ 737 h 748"/>
                    <a:gd name="T38" fmla="*/ 51 w 173"/>
                    <a:gd name="T39" fmla="*/ 728 h 748"/>
                    <a:gd name="T40" fmla="*/ 48 w 173"/>
                    <a:gd name="T41" fmla="*/ 715 h 748"/>
                    <a:gd name="T42" fmla="*/ 48 w 173"/>
                    <a:gd name="T43" fmla="*/ 162 h 748"/>
                    <a:gd name="T44" fmla="*/ 29 w 173"/>
                    <a:gd name="T45" fmla="*/ 149 h 748"/>
                    <a:gd name="T46" fmla="*/ 13 w 173"/>
                    <a:gd name="T47" fmla="*/ 132 h 748"/>
                    <a:gd name="T48" fmla="*/ 3 w 173"/>
                    <a:gd name="T49" fmla="*/ 110 h 748"/>
                    <a:gd name="T50" fmla="*/ 0 w 173"/>
                    <a:gd name="T51" fmla="*/ 85 h 748"/>
                    <a:gd name="T52" fmla="*/ 4 w 173"/>
                    <a:gd name="T53" fmla="*/ 59 h 748"/>
                    <a:gd name="T54" fmla="*/ 16 w 173"/>
                    <a:gd name="T55" fmla="*/ 35 h 748"/>
                    <a:gd name="T56" fmla="*/ 35 w 173"/>
                    <a:gd name="T57" fmla="*/ 17 h 748"/>
                    <a:gd name="T58" fmla="*/ 58 w 173"/>
                    <a:gd name="T59" fmla="*/ 4 h 748"/>
                    <a:gd name="T60" fmla="*/ 86 w 173"/>
                    <a:gd name="T61" fmla="*/ 0 h 7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73" h="748">
                      <a:moveTo>
                        <a:pt x="86" y="0"/>
                      </a:moveTo>
                      <a:lnTo>
                        <a:pt x="112" y="4"/>
                      </a:lnTo>
                      <a:lnTo>
                        <a:pt x="134" y="14"/>
                      </a:lnTo>
                      <a:lnTo>
                        <a:pt x="153" y="32"/>
                      </a:lnTo>
                      <a:lnTo>
                        <a:pt x="166" y="52"/>
                      </a:lnTo>
                      <a:lnTo>
                        <a:pt x="172" y="77"/>
                      </a:lnTo>
                      <a:lnTo>
                        <a:pt x="173" y="82"/>
                      </a:lnTo>
                      <a:lnTo>
                        <a:pt x="173" y="88"/>
                      </a:lnTo>
                      <a:lnTo>
                        <a:pt x="173" y="668"/>
                      </a:lnTo>
                      <a:lnTo>
                        <a:pt x="172" y="681"/>
                      </a:lnTo>
                      <a:lnTo>
                        <a:pt x="167" y="697"/>
                      </a:lnTo>
                      <a:lnTo>
                        <a:pt x="160" y="713"/>
                      </a:lnTo>
                      <a:lnTo>
                        <a:pt x="151" y="726"/>
                      </a:lnTo>
                      <a:lnTo>
                        <a:pt x="141" y="737"/>
                      </a:lnTo>
                      <a:lnTo>
                        <a:pt x="129" y="741"/>
                      </a:lnTo>
                      <a:lnTo>
                        <a:pt x="92" y="748"/>
                      </a:lnTo>
                      <a:lnTo>
                        <a:pt x="78" y="747"/>
                      </a:lnTo>
                      <a:lnTo>
                        <a:pt x="65" y="742"/>
                      </a:lnTo>
                      <a:lnTo>
                        <a:pt x="57" y="737"/>
                      </a:lnTo>
                      <a:lnTo>
                        <a:pt x="51" y="728"/>
                      </a:lnTo>
                      <a:lnTo>
                        <a:pt x="48" y="715"/>
                      </a:lnTo>
                      <a:lnTo>
                        <a:pt x="48" y="162"/>
                      </a:lnTo>
                      <a:lnTo>
                        <a:pt x="29" y="149"/>
                      </a:lnTo>
                      <a:lnTo>
                        <a:pt x="13" y="132"/>
                      </a:lnTo>
                      <a:lnTo>
                        <a:pt x="3" y="110"/>
                      </a:lnTo>
                      <a:lnTo>
                        <a:pt x="0" y="85"/>
                      </a:lnTo>
                      <a:lnTo>
                        <a:pt x="4" y="59"/>
                      </a:lnTo>
                      <a:lnTo>
                        <a:pt x="16" y="35"/>
                      </a:lnTo>
                      <a:lnTo>
                        <a:pt x="35" y="17"/>
                      </a:lnTo>
                      <a:lnTo>
                        <a:pt x="58" y="4"/>
                      </a:lnTo>
                      <a:lnTo>
                        <a:pt x="86" y="0"/>
                      </a:lnTo>
                      <a:close/>
                    </a:path>
                  </a:pathLst>
                </a:custGeom>
                <a:solidFill>
                  <a:srgbClr val="332F2C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03" name="Freeform 84"/>
                <p:cNvSpPr>
                  <a:spLocks/>
                </p:cNvSpPr>
                <p:nvPr/>
              </p:nvSpPr>
              <p:spPr bwMode="auto">
                <a:xfrm>
                  <a:off x="4786313" y="3578225"/>
                  <a:ext cx="666750" cy="1174750"/>
                </a:xfrm>
                <a:custGeom>
                  <a:avLst/>
                  <a:gdLst>
                    <a:gd name="T0" fmla="*/ 0 w 420"/>
                    <a:gd name="T1" fmla="*/ 0 h 740"/>
                    <a:gd name="T2" fmla="*/ 420 w 420"/>
                    <a:gd name="T3" fmla="*/ 0 h 740"/>
                    <a:gd name="T4" fmla="*/ 420 w 420"/>
                    <a:gd name="T5" fmla="*/ 740 h 740"/>
                    <a:gd name="T6" fmla="*/ 0 w 420"/>
                    <a:gd name="T7" fmla="*/ 732 h 740"/>
                    <a:gd name="T8" fmla="*/ 0 w 420"/>
                    <a:gd name="T9" fmla="*/ 0 h 7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20" h="740">
                      <a:moveTo>
                        <a:pt x="0" y="0"/>
                      </a:moveTo>
                      <a:lnTo>
                        <a:pt x="420" y="0"/>
                      </a:lnTo>
                      <a:lnTo>
                        <a:pt x="420" y="740"/>
                      </a:lnTo>
                      <a:lnTo>
                        <a:pt x="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332F2C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04" name="Freeform 85"/>
                <p:cNvSpPr>
                  <a:spLocks noEditPoints="1"/>
                </p:cNvSpPr>
                <p:nvPr/>
              </p:nvSpPr>
              <p:spPr bwMode="auto">
                <a:xfrm>
                  <a:off x="5453063" y="3743325"/>
                  <a:ext cx="146050" cy="1022350"/>
                </a:xfrm>
                <a:custGeom>
                  <a:avLst/>
                  <a:gdLst>
                    <a:gd name="T0" fmla="*/ 0 w 92"/>
                    <a:gd name="T1" fmla="*/ 343 h 644"/>
                    <a:gd name="T2" fmla="*/ 45 w 92"/>
                    <a:gd name="T3" fmla="*/ 343 h 644"/>
                    <a:gd name="T4" fmla="*/ 79 w 92"/>
                    <a:gd name="T5" fmla="*/ 365 h 644"/>
                    <a:gd name="T6" fmla="*/ 82 w 92"/>
                    <a:gd name="T7" fmla="*/ 365 h 644"/>
                    <a:gd name="T8" fmla="*/ 83 w 92"/>
                    <a:gd name="T9" fmla="*/ 365 h 644"/>
                    <a:gd name="T10" fmla="*/ 88 w 92"/>
                    <a:gd name="T11" fmla="*/ 365 h 644"/>
                    <a:gd name="T12" fmla="*/ 92 w 92"/>
                    <a:gd name="T13" fmla="*/ 364 h 644"/>
                    <a:gd name="T14" fmla="*/ 92 w 92"/>
                    <a:gd name="T15" fmla="*/ 564 h 644"/>
                    <a:gd name="T16" fmla="*/ 91 w 92"/>
                    <a:gd name="T17" fmla="*/ 577 h 644"/>
                    <a:gd name="T18" fmla="*/ 86 w 92"/>
                    <a:gd name="T19" fmla="*/ 593 h 644"/>
                    <a:gd name="T20" fmla="*/ 79 w 92"/>
                    <a:gd name="T21" fmla="*/ 609 h 644"/>
                    <a:gd name="T22" fmla="*/ 70 w 92"/>
                    <a:gd name="T23" fmla="*/ 622 h 644"/>
                    <a:gd name="T24" fmla="*/ 60 w 92"/>
                    <a:gd name="T25" fmla="*/ 633 h 644"/>
                    <a:gd name="T26" fmla="*/ 48 w 92"/>
                    <a:gd name="T27" fmla="*/ 637 h 644"/>
                    <a:gd name="T28" fmla="*/ 12 w 92"/>
                    <a:gd name="T29" fmla="*/ 644 h 644"/>
                    <a:gd name="T30" fmla="*/ 21 w 92"/>
                    <a:gd name="T31" fmla="*/ 630 h 644"/>
                    <a:gd name="T32" fmla="*/ 24 w 92"/>
                    <a:gd name="T33" fmla="*/ 614 h 644"/>
                    <a:gd name="T34" fmla="*/ 22 w 92"/>
                    <a:gd name="T35" fmla="*/ 599 h 644"/>
                    <a:gd name="T36" fmla="*/ 19 w 92"/>
                    <a:gd name="T37" fmla="*/ 579 h 644"/>
                    <a:gd name="T38" fmla="*/ 13 w 92"/>
                    <a:gd name="T39" fmla="*/ 557 h 644"/>
                    <a:gd name="T40" fmla="*/ 8 w 92"/>
                    <a:gd name="T41" fmla="*/ 534 h 644"/>
                    <a:gd name="T42" fmla="*/ 0 w 92"/>
                    <a:gd name="T43" fmla="*/ 513 h 644"/>
                    <a:gd name="T44" fmla="*/ 0 w 92"/>
                    <a:gd name="T45" fmla="*/ 343 h 644"/>
                    <a:gd name="T46" fmla="*/ 0 w 92"/>
                    <a:gd name="T47" fmla="*/ 316 h 644"/>
                    <a:gd name="T48" fmla="*/ 5 w 92"/>
                    <a:gd name="T49" fmla="*/ 319 h 644"/>
                    <a:gd name="T50" fmla="*/ 6 w 92"/>
                    <a:gd name="T51" fmla="*/ 323 h 644"/>
                    <a:gd name="T52" fmla="*/ 12 w 92"/>
                    <a:gd name="T53" fmla="*/ 323 h 644"/>
                    <a:gd name="T54" fmla="*/ 21 w 92"/>
                    <a:gd name="T55" fmla="*/ 329 h 644"/>
                    <a:gd name="T56" fmla="*/ 0 w 92"/>
                    <a:gd name="T57" fmla="*/ 329 h 644"/>
                    <a:gd name="T58" fmla="*/ 0 w 92"/>
                    <a:gd name="T59" fmla="*/ 316 h 644"/>
                    <a:gd name="T60" fmla="*/ 0 w 92"/>
                    <a:gd name="T61" fmla="*/ 0 h 644"/>
                    <a:gd name="T62" fmla="*/ 19 w 92"/>
                    <a:gd name="T63" fmla="*/ 18 h 644"/>
                    <a:gd name="T64" fmla="*/ 35 w 92"/>
                    <a:gd name="T65" fmla="*/ 38 h 644"/>
                    <a:gd name="T66" fmla="*/ 50 w 92"/>
                    <a:gd name="T67" fmla="*/ 61 h 644"/>
                    <a:gd name="T68" fmla="*/ 21 w 92"/>
                    <a:gd name="T69" fmla="*/ 61 h 644"/>
                    <a:gd name="T70" fmla="*/ 18 w 92"/>
                    <a:gd name="T71" fmla="*/ 61 h 644"/>
                    <a:gd name="T72" fmla="*/ 15 w 92"/>
                    <a:gd name="T73" fmla="*/ 63 h 644"/>
                    <a:gd name="T74" fmla="*/ 12 w 92"/>
                    <a:gd name="T75" fmla="*/ 66 h 644"/>
                    <a:gd name="T76" fmla="*/ 8 w 92"/>
                    <a:gd name="T77" fmla="*/ 60 h 644"/>
                    <a:gd name="T78" fmla="*/ 5 w 92"/>
                    <a:gd name="T79" fmla="*/ 56 h 644"/>
                    <a:gd name="T80" fmla="*/ 2 w 92"/>
                    <a:gd name="T81" fmla="*/ 53 h 644"/>
                    <a:gd name="T82" fmla="*/ 0 w 92"/>
                    <a:gd name="T83" fmla="*/ 50 h 644"/>
                    <a:gd name="T84" fmla="*/ 0 w 92"/>
                    <a:gd name="T85" fmla="*/ 50 h 644"/>
                    <a:gd name="T86" fmla="*/ 0 w 92"/>
                    <a:gd name="T87" fmla="*/ 50 h 644"/>
                    <a:gd name="T88" fmla="*/ 0 w 92"/>
                    <a:gd name="T89" fmla="*/ 0 h 6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92" h="644">
                      <a:moveTo>
                        <a:pt x="0" y="343"/>
                      </a:moveTo>
                      <a:lnTo>
                        <a:pt x="45" y="343"/>
                      </a:lnTo>
                      <a:lnTo>
                        <a:pt x="79" y="365"/>
                      </a:lnTo>
                      <a:lnTo>
                        <a:pt x="82" y="365"/>
                      </a:lnTo>
                      <a:lnTo>
                        <a:pt x="83" y="365"/>
                      </a:lnTo>
                      <a:lnTo>
                        <a:pt x="88" y="365"/>
                      </a:lnTo>
                      <a:lnTo>
                        <a:pt x="92" y="364"/>
                      </a:lnTo>
                      <a:lnTo>
                        <a:pt x="92" y="564"/>
                      </a:lnTo>
                      <a:lnTo>
                        <a:pt x="91" y="577"/>
                      </a:lnTo>
                      <a:lnTo>
                        <a:pt x="86" y="593"/>
                      </a:lnTo>
                      <a:lnTo>
                        <a:pt x="79" y="609"/>
                      </a:lnTo>
                      <a:lnTo>
                        <a:pt x="70" y="622"/>
                      </a:lnTo>
                      <a:lnTo>
                        <a:pt x="60" y="633"/>
                      </a:lnTo>
                      <a:lnTo>
                        <a:pt x="48" y="637"/>
                      </a:lnTo>
                      <a:lnTo>
                        <a:pt x="12" y="644"/>
                      </a:lnTo>
                      <a:lnTo>
                        <a:pt x="21" y="630"/>
                      </a:lnTo>
                      <a:lnTo>
                        <a:pt x="24" y="614"/>
                      </a:lnTo>
                      <a:lnTo>
                        <a:pt x="22" y="599"/>
                      </a:lnTo>
                      <a:lnTo>
                        <a:pt x="19" y="579"/>
                      </a:lnTo>
                      <a:lnTo>
                        <a:pt x="13" y="557"/>
                      </a:lnTo>
                      <a:lnTo>
                        <a:pt x="8" y="534"/>
                      </a:lnTo>
                      <a:lnTo>
                        <a:pt x="0" y="513"/>
                      </a:lnTo>
                      <a:lnTo>
                        <a:pt x="0" y="343"/>
                      </a:lnTo>
                      <a:close/>
                      <a:moveTo>
                        <a:pt x="0" y="316"/>
                      </a:moveTo>
                      <a:lnTo>
                        <a:pt x="5" y="319"/>
                      </a:lnTo>
                      <a:lnTo>
                        <a:pt x="6" y="323"/>
                      </a:lnTo>
                      <a:lnTo>
                        <a:pt x="12" y="323"/>
                      </a:lnTo>
                      <a:lnTo>
                        <a:pt x="21" y="329"/>
                      </a:lnTo>
                      <a:lnTo>
                        <a:pt x="0" y="329"/>
                      </a:lnTo>
                      <a:lnTo>
                        <a:pt x="0" y="316"/>
                      </a:lnTo>
                      <a:close/>
                      <a:moveTo>
                        <a:pt x="0" y="0"/>
                      </a:moveTo>
                      <a:lnTo>
                        <a:pt x="19" y="18"/>
                      </a:lnTo>
                      <a:lnTo>
                        <a:pt x="35" y="38"/>
                      </a:lnTo>
                      <a:lnTo>
                        <a:pt x="50" y="61"/>
                      </a:lnTo>
                      <a:lnTo>
                        <a:pt x="21" y="61"/>
                      </a:lnTo>
                      <a:lnTo>
                        <a:pt x="18" y="61"/>
                      </a:lnTo>
                      <a:lnTo>
                        <a:pt x="15" y="63"/>
                      </a:lnTo>
                      <a:lnTo>
                        <a:pt x="12" y="66"/>
                      </a:lnTo>
                      <a:lnTo>
                        <a:pt x="8" y="60"/>
                      </a:lnTo>
                      <a:lnTo>
                        <a:pt x="5" y="56"/>
                      </a:lnTo>
                      <a:lnTo>
                        <a:pt x="2" y="53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7050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05" name="Freeform 86"/>
                <p:cNvSpPr>
                  <a:spLocks noEditPoints="1"/>
                </p:cNvSpPr>
                <p:nvPr/>
              </p:nvSpPr>
              <p:spPr bwMode="auto">
                <a:xfrm>
                  <a:off x="4786313" y="3578225"/>
                  <a:ext cx="666750" cy="979488"/>
                </a:xfrm>
                <a:custGeom>
                  <a:avLst/>
                  <a:gdLst>
                    <a:gd name="T0" fmla="*/ 401 w 420"/>
                    <a:gd name="T1" fmla="*/ 408 h 617"/>
                    <a:gd name="T2" fmla="*/ 420 w 420"/>
                    <a:gd name="T3" fmla="*/ 420 h 617"/>
                    <a:gd name="T4" fmla="*/ 420 w 420"/>
                    <a:gd name="T5" fmla="*/ 433 h 617"/>
                    <a:gd name="T6" fmla="*/ 413 w 420"/>
                    <a:gd name="T7" fmla="*/ 433 h 617"/>
                    <a:gd name="T8" fmla="*/ 407 w 420"/>
                    <a:gd name="T9" fmla="*/ 433 h 617"/>
                    <a:gd name="T10" fmla="*/ 401 w 420"/>
                    <a:gd name="T11" fmla="*/ 431 h 617"/>
                    <a:gd name="T12" fmla="*/ 397 w 420"/>
                    <a:gd name="T13" fmla="*/ 430 h 617"/>
                    <a:gd name="T14" fmla="*/ 399 w 420"/>
                    <a:gd name="T15" fmla="*/ 430 h 617"/>
                    <a:gd name="T16" fmla="*/ 401 w 420"/>
                    <a:gd name="T17" fmla="*/ 408 h 617"/>
                    <a:gd name="T18" fmla="*/ 36 w 420"/>
                    <a:gd name="T19" fmla="*/ 405 h 617"/>
                    <a:gd name="T20" fmla="*/ 38 w 420"/>
                    <a:gd name="T21" fmla="*/ 421 h 617"/>
                    <a:gd name="T22" fmla="*/ 316 w 420"/>
                    <a:gd name="T23" fmla="*/ 421 h 617"/>
                    <a:gd name="T24" fmla="*/ 316 w 420"/>
                    <a:gd name="T25" fmla="*/ 430 h 617"/>
                    <a:gd name="T26" fmla="*/ 394 w 420"/>
                    <a:gd name="T27" fmla="*/ 430 h 617"/>
                    <a:gd name="T28" fmla="*/ 394 w 420"/>
                    <a:gd name="T29" fmla="*/ 436 h 617"/>
                    <a:gd name="T30" fmla="*/ 397 w 420"/>
                    <a:gd name="T31" fmla="*/ 440 h 617"/>
                    <a:gd name="T32" fmla="*/ 401 w 420"/>
                    <a:gd name="T33" fmla="*/ 444 h 617"/>
                    <a:gd name="T34" fmla="*/ 407 w 420"/>
                    <a:gd name="T35" fmla="*/ 447 h 617"/>
                    <a:gd name="T36" fmla="*/ 413 w 420"/>
                    <a:gd name="T37" fmla="*/ 447 h 617"/>
                    <a:gd name="T38" fmla="*/ 420 w 420"/>
                    <a:gd name="T39" fmla="*/ 447 h 617"/>
                    <a:gd name="T40" fmla="*/ 420 w 420"/>
                    <a:gd name="T41" fmla="*/ 617 h 617"/>
                    <a:gd name="T42" fmla="*/ 413 w 420"/>
                    <a:gd name="T43" fmla="*/ 604 h 617"/>
                    <a:gd name="T44" fmla="*/ 407 w 420"/>
                    <a:gd name="T45" fmla="*/ 597 h 617"/>
                    <a:gd name="T46" fmla="*/ 400 w 420"/>
                    <a:gd name="T47" fmla="*/ 593 h 617"/>
                    <a:gd name="T48" fmla="*/ 396 w 420"/>
                    <a:gd name="T49" fmla="*/ 562 h 617"/>
                    <a:gd name="T50" fmla="*/ 388 w 420"/>
                    <a:gd name="T51" fmla="*/ 530 h 617"/>
                    <a:gd name="T52" fmla="*/ 387 w 420"/>
                    <a:gd name="T53" fmla="*/ 513 h 617"/>
                    <a:gd name="T54" fmla="*/ 55 w 420"/>
                    <a:gd name="T55" fmla="*/ 519 h 617"/>
                    <a:gd name="T56" fmla="*/ 49 w 420"/>
                    <a:gd name="T57" fmla="*/ 516 h 617"/>
                    <a:gd name="T58" fmla="*/ 44 w 420"/>
                    <a:gd name="T59" fmla="*/ 514 h 617"/>
                    <a:gd name="T60" fmla="*/ 41 w 420"/>
                    <a:gd name="T61" fmla="*/ 514 h 617"/>
                    <a:gd name="T62" fmla="*/ 38 w 420"/>
                    <a:gd name="T63" fmla="*/ 513 h 617"/>
                    <a:gd name="T64" fmla="*/ 38 w 420"/>
                    <a:gd name="T65" fmla="*/ 513 h 617"/>
                    <a:gd name="T66" fmla="*/ 33 w 420"/>
                    <a:gd name="T67" fmla="*/ 536 h 617"/>
                    <a:gd name="T68" fmla="*/ 25 w 420"/>
                    <a:gd name="T69" fmla="*/ 556 h 617"/>
                    <a:gd name="T70" fmla="*/ 15 w 420"/>
                    <a:gd name="T71" fmla="*/ 574 h 617"/>
                    <a:gd name="T72" fmla="*/ 0 w 420"/>
                    <a:gd name="T73" fmla="*/ 599 h 617"/>
                    <a:gd name="T74" fmla="*/ 0 w 420"/>
                    <a:gd name="T75" fmla="*/ 423 h 617"/>
                    <a:gd name="T76" fmla="*/ 36 w 420"/>
                    <a:gd name="T77" fmla="*/ 405 h 617"/>
                    <a:gd name="T78" fmla="*/ 289 w 420"/>
                    <a:gd name="T79" fmla="*/ 0 h 617"/>
                    <a:gd name="T80" fmla="*/ 317 w 420"/>
                    <a:gd name="T81" fmla="*/ 0 h 617"/>
                    <a:gd name="T82" fmla="*/ 323 w 420"/>
                    <a:gd name="T83" fmla="*/ 21 h 617"/>
                    <a:gd name="T84" fmla="*/ 333 w 420"/>
                    <a:gd name="T85" fmla="*/ 40 h 617"/>
                    <a:gd name="T86" fmla="*/ 348 w 420"/>
                    <a:gd name="T87" fmla="*/ 58 h 617"/>
                    <a:gd name="T88" fmla="*/ 365 w 420"/>
                    <a:gd name="T89" fmla="*/ 71 h 617"/>
                    <a:gd name="T90" fmla="*/ 384 w 420"/>
                    <a:gd name="T91" fmla="*/ 84 h 617"/>
                    <a:gd name="T92" fmla="*/ 406 w 420"/>
                    <a:gd name="T93" fmla="*/ 96 h 617"/>
                    <a:gd name="T94" fmla="*/ 413 w 420"/>
                    <a:gd name="T95" fmla="*/ 100 h 617"/>
                    <a:gd name="T96" fmla="*/ 420 w 420"/>
                    <a:gd name="T97" fmla="*/ 104 h 617"/>
                    <a:gd name="T98" fmla="*/ 420 w 420"/>
                    <a:gd name="T99" fmla="*/ 154 h 617"/>
                    <a:gd name="T100" fmla="*/ 419 w 420"/>
                    <a:gd name="T101" fmla="*/ 154 h 617"/>
                    <a:gd name="T102" fmla="*/ 419 w 420"/>
                    <a:gd name="T103" fmla="*/ 154 h 617"/>
                    <a:gd name="T104" fmla="*/ 401 w 420"/>
                    <a:gd name="T105" fmla="*/ 138 h 617"/>
                    <a:gd name="T106" fmla="*/ 380 w 420"/>
                    <a:gd name="T107" fmla="*/ 122 h 617"/>
                    <a:gd name="T108" fmla="*/ 355 w 420"/>
                    <a:gd name="T109" fmla="*/ 104 h 617"/>
                    <a:gd name="T110" fmla="*/ 327 w 420"/>
                    <a:gd name="T111" fmla="*/ 87 h 617"/>
                    <a:gd name="T112" fmla="*/ 326 w 420"/>
                    <a:gd name="T113" fmla="*/ 85 h 617"/>
                    <a:gd name="T114" fmla="*/ 326 w 420"/>
                    <a:gd name="T115" fmla="*/ 85 h 617"/>
                    <a:gd name="T116" fmla="*/ 297 w 420"/>
                    <a:gd name="T117" fmla="*/ 67 h 617"/>
                    <a:gd name="T118" fmla="*/ 272 w 420"/>
                    <a:gd name="T119" fmla="*/ 49 h 617"/>
                    <a:gd name="T120" fmla="*/ 272 w 420"/>
                    <a:gd name="T121" fmla="*/ 29 h 617"/>
                    <a:gd name="T122" fmla="*/ 272 w 420"/>
                    <a:gd name="T123" fmla="*/ 24 h 617"/>
                    <a:gd name="T124" fmla="*/ 289 w 420"/>
                    <a:gd name="T125" fmla="*/ 0 h 6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420" h="617">
                      <a:moveTo>
                        <a:pt x="401" y="408"/>
                      </a:moveTo>
                      <a:lnTo>
                        <a:pt x="420" y="420"/>
                      </a:lnTo>
                      <a:lnTo>
                        <a:pt x="420" y="433"/>
                      </a:lnTo>
                      <a:lnTo>
                        <a:pt x="413" y="433"/>
                      </a:lnTo>
                      <a:lnTo>
                        <a:pt x="407" y="433"/>
                      </a:lnTo>
                      <a:lnTo>
                        <a:pt x="401" y="431"/>
                      </a:lnTo>
                      <a:lnTo>
                        <a:pt x="397" y="430"/>
                      </a:lnTo>
                      <a:lnTo>
                        <a:pt x="399" y="430"/>
                      </a:lnTo>
                      <a:lnTo>
                        <a:pt x="401" y="408"/>
                      </a:lnTo>
                      <a:close/>
                      <a:moveTo>
                        <a:pt x="36" y="405"/>
                      </a:moveTo>
                      <a:lnTo>
                        <a:pt x="38" y="421"/>
                      </a:lnTo>
                      <a:lnTo>
                        <a:pt x="316" y="421"/>
                      </a:lnTo>
                      <a:lnTo>
                        <a:pt x="316" y="430"/>
                      </a:lnTo>
                      <a:lnTo>
                        <a:pt x="394" y="430"/>
                      </a:lnTo>
                      <a:lnTo>
                        <a:pt x="394" y="436"/>
                      </a:lnTo>
                      <a:lnTo>
                        <a:pt x="397" y="440"/>
                      </a:lnTo>
                      <a:lnTo>
                        <a:pt x="401" y="444"/>
                      </a:lnTo>
                      <a:lnTo>
                        <a:pt x="407" y="447"/>
                      </a:lnTo>
                      <a:lnTo>
                        <a:pt x="413" y="447"/>
                      </a:lnTo>
                      <a:lnTo>
                        <a:pt x="420" y="447"/>
                      </a:lnTo>
                      <a:lnTo>
                        <a:pt x="420" y="617"/>
                      </a:lnTo>
                      <a:lnTo>
                        <a:pt x="413" y="604"/>
                      </a:lnTo>
                      <a:lnTo>
                        <a:pt x="407" y="597"/>
                      </a:lnTo>
                      <a:lnTo>
                        <a:pt x="400" y="593"/>
                      </a:lnTo>
                      <a:lnTo>
                        <a:pt x="396" y="562"/>
                      </a:lnTo>
                      <a:lnTo>
                        <a:pt x="388" y="530"/>
                      </a:lnTo>
                      <a:lnTo>
                        <a:pt x="387" y="513"/>
                      </a:lnTo>
                      <a:lnTo>
                        <a:pt x="55" y="519"/>
                      </a:lnTo>
                      <a:lnTo>
                        <a:pt x="49" y="516"/>
                      </a:lnTo>
                      <a:lnTo>
                        <a:pt x="44" y="514"/>
                      </a:lnTo>
                      <a:lnTo>
                        <a:pt x="41" y="514"/>
                      </a:lnTo>
                      <a:lnTo>
                        <a:pt x="38" y="513"/>
                      </a:lnTo>
                      <a:lnTo>
                        <a:pt x="38" y="513"/>
                      </a:lnTo>
                      <a:lnTo>
                        <a:pt x="33" y="536"/>
                      </a:lnTo>
                      <a:lnTo>
                        <a:pt x="25" y="556"/>
                      </a:lnTo>
                      <a:lnTo>
                        <a:pt x="15" y="574"/>
                      </a:lnTo>
                      <a:lnTo>
                        <a:pt x="0" y="599"/>
                      </a:lnTo>
                      <a:lnTo>
                        <a:pt x="0" y="423"/>
                      </a:lnTo>
                      <a:lnTo>
                        <a:pt x="36" y="405"/>
                      </a:lnTo>
                      <a:close/>
                      <a:moveTo>
                        <a:pt x="289" y="0"/>
                      </a:moveTo>
                      <a:lnTo>
                        <a:pt x="317" y="0"/>
                      </a:lnTo>
                      <a:lnTo>
                        <a:pt x="323" y="21"/>
                      </a:lnTo>
                      <a:lnTo>
                        <a:pt x="333" y="40"/>
                      </a:lnTo>
                      <a:lnTo>
                        <a:pt x="348" y="58"/>
                      </a:lnTo>
                      <a:lnTo>
                        <a:pt x="365" y="71"/>
                      </a:lnTo>
                      <a:lnTo>
                        <a:pt x="384" y="84"/>
                      </a:lnTo>
                      <a:lnTo>
                        <a:pt x="406" y="96"/>
                      </a:lnTo>
                      <a:lnTo>
                        <a:pt x="413" y="100"/>
                      </a:lnTo>
                      <a:lnTo>
                        <a:pt x="420" y="104"/>
                      </a:lnTo>
                      <a:lnTo>
                        <a:pt x="420" y="154"/>
                      </a:lnTo>
                      <a:lnTo>
                        <a:pt x="419" y="154"/>
                      </a:lnTo>
                      <a:lnTo>
                        <a:pt x="419" y="154"/>
                      </a:lnTo>
                      <a:lnTo>
                        <a:pt x="401" y="138"/>
                      </a:lnTo>
                      <a:lnTo>
                        <a:pt x="380" y="122"/>
                      </a:lnTo>
                      <a:lnTo>
                        <a:pt x="355" y="104"/>
                      </a:lnTo>
                      <a:lnTo>
                        <a:pt x="327" y="87"/>
                      </a:lnTo>
                      <a:lnTo>
                        <a:pt x="326" y="85"/>
                      </a:lnTo>
                      <a:lnTo>
                        <a:pt x="326" y="85"/>
                      </a:lnTo>
                      <a:lnTo>
                        <a:pt x="297" y="67"/>
                      </a:lnTo>
                      <a:lnTo>
                        <a:pt x="272" y="49"/>
                      </a:lnTo>
                      <a:lnTo>
                        <a:pt x="272" y="29"/>
                      </a:lnTo>
                      <a:lnTo>
                        <a:pt x="272" y="24"/>
                      </a:lnTo>
                      <a:lnTo>
                        <a:pt x="289" y="0"/>
                      </a:lnTo>
                      <a:close/>
                    </a:path>
                  </a:pathLst>
                </a:custGeom>
                <a:solidFill>
                  <a:srgbClr val="07050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06" name="Freeform 87"/>
                <p:cNvSpPr>
                  <a:spLocks noEditPoints="1"/>
                </p:cNvSpPr>
                <p:nvPr/>
              </p:nvSpPr>
              <p:spPr bwMode="auto">
                <a:xfrm>
                  <a:off x="4767263" y="4743450"/>
                  <a:ext cx="704850" cy="47625"/>
                </a:xfrm>
                <a:custGeom>
                  <a:avLst/>
                  <a:gdLst>
                    <a:gd name="T0" fmla="*/ 0 w 444"/>
                    <a:gd name="T1" fmla="*/ 7 h 30"/>
                    <a:gd name="T2" fmla="*/ 6 w 444"/>
                    <a:gd name="T3" fmla="*/ 7 h 30"/>
                    <a:gd name="T4" fmla="*/ 15 w 444"/>
                    <a:gd name="T5" fmla="*/ 7 h 30"/>
                    <a:gd name="T6" fmla="*/ 19 w 444"/>
                    <a:gd name="T7" fmla="*/ 17 h 30"/>
                    <a:gd name="T8" fmla="*/ 24 w 444"/>
                    <a:gd name="T9" fmla="*/ 27 h 30"/>
                    <a:gd name="T10" fmla="*/ 11 w 444"/>
                    <a:gd name="T11" fmla="*/ 19 h 30"/>
                    <a:gd name="T12" fmla="*/ 0 w 444"/>
                    <a:gd name="T13" fmla="*/ 7 h 30"/>
                    <a:gd name="T14" fmla="*/ 374 w 444"/>
                    <a:gd name="T15" fmla="*/ 6 h 30"/>
                    <a:gd name="T16" fmla="*/ 411 w 444"/>
                    <a:gd name="T17" fmla="*/ 6 h 30"/>
                    <a:gd name="T18" fmla="*/ 425 w 444"/>
                    <a:gd name="T19" fmla="*/ 11 h 30"/>
                    <a:gd name="T20" fmla="*/ 443 w 444"/>
                    <a:gd name="T21" fmla="*/ 14 h 30"/>
                    <a:gd name="T22" fmla="*/ 443 w 444"/>
                    <a:gd name="T23" fmla="*/ 14 h 30"/>
                    <a:gd name="T24" fmla="*/ 443 w 444"/>
                    <a:gd name="T25" fmla="*/ 14 h 30"/>
                    <a:gd name="T26" fmla="*/ 443 w 444"/>
                    <a:gd name="T27" fmla="*/ 14 h 30"/>
                    <a:gd name="T28" fmla="*/ 444 w 444"/>
                    <a:gd name="T29" fmla="*/ 14 h 30"/>
                    <a:gd name="T30" fmla="*/ 434 w 444"/>
                    <a:gd name="T31" fmla="*/ 23 h 30"/>
                    <a:gd name="T32" fmla="*/ 422 w 444"/>
                    <a:gd name="T33" fmla="*/ 29 h 30"/>
                    <a:gd name="T34" fmla="*/ 408 w 444"/>
                    <a:gd name="T35" fmla="*/ 30 h 30"/>
                    <a:gd name="T36" fmla="*/ 360 w 444"/>
                    <a:gd name="T37" fmla="*/ 30 h 30"/>
                    <a:gd name="T38" fmla="*/ 374 w 444"/>
                    <a:gd name="T39" fmla="*/ 6 h 30"/>
                    <a:gd name="T40" fmla="*/ 253 w 444"/>
                    <a:gd name="T41" fmla="*/ 3 h 30"/>
                    <a:gd name="T42" fmla="*/ 265 w 444"/>
                    <a:gd name="T43" fmla="*/ 3 h 30"/>
                    <a:gd name="T44" fmla="*/ 253 w 444"/>
                    <a:gd name="T45" fmla="*/ 29 h 30"/>
                    <a:gd name="T46" fmla="*/ 253 w 444"/>
                    <a:gd name="T47" fmla="*/ 3 h 30"/>
                    <a:gd name="T48" fmla="*/ 120 w 444"/>
                    <a:gd name="T49" fmla="*/ 0 h 30"/>
                    <a:gd name="T50" fmla="*/ 189 w 444"/>
                    <a:gd name="T51" fmla="*/ 1 h 30"/>
                    <a:gd name="T52" fmla="*/ 189 w 444"/>
                    <a:gd name="T53" fmla="*/ 30 h 30"/>
                    <a:gd name="T54" fmla="*/ 128 w 444"/>
                    <a:gd name="T55" fmla="*/ 30 h 30"/>
                    <a:gd name="T56" fmla="*/ 120 w 444"/>
                    <a:gd name="T57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444" h="30">
                      <a:moveTo>
                        <a:pt x="0" y="7"/>
                      </a:moveTo>
                      <a:lnTo>
                        <a:pt x="6" y="7"/>
                      </a:lnTo>
                      <a:lnTo>
                        <a:pt x="15" y="7"/>
                      </a:lnTo>
                      <a:lnTo>
                        <a:pt x="19" y="17"/>
                      </a:lnTo>
                      <a:lnTo>
                        <a:pt x="24" y="27"/>
                      </a:lnTo>
                      <a:lnTo>
                        <a:pt x="11" y="19"/>
                      </a:lnTo>
                      <a:lnTo>
                        <a:pt x="0" y="7"/>
                      </a:lnTo>
                      <a:close/>
                      <a:moveTo>
                        <a:pt x="374" y="6"/>
                      </a:moveTo>
                      <a:lnTo>
                        <a:pt x="411" y="6"/>
                      </a:lnTo>
                      <a:lnTo>
                        <a:pt x="425" y="11"/>
                      </a:lnTo>
                      <a:lnTo>
                        <a:pt x="443" y="14"/>
                      </a:lnTo>
                      <a:lnTo>
                        <a:pt x="443" y="14"/>
                      </a:lnTo>
                      <a:lnTo>
                        <a:pt x="443" y="14"/>
                      </a:lnTo>
                      <a:lnTo>
                        <a:pt x="443" y="14"/>
                      </a:lnTo>
                      <a:lnTo>
                        <a:pt x="444" y="14"/>
                      </a:lnTo>
                      <a:lnTo>
                        <a:pt x="434" y="23"/>
                      </a:lnTo>
                      <a:lnTo>
                        <a:pt x="422" y="29"/>
                      </a:lnTo>
                      <a:lnTo>
                        <a:pt x="408" y="30"/>
                      </a:lnTo>
                      <a:lnTo>
                        <a:pt x="360" y="30"/>
                      </a:lnTo>
                      <a:lnTo>
                        <a:pt x="374" y="6"/>
                      </a:lnTo>
                      <a:close/>
                      <a:moveTo>
                        <a:pt x="253" y="3"/>
                      </a:moveTo>
                      <a:lnTo>
                        <a:pt x="265" y="3"/>
                      </a:lnTo>
                      <a:lnTo>
                        <a:pt x="253" y="29"/>
                      </a:lnTo>
                      <a:lnTo>
                        <a:pt x="253" y="3"/>
                      </a:lnTo>
                      <a:close/>
                      <a:moveTo>
                        <a:pt x="120" y="0"/>
                      </a:moveTo>
                      <a:lnTo>
                        <a:pt x="189" y="1"/>
                      </a:lnTo>
                      <a:lnTo>
                        <a:pt x="189" y="30"/>
                      </a:lnTo>
                      <a:lnTo>
                        <a:pt x="128" y="30"/>
                      </a:lnTo>
                      <a:lnTo>
                        <a:pt x="120" y="0"/>
                      </a:lnTo>
                      <a:close/>
                    </a:path>
                  </a:pathLst>
                </a:custGeom>
                <a:solidFill>
                  <a:srgbClr val="221916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07" name="Freeform 88"/>
                <p:cNvSpPr>
                  <a:spLocks/>
                </p:cNvSpPr>
                <p:nvPr/>
              </p:nvSpPr>
              <p:spPr bwMode="auto">
                <a:xfrm>
                  <a:off x="4759326" y="4679950"/>
                  <a:ext cx="31750" cy="74613"/>
                </a:xfrm>
                <a:custGeom>
                  <a:avLst/>
                  <a:gdLst>
                    <a:gd name="T0" fmla="*/ 7 w 20"/>
                    <a:gd name="T1" fmla="*/ 0 h 47"/>
                    <a:gd name="T2" fmla="*/ 8 w 20"/>
                    <a:gd name="T3" fmla="*/ 11 h 47"/>
                    <a:gd name="T4" fmla="*/ 11 w 20"/>
                    <a:gd name="T5" fmla="*/ 21 h 47"/>
                    <a:gd name="T6" fmla="*/ 14 w 20"/>
                    <a:gd name="T7" fmla="*/ 32 h 47"/>
                    <a:gd name="T8" fmla="*/ 20 w 20"/>
                    <a:gd name="T9" fmla="*/ 47 h 47"/>
                    <a:gd name="T10" fmla="*/ 11 w 20"/>
                    <a:gd name="T11" fmla="*/ 47 h 47"/>
                    <a:gd name="T12" fmla="*/ 5 w 20"/>
                    <a:gd name="T13" fmla="*/ 47 h 47"/>
                    <a:gd name="T14" fmla="*/ 2 w 20"/>
                    <a:gd name="T15" fmla="*/ 40 h 47"/>
                    <a:gd name="T16" fmla="*/ 0 w 20"/>
                    <a:gd name="T17" fmla="*/ 31 h 47"/>
                    <a:gd name="T18" fmla="*/ 0 w 20"/>
                    <a:gd name="T19" fmla="*/ 24 h 47"/>
                    <a:gd name="T20" fmla="*/ 0 w 20"/>
                    <a:gd name="T21" fmla="*/ 19 h 47"/>
                    <a:gd name="T22" fmla="*/ 1 w 20"/>
                    <a:gd name="T23" fmla="*/ 14 h 47"/>
                    <a:gd name="T24" fmla="*/ 4 w 20"/>
                    <a:gd name="T25" fmla="*/ 8 h 47"/>
                    <a:gd name="T26" fmla="*/ 7 w 20"/>
                    <a:gd name="T27" fmla="*/ 0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0" h="47">
                      <a:moveTo>
                        <a:pt x="7" y="0"/>
                      </a:moveTo>
                      <a:lnTo>
                        <a:pt x="8" y="11"/>
                      </a:lnTo>
                      <a:lnTo>
                        <a:pt x="11" y="21"/>
                      </a:lnTo>
                      <a:lnTo>
                        <a:pt x="14" y="32"/>
                      </a:lnTo>
                      <a:lnTo>
                        <a:pt x="20" y="47"/>
                      </a:lnTo>
                      <a:lnTo>
                        <a:pt x="11" y="47"/>
                      </a:lnTo>
                      <a:lnTo>
                        <a:pt x="5" y="47"/>
                      </a:lnTo>
                      <a:lnTo>
                        <a:pt x="2" y="40"/>
                      </a:lnTo>
                      <a:lnTo>
                        <a:pt x="0" y="31"/>
                      </a:lnTo>
                      <a:lnTo>
                        <a:pt x="0" y="24"/>
                      </a:lnTo>
                      <a:lnTo>
                        <a:pt x="0" y="19"/>
                      </a:lnTo>
                      <a:lnTo>
                        <a:pt x="1" y="14"/>
                      </a:lnTo>
                      <a:lnTo>
                        <a:pt x="4" y="8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07050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08" name="Freeform 89"/>
                <p:cNvSpPr>
                  <a:spLocks/>
                </p:cNvSpPr>
                <p:nvPr/>
              </p:nvSpPr>
              <p:spPr bwMode="auto">
                <a:xfrm>
                  <a:off x="5067301" y="4745038"/>
                  <a:ext cx="101600" cy="46038"/>
                </a:xfrm>
                <a:custGeom>
                  <a:avLst/>
                  <a:gdLst>
                    <a:gd name="T0" fmla="*/ 0 w 64"/>
                    <a:gd name="T1" fmla="*/ 0 h 29"/>
                    <a:gd name="T2" fmla="*/ 64 w 64"/>
                    <a:gd name="T3" fmla="*/ 2 h 29"/>
                    <a:gd name="T4" fmla="*/ 64 w 64"/>
                    <a:gd name="T5" fmla="*/ 28 h 29"/>
                    <a:gd name="T6" fmla="*/ 64 w 64"/>
                    <a:gd name="T7" fmla="*/ 29 h 29"/>
                    <a:gd name="T8" fmla="*/ 0 w 64"/>
                    <a:gd name="T9" fmla="*/ 29 h 29"/>
                    <a:gd name="T10" fmla="*/ 0 w 64"/>
                    <a:gd name="T11" fmla="*/ 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4" h="29">
                      <a:moveTo>
                        <a:pt x="0" y="0"/>
                      </a:moveTo>
                      <a:lnTo>
                        <a:pt x="64" y="2"/>
                      </a:lnTo>
                      <a:lnTo>
                        <a:pt x="64" y="28"/>
                      </a:lnTo>
                      <a:lnTo>
                        <a:pt x="64" y="29"/>
                      </a:lnTo>
                      <a:lnTo>
                        <a:pt x="0" y="2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21813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09" name="Freeform 90"/>
                <p:cNvSpPr>
                  <a:spLocks/>
                </p:cNvSpPr>
                <p:nvPr/>
              </p:nvSpPr>
              <p:spPr bwMode="auto">
                <a:xfrm>
                  <a:off x="5419726" y="4752975"/>
                  <a:ext cx="50800" cy="12700"/>
                </a:xfrm>
                <a:custGeom>
                  <a:avLst/>
                  <a:gdLst>
                    <a:gd name="T0" fmla="*/ 0 w 32"/>
                    <a:gd name="T1" fmla="*/ 0 h 8"/>
                    <a:gd name="T2" fmla="*/ 0 w 32"/>
                    <a:gd name="T3" fmla="*/ 0 h 8"/>
                    <a:gd name="T4" fmla="*/ 14 w 32"/>
                    <a:gd name="T5" fmla="*/ 5 h 8"/>
                    <a:gd name="T6" fmla="*/ 32 w 32"/>
                    <a:gd name="T7" fmla="*/ 8 h 8"/>
                    <a:gd name="T8" fmla="*/ 14 w 32"/>
                    <a:gd name="T9" fmla="*/ 5 h 8"/>
                    <a:gd name="T10" fmla="*/ 0 w 32"/>
                    <a:gd name="T11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2" h="8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4" y="5"/>
                      </a:lnTo>
                      <a:lnTo>
                        <a:pt x="32" y="8"/>
                      </a:lnTo>
                      <a:lnTo>
                        <a:pt x="14" y="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7050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10" name="Freeform 91"/>
                <p:cNvSpPr>
                  <a:spLocks noEditPoints="1"/>
                </p:cNvSpPr>
                <p:nvPr/>
              </p:nvSpPr>
              <p:spPr bwMode="auto">
                <a:xfrm>
                  <a:off x="4957763" y="4743450"/>
                  <a:ext cx="461963" cy="9525"/>
                </a:xfrm>
                <a:custGeom>
                  <a:avLst/>
                  <a:gdLst>
                    <a:gd name="T0" fmla="*/ 254 w 291"/>
                    <a:gd name="T1" fmla="*/ 4 h 6"/>
                    <a:gd name="T2" fmla="*/ 291 w 291"/>
                    <a:gd name="T3" fmla="*/ 6 h 6"/>
                    <a:gd name="T4" fmla="*/ 291 w 291"/>
                    <a:gd name="T5" fmla="*/ 6 h 6"/>
                    <a:gd name="T6" fmla="*/ 254 w 291"/>
                    <a:gd name="T7" fmla="*/ 6 h 6"/>
                    <a:gd name="T8" fmla="*/ 254 w 291"/>
                    <a:gd name="T9" fmla="*/ 4 h 6"/>
                    <a:gd name="T10" fmla="*/ 133 w 291"/>
                    <a:gd name="T11" fmla="*/ 3 h 6"/>
                    <a:gd name="T12" fmla="*/ 145 w 291"/>
                    <a:gd name="T13" fmla="*/ 3 h 6"/>
                    <a:gd name="T14" fmla="*/ 145 w 291"/>
                    <a:gd name="T15" fmla="*/ 3 h 6"/>
                    <a:gd name="T16" fmla="*/ 133 w 291"/>
                    <a:gd name="T17" fmla="*/ 3 h 6"/>
                    <a:gd name="T18" fmla="*/ 133 w 291"/>
                    <a:gd name="T19" fmla="*/ 3 h 6"/>
                    <a:gd name="T20" fmla="*/ 1 w 291"/>
                    <a:gd name="T21" fmla="*/ 0 h 6"/>
                    <a:gd name="T22" fmla="*/ 69 w 291"/>
                    <a:gd name="T23" fmla="*/ 1 h 6"/>
                    <a:gd name="T24" fmla="*/ 69 w 291"/>
                    <a:gd name="T25" fmla="*/ 1 h 6"/>
                    <a:gd name="T26" fmla="*/ 1 w 291"/>
                    <a:gd name="T27" fmla="*/ 0 h 6"/>
                    <a:gd name="T28" fmla="*/ 0 w 291"/>
                    <a:gd name="T29" fmla="*/ 0 h 6"/>
                    <a:gd name="T30" fmla="*/ 0 w 291"/>
                    <a:gd name="T31" fmla="*/ 0 h 6"/>
                    <a:gd name="T32" fmla="*/ 1 w 291"/>
                    <a:gd name="T33" fmla="*/ 0 h 6"/>
                    <a:gd name="T34" fmla="*/ 0 w 291"/>
                    <a:gd name="T35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291" h="6">
                      <a:moveTo>
                        <a:pt x="254" y="4"/>
                      </a:moveTo>
                      <a:lnTo>
                        <a:pt x="291" y="6"/>
                      </a:lnTo>
                      <a:lnTo>
                        <a:pt x="291" y="6"/>
                      </a:lnTo>
                      <a:lnTo>
                        <a:pt x="254" y="6"/>
                      </a:lnTo>
                      <a:lnTo>
                        <a:pt x="254" y="4"/>
                      </a:lnTo>
                      <a:close/>
                      <a:moveTo>
                        <a:pt x="133" y="3"/>
                      </a:moveTo>
                      <a:lnTo>
                        <a:pt x="145" y="3"/>
                      </a:lnTo>
                      <a:lnTo>
                        <a:pt x="145" y="3"/>
                      </a:lnTo>
                      <a:lnTo>
                        <a:pt x="133" y="3"/>
                      </a:lnTo>
                      <a:lnTo>
                        <a:pt x="133" y="3"/>
                      </a:lnTo>
                      <a:close/>
                      <a:moveTo>
                        <a:pt x="1" y="0"/>
                      </a:moveTo>
                      <a:lnTo>
                        <a:pt x="69" y="1"/>
                      </a:lnTo>
                      <a:lnTo>
                        <a:pt x="69" y="1"/>
                      </a:lnTo>
                      <a:lnTo>
                        <a:pt x="1" y="0"/>
                      </a:lnTo>
                      <a:close/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50202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11" name="Freeform 92"/>
                <p:cNvSpPr>
                  <a:spLocks/>
                </p:cNvSpPr>
                <p:nvPr/>
              </p:nvSpPr>
              <p:spPr bwMode="auto">
                <a:xfrm>
                  <a:off x="5067301" y="4745038"/>
                  <a:ext cx="101600" cy="3175"/>
                </a:xfrm>
                <a:custGeom>
                  <a:avLst/>
                  <a:gdLst>
                    <a:gd name="T0" fmla="*/ 0 w 64"/>
                    <a:gd name="T1" fmla="*/ 0 h 2"/>
                    <a:gd name="T2" fmla="*/ 64 w 64"/>
                    <a:gd name="T3" fmla="*/ 2 h 2"/>
                    <a:gd name="T4" fmla="*/ 64 w 64"/>
                    <a:gd name="T5" fmla="*/ 2 h 2"/>
                    <a:gd name="T6" fmla="*/ 0 w 64"/>
                    <a:gd name="T7" fmla="*/ 0 h 2"/>
                    <a:gd name="T8" fmla="*/ 0 w 64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2">
                      <a:moveTo>
                        <a:pt x="0" y="0"/>
                      </a:moveTo>
                      <a:lnTo>
                        <a:pt x="64" y="2"/>
                      </a:lnTo>
                      <a:lnTo>
                        <a:pt x="64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50202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12" name="Freeform 93"/>
                <p:cNvSpPr>
                  <a:spLocks/>
                </p:cNvSpPr>
                <p:nvPr/>
              </p:nvSpPr>
              <p:spPr bwMode="auto">
                <a:xfrm>
                  <a:off x="5419726" y="4557713"/>
                  <a:ext cx="71438" cy="207963"/>
                </a:xfrm>
                <a:custGeom>
                  <a:avLst/>
                  <a:gdLst>
                    <a:gd name="T0" fmla="*/ 21 w 45"/>
                    <a:gd name="T1" fmla="*/ 0 h 131"/>
                    <a:gd name="T2" fmla="*/ 29 w 45"/>
                    <a:gd name="T3" fmla="*/ 21 h 131"/>
                    <a:gd name="T4" fmla="*/ 34 w 45"/>
                    <a:gd name="T5" fmla="*/ 44 h 131"/>
                    <a:gd name="T6" fmla="*/ 40 w 45"/>
                    <a:gd name="T7" fmla="*/ 66 h 131"/>
                    <a:gd name="T8" fmla="*/ 43 w 45"/>
                    <a:gd name="T9" fmla="*/ 86 h 131"/>
                    <a:gd name="T10" fmla="*/ 45 w 45"/>
                    <a:gd name="T11" fmla="*/ 101 h 131"/>
                    <a:gd name="T12" fmla="*/ 42 w 45"/>
                    <a:gd name="T13" fmla="*/ 117 h 131"/>
                    <a:gd name="T14" fmla="*/ 33 w 45"/>
                    <a:gd name="T15" fmla="*/ 131 h 131"/>
                    <a:gd name="T16" fmla="*/ 32 w 45"/>
                    <a:gd name="T17" fmla="*/ 131 h 131"/>
                    <a:gd name="T18" fmla="*/ 32 w 45"/>
                    <a:gd name="T19" fmla="*/ 131 h 131"/>
                    <a:gd name="T20" fmla="*/ 32 w 45"/>
                    <a:gd name="T21" fmla="*/ 131 h 131"/>
                    <a:gd name="T22" fmla="*/ 32 w 45"/>
                    <a:gd name="T23" fmla="*/ 131 h 131"/>
                    <a:gd name="T24" fmla="*/ 14 w 45"/>
                    <a:gd name="T25" fmla="*/ 128 h 131"/>
                    <a:gd name="T26" fmla="*/ 0 w 45"/>
                    <a:gd name="T27" fmla="*/ 123 h 131"/>
                    <a:gd name="T28" fmla="*/ 0 w 45"/>
                    <a:gd name="T29" fmla="*/ 123 h 131"/>
                    <a:gd name="T30" fmla="*/ 0 w 45"/>
                    <a:gd name="T31" fmla="*/ 123 h 131"/>
                    <a:gd name="T32" fmla="*/ 21 w 45"/>
                    <a:gd name="T33" fmla="*/ 123 h 131"/>
                    <a:gd name="T34" fmla="*/ 21 w 45"/>
                    <a:gd name="T35" fmla="*/ 0 h 1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45" h="131">
                      <a:moveTo>
                        <a:pt x="21" y="0"/>
                      </a:moveTo>
                      <a:lnTo>
                        <a:pt x="29" y="21"/>
                      </a:lnTo>
                      <a:lnTo>
                        <a:pt x="34" y="44"/>
                      </a:lnTo>
                      <a:lnTo>
                        <a:pt x="40" y="66"/>
                      </a:lnTo>
                      <a:lnTo>
                        <a:pt x="43" y="86"/>
                      </a:lnTo>
                      <a:lnTo>
                        <a:pt x="45" y="101"/>
                      </a:lnTo>
                      <a:lnTo>
                        <a:pt x="42" y="117"/>
                      </a:lnTo>
                      <a:lnTo>
                        <a:pt x="33" y="131"/>
                      </a:lnTo>
                      <a:lnTo>
                        <a:pt x="32" y="131"/>
                      </a:lnTo>
                      <a:lnTo>
                        <a:pt x="32" y="131"/>
                      </a:lnTo>
                      <a:lnTo>
                        <a:pt x="32" y="131"/>
                      </a:lnTo>
                      <a:lnTo>
                        <a:pt x="32" y="131"/>
                      </a:lnTo>
                      <a:lnTo>
                        <a:pt x="14" y="128"/>
                      </a:lnTo>
                      <a:lnTo>
                        <a:pt x="0" y="123"/>
                      </a:lnTo>
                      <a:lnTo>
                        <a:pt x="0" y="123"/>
                      </a:lnTo>
                      <a:lnTo>
                        <a:pt x="0" y="123"/>
                      </a:lnTo>
                      <a:lnTo>
                        <a:pt x="21" y="123"/>
                      </a:lnTo>
                      <a:lnTo>
                        <a:pt x="21" y="0"/>
                      </a:lnTo>
                      <a:close/>
                    </a:path>
                  </a:pathLst>
                </a:custGeom>
                <a:solidFill>
                  <a:srgbClr val="0100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13" name="Freeform 94"/>
                <p:cNvSpPr>
                  <a:spLocks noEditPoints="1"/>
                </p:cNvSpPr>
                <p:nvPr/>
              </p:nvSpPr>
              <p:spPr bwMode="auto">
                <a:xfrm>
                  <a:off x="4949826" y="4519613"/>
                  <a:ext cx="503238" cy="233363"/>
                </a:xfrm>
                <a:custGeom>
                  <a:avLst/>
                  <a:gdLst>
                    <a:gd name="T0" fmla="*/ 69 w 317"/>
                    <a:gd name="T1" fmla="*/ 17 h 147"/>
                    <a:gd name="T2" fmla="*/ 141 w 317"/>
                    <a:gd name="T3" fmla="*/ 20 h 147"/>
                    <a:gd name="T4" fmla="*/ 146 w 317"/>
                    <a:gd name="T5" fmla="*/ 23 h 147"/>
                    <a:gd name="T6" fmla="*/ 152 w 317"/>
                    <a:gd name="T7" fmla="*/ 26 h 147"/>
                    <a:gd name="T8" fmla="*/ 157 w 317"/>
                    <a:gd name="T9" fmla="*/ 32 h 147"/>
                    <a:gd name="T10" fmla="*/ 163 w 317"/>
                    <a:gd name="T11" fmla="*/ 40 h 147"/>
                    <a:gd name="T12" fmla="*/ 166 w 317"/>
                    <a:gd name="T13" fmla="*/ 52 h 147"/>
                    <a:gd name="T14" fmla="*/ 168 w 317"/>
                    <a:gd name="T15" fmla="*/ 68 h 147"/>
                    <a:gd name="T16" fmla="*/ 166 w 317"/>
                    <a:gd name="T17" fmla="*/ 88 h 147"/>
                    <a:gd name="T18" fmla="*/ 160 w 317"/>
                    <a:gd name="T19" fmla="*/ 113 h 147"/>
                    <a:gd name="T20" fmla="*/ 150 w 317"/>
                    <a:gd name="T21" fmla="*/ 144 h 147"/>
                    <a:gd name="T22" fmla="*/ 138 w 317"/>
                    <a:gd name="T23" fmla="*/ 144 h 147"/>
                    <a:gd name="T24" fmla="*/ 74 w 317"/>
                    <a:gd name="T25" fmla="*/ 142 h 147"/>
                    <a:gd name="T26" fmla="*/ 5 w 317"/>
                    <a:gd name="T27" fmla="*/ 141 h 147"/>
                    <a:gd name="T28" fmla="*/ 0 w 317"/>
                    <a:gd name="T29" fmla="*/ 116 h 147"/>
                    <a:gd name="T30" fmla="*/ 0 w 317"/>
                    <a:gd name="T31" fmla="*/ 96 h 147"/>
                    <a:gd name="T32" fmla="*/ 3 w 317"/>
                    <a:gd name="T33" fmla="*/ 80 h 147"/>
                    <a:gd name="T34" fmla="*/ 9 w 317"/>
                    <a:gd name="T35" fmla="*/ 67 h 147"/>
                    <a:gd name="T36" fmla="*/ 18 w 317"/>
                    <a:gd name="T37" fmla="*/ 56 h 147"/>
                    <a:gd name="T38" fmla="*/ 29 w 317"/>
                    <a:gd name="T39" fmla="*/ 46 h 147"/>
                    <a:gd name="T40" fmla="*/ 41 w 317"/>
                    <a:gd name="T41" fmla="*/ 38 h 147"/>
                    <a:gd name="T42" fmla="*/ 56 w 317"/>
                    <a:gd name="T43" fmla="*/ 27 h 147"/>
                    <a:gd name="T44" fmla="*/ 69 w 317"/>
                    <a:gd name="T45" fmla="*/ 17 h 147"/>
                    <a:gd name="T46" fmla="*/ 297 w 317"/>
                    <a:gd name="T47" fmla="*/ 0 h 147"/>
                    <a:gd name="T48" fmla="*/ 304 w 317"/>
                    <a:gd name="T49" fmla="*/ 4 h 147"/>
                    <a:gd name="T50" fmla="*/ 310 w 317"/>
                    <a:gd name="T51" fmla="*/ 11 h 147"/>
                    <a:gd name="T52" fmla="*/ 317 w 317"/>
                    <a:gd name="T53" fmla="*/ 24 h 147"/>
                    <a:gd name="T54" fmla="*/ 317 w 317"/>
                    <a:gd name="T55" fmla="*/ 147 h 147"/>
                    <a:gd name="T56" fmla="*/ 296 w 317"/>
                    <a:gd name="T57" fmla="*/ 147 h 147"/>
                    <a:gd name="T58" fmla="*/ 259 w 317"/>
                    <a:gd name="T59" fmla="*/ 145 h 147"/>
                    <a:gd name="T60" fmla="*/ 277 w 317"/>
                    <a:gd name="T61" fmla="*/ 110 h 147"/>
                    <a:gd name="T62" fmla="*/ 290 w 317"/>
                    <a:gd name="T63" fmla="*/ 74 h 147"/>
                    <a:gd name="T64" fmla="*/ 297 w 317"/>
                    <a:gd name="T65" fmla="*/ 39 h 147"/>
                    <a:gd name="T66" fmla="*/ 297 w 317"/>
                    <a:gd name="T67" fmla="*/ 0 h 1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317" h="147">
                      <a:moveTo>
                        <a:pt x="69" y="17"/>
                      </a:moveTo>
                      <a:lnTo>
                        <a:pt x="141" y="20"/>
                      </a:lnTo>
                      <a:lnTo>
                        <a:pt x="146" y="23"/>
                      </a:lnTo>
                      <a:lnTo>
                        <a:pt x="152" y="26"/>
                      </a:lnTo>
                      <a:lnTo>
                        <a:pt x="157" y="32"/>
                      </a:lnTo>
                      <a:lnTo>
                        <a:pt x="163" y="40"/>
                      </a:lnTo>
                      <a:lnTo>
                        <a:pt x="166" y="52"/>
                      </a:lnTo>
                      <a:lnTo>
                        <a:pt x="168" y="68"/>
                      </a:lnTo>
                      <a:lnTo>
                        <a:pt x="166" y="88"/>
                      </a:lnTo>
                      <a:lnTo>
                        <a:pt x="160" y="113"/>
                      </a:lnTo>
                      <a:lnTo>
                        <a:pt x="150" y="144"/>
                      </a:lnTo>
                      <a:lnTo>
                        <a:pt x="138" y="144"/>
                      </a:lnTo>
                      <a:lnTo>
                        <a:pt x="74" y="142"/>
                      </a:lnTo>
                      <a:lnTo>
                        <a:pt x="5" y="141"/>
                      </a:lnTo>
                      <a:lnTo>
                        <a:pt x="0" y="116"/>
                      </a:lnTo>
                      <a:lnTo>
                        <a:pt x="0" y="96"/>
                      </a:lnTo>
                      <a:lnTo>
                        <a:pt x="3" y="80"/>
                      </a:lnTo>
                      <a:lnTo>
                        <a:pt x="9" y="67"/>
                      </a:lnTo>
                      <a:lnTo>
                        <a:pt x="18" y="56"/>
                      </a:lnTo>
                      <a:lnTo>
                        <a:pt x="29" y="46"/>
                      </a:lnTo>
                      <a:lnTo>
                        <a:pt x="41" y="38"/>
                      </a:lnTo>
                      <a:lnTo>
                        <a:pt x="56" y="27"/>
                      </a:lnTo>
                      <a:lnTo>
                        <a:pt x="69" y="17"/>
                      </a:lnTo>
                      <a:close/>
                      <a:moveTo>
                        <a:pt x="297" y="0"/>
                      </a:moveTo>
                      <a:lnTo>
                        <a:pt x="304" y="4"/>
                      </a:lnTo>
                      <a:lnTo>
                        <a:pt x="310" y="11"/>
                      </a:lnTo>
                      <a:lnTo>
                        <a:pt x="317" y="24"/>
                      </a:lnTo>
                      <a:lnTo>
                        <a:pt x="317" y="147"/>
                      </a:lnTo>
                      <a:lnTo>
                        <a:pt x="296" y="147"/>
                      </a:lnTo>
                      <a:lnTo>
                        <a:pt x="259" y="145"/>
                      </a:lnTo>
                      <a:lnTo>
                        <a:pt x="277" y="110"/>
                      </a:lnTo>
                      <a:lnTo>
                        <a:pt x="290" y="74"/>
                      </a:lnTo>
                      <a:lnTo>
                        <a:pt x="297" y="39"/>
                      </a:lnTo>
                      <a:lnTo>
                        <a:pt x="297" y="0"/>
                      </a:lnTo>
                      <a:close/>
                    </a:path>
                  </a:pathLst>
                </a:custGeom>
                <a:solidFill>
                  <a:srgbClr val="0100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14" name="Freeform 95"/>
                <p:cNvSpPr>
                  <a:spLocks/>
                </p:cNvSpPr>
                <p:nvPr/>
              </p:nvSpPr>
              <p:spPr bwMode="auto">
                <a:xfrm>
                  <a:off x="5080001" y="5080000"/>
                  <a:ext cx="88900" cy="295275"/>
                </a:xfrm>
                <a:custGeom>
                  <a:avLst/>
                  <a:gdLst>
                    <a:gd name="T0" fmla="*/ 27 w 56"/>
                    <a:gd name="T1" fmla="*/ 0 h 186"/>
                    <a:gd name="T2" fmla="*/ 42 w 56"/>
                    <a:gd name="T3" fmla="*/ 4 h 186"/>
                    <a:gd name="T4" fmla="*/ 52 w 56"/>
                    <a:gd name="T5" fmla="*/ 14 h 186"/>
                    <a:gd name="T6" fmla="*/ 56 w 56"/>
                    <a:gd name="T7" fmla="*/ 29 h 186"/>
                    <a:gd name="T8" fmla="*/ 56 w 56"/>
                    <a:gd name="T9" fmla="*/ 157 h 186"/>
                    <a:gd name="T10" fmla="*/ 52 w 56"/>
                    <a:gd name="T11" fmla="*/ 171 h 186"/>
                    <a:gd name="T12" fmla="*/ 42 w 56"/>
                    <a:gd name="T13" fmla="*/ 182 h 186"/>
                    <a:gd name="T14" fmla="*/ 27 w 56"/>
                    <a:gd name="T15" fmla="*/ 186 h 186"/>
                    <a:gd name="T16" fmla="*/ 13 w 56"/>
                    <a:gd name="T17" fmla="*/ 182 h 186"/>
                    <a:gd name="T18" fmla="*/ 3 w 56"/>
                    <a:gd name="T19" fmla="*/ 171 h 186"/>
                    <a:gd name="T20" fmla="*/ 0 w 56"/>
                    <a:gd name="T21" fmla="*/ 157 h 186"/>
                    <a:gd name="T22" fmla="*/ 0 w 56"/>
                    <a:gd name="T23" fmla="*/ 29 h 186"/>
                    <a:gd name="T24" fmla="*/ 3 w 56"/>
                    <a:gd name="T25" fmla="*/ 14 h 186"/>
                    <a:gd name="T26" fmla="*/ 13 w 56"/>
                    <a:gd name="T27" fmla="*/ 4 h 186"/>
                    <a:gd name="T28" fmla="*/ 27 w 56"/>
                    <a:gd name="T29" fmla="*/ 0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56" h="186">
                      <a:moveTo>
                        <a:pt x="27" y="0"/>
                      </a:moveTo>
                      <a:lnTo>
                        <a:pt x="42" y="4"/>
                      </a:lnTo>
                      <a:lnTo>
                        <a:pt x="52" y="14"/>
                      </a:lnTo>
                      <a:lnTo>
                        <a:pt x="56" y="29"/>
                      </a:lnTo>
                      <a:lnTo>
                        <a:pt x="56" y="157"/>
                      </a:lnTo>
                      <a:lnTo>
                        <a:pt x="52" y="171"/>
                      </a:lnTo>
                      <a:lnTo>
                        <a:pt x="42" y="182"/>
                      </a:lnTo>
                      <a:lnTo>
                        <a:pt x="27" y="186"/>
                      </a:lnTo>
                      <a:lnTo>
                        <a:pt x="13" y="182"/>
                      </a:lnTo>
                      <a:lnTo>
                        <a:pt x="3" y="171"/>
                      </a:lnTo>
                      <a:lnTo>
                        <a:pt x="0" y="157"/>
                      </a:lnTo>
                      <a:lnTo>
                        <a:pt x="0" y="29"/>
                      </a:lnTo>
                      <a:lnTo>
                        <a:pt x="3" y="14"/>
                      </a:lnTo>
                      <a:lnTo>
                        <a:pt x="13" y="4"/>
                      </a:lnTo>
                      <a:lnTo>
                        <a:pt x="27" y="0"/>
                      </a:lnTo>
                      <a:close/>
                    </a:path>
                  </a:pathLst>
                </a:custGeom>
                <a:solidFill>
                  <a:srgbClr val="FFF0D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15" name="Freeform 96"/>
                <p:cNvSpPr>
                  <a:spLocks/>
                </p:cNvSpPr>
                <p:nvPr/>
              </p:nvSpPr>
              <p:spPr bwMode="auto">
                <a:xfrm>
                  <a:off x="4810126" y="3640138"/>
                  <a:ext cx="657225" cy="606425"/>
                </a:xfrm>
                <a:custGeom>
                  <a:avLst/>
                  <a:gdLst>
                    <a:gd name="T0" fmla="*/ 245 w 414"/>
                    <a:gd name="T1" fmla="*/ 0 h 382"/>
                    <a:gd name="T2" fmla="*/ 258 w 414"/>
                    <a:gd name="T3" fmla="*/ 12 h 382"/>
                    <a:gd name="T4" fmla="*/ 277 w 414"/>
                    <a:gd name="T5" fmla="*/ 25 h 382"/>
                    <a:gd name="T6" fmla="*/ 298 w 414"/>
                    <a:gd name="T7" fmla="*/ 39 h 382"/>
                    <a:gd name="T8" fmla="*/ 321 w 414"/>
                    <a:gd name="T9" fmla="*/ 54 h 382"/>
                    <a:gd name="T10" fmla="*/ 344 w 414"/>
                    <a:gd name="T11" fmla="*/ 68 h 382"/>
                    <a:gd name="T12" fmla="*/ 366 w 414"/>
                    <a:gd name="T13" fmla="*/ 83 h 382"/>
                    <a:gd name="T14" fmla="*/ 385 w 414"/>
                    <a:gd name="T15" fmla="*/ 97 h 382"/>
                    <a:gd name="T16" fmla="*/ 400 w 414"/>
                    <a:gd name="T17" fmla="*/ 110 h 382"/>
                    <a:gd name="T18" fmla="*/ 410 w 414"/>
                    <a:gd name="T19" fmla="*/ 122 h 382"/>
                    <a:gd name="T20" fmla="*/ 414 w 414"/>
                    <a:gd name="T21" fmla="*/ 134 h 382"/>
                    <a:gd name="T22" fmla="*/ 413 w 414"/>
                    <a:gd name="T23" fmla="*/ 138 h 382"/>
                    <a:gd name="T24" fmla="*/ 411 w 414"/>
                    <a:gd name="T25" fmla="*/ 148 h 382"/>
                    <a:gd name="T26" fmla="*/ 408 w 414"/>
                    <a:gd name="T27" fmla="*/ 166 h 382"/>
                    <a:gd name="T28" fmla="*/ 404 w 414"/>
                    <a:gd name="T29" fmla="*/ 187 h 382"/>
                    <a:gd name="T30" fmla="*/ 398 w 414"/>
                    <a:gd name="T31" fmla="*/ 215 h 382"/>
                    <a:gd name="T32" fmla="*/ 392 w 414"/>
                    <a:gd name="T33" fmla="*/ 246 h 382"/>
                    <a:gd name="T34" fmla="*/ 386 w 414"/>
                    <a:gd name="T35" fmla="*/ 278 h 382"/>
                    <a:gd name="T36" fmla="*/ 381 w 414"/>
                    <a:gd name="T37" fmla="*/ 312 h 382"/>
                    <a:gd name="T38" fmla="*/ 373 w 414"/>
                    <a:gd name="T39" fmla="*/ 347 h 382"/>
                    <a:gd name="T40" fmla="*/ 368 w 414"/>
                    <a:gd name="T41" fmla="*/ 382 h 382"/>
                    <a:gd name="T42" fmla="*/ 23 w 414"/>
                    <a:gd name="T43" fmla="*/ 382 h 382"/>
                    <a:gd name="T44" fmla="*/ 20 w 414"/>
                    <a:gd name="T45" fmla="*/ 341 h 382"/>
                    <a:gd name="T46" fmla="*/ 16 w 414"/>
                    <a:gd name="T47" fmla="*/ 301 h 382"/>
                    <a:gd name="T48" fmla="*/ 13 w 414"/>
                    <a:gd name="T49" fmla="*/ 262 h 382"/>
                    <a:gd name="T50" fmla="*/ 8 w 414"/>
                    <a:gd name="T51" fmla="*/ 224 h 382"/>
                    <a:gd name="T52" fmla="*/ 5 w 414"/>
                    <a:gd name="T53" fmla="*/ 190 h 382"/>
                    <a:gd name="T54" fmla="*/ 2 w 414"/>
                    <a:gd name="T55" fmla="*/ 163 h 382"/>
                    <a:gd name="T56" fmla="*/ 1 w 414"/>
                    <a:gd name="T57" fmla="*/ 141 h 382"/>
                    <a:gd name="T58" fmla="*/ 0 w 414"/>
                    <a:gd name="T59" fmla="*/ 126 h 382"/>
                    <a:gd name="T60" fmla="*/ 0 w 414"/>
                    <a:gd name="T61" fmla="*/ 121 h 382"/>
                    <a:gd name="T62" fmla="*/ 4 w 414"/>
                    <a:gd name="T63" fmla="*/ 112 h 382"/>
                    <a:gd name="T64" fmla="*/ 16 w 414"/>
                    <a:gd name="T65" fmla="*/ 102 h 382"/>
                    <a:gd name="T66" fmla="*/ 34 w 414"/>
                    <a:gd name="T67" fmla="*/ 89 h 382"/>
                    <a:gd name="T68" fmla="*/ 58 w 414"/>
                    <a:gd name="T69" fmla="*/ 74 h 382"/>
                    <a:gd name="T70" fmla="*/ 82 w 414"/>
                    <a:gd name="T71" fmla="*/ 59 h 382"/>
                    <a:gd name="T72" fmla="*/ 110 w 414"/>
                    <a:gd name="T73" fmla="*/ 42 h 382"/>
                    <a:gd name="T74" fmla="*/ 138 w 414"/>
                    <a:gd name="T75" fmla="*/ 22 h 382"/>
                    <a:gd name="T76" fmla="*/ 162 w 414"/>
                    <a:gd name="T77" fmla="*/ 1 h 382"/>
                    <a:gd name="T78" fmla="*/ 245 w 414"/>
                    <a:gd name="T79" fmla="*/ 0 h 3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414" h="382">
                      <a:moveTo>
                        <a:pt x="245" y="0"/>
                      </a:moveTo>
                      <a:lnTo>
                        <a:pt x="258" y="12"/>
                      </a:lnTo>
                      <a:lnTo>
                        <a:pt x="277" y="25"/>
                      </a:lnTo>
                      <a:lnTo>
                        <a:pt x="298" y="39"/>
                      </a:lnTo>
                      <a:lnTo>
                        <a:pt x="321" y="54"/>
                      </a:lnTo>
                      <a:lnTo>
                        <a:pt x="344" y="68"/>
                      </a:lnTo>
                      <a:lnTo>
                        <a:pt x="366" y="83"/>
                      </a:lnTo>
                      <a:lnTo>
                        <a:pt x="385" y="97"/>
                      </a:lnTo>
                      <a:lnTo>
                        <a:pt x="400" y="110"/>
                      </a:lnTo>
                      <a:lnTo>
                        <a:pt x="410" y="122"/>
                      </a:lnTo>
                      <a:lnTo>
                        <a:pt x="414" y="134"/>
                      </a:lnTo>
                      <a:lnTo>
                        <a:pt x="413" y="138"/>
                      </a:lnTo>
                      <a:lnTo>
                        <a:pt x="411" y="148"/>
                      </a:lnTo>
                      <a:lnTo>
                        <a:pt x="408" y="166"/>
                      </a:lnTo>
                      <a:lnTo>
                        <a:pt x="404" y="187"/>
                      </a:lnTo>
                      <a:lnTo>
                        <a:pt x="398" y="215"/>
                      </a:lnTo>
                      <a:lnTo>
                        <a:pt x="392" y="246"/>
                      </a:lnTo>
                      <a:lnTo>
                        <a:pt x="386" y="278"/>
                      </a:lnTo>
                      <a:lnTo>
                        <a:pt x="381" y="312"/>
                      </a:lnTo>
                      <a:lnTo>
                        <a:pt x="373" y="347"/>
                      </a:lnTo>
                      <a:lnTo>
                        <a:pt x="368" y="382"/>
                      </a:lnTo>
                      <a:lnTo>
                        <a:pt x="23" y="382"/>
                      </a:lnTo>
                      <a:lnTo>
                        <a:pt x="20" y="341"/>
                      </a:lnTo>
                      <a:lnTo>
                        <a:pt x="16" y="301"/>
                      </a:lnTo>
                      <a:lnTo>
                        <a:pt x="13" y="262"/>
                      </a:lnTo>
                      <a:lnTo>
                        <a:pt x="8" y="224"/>
                      </a:lnTo>
                      <a:lnTo>
                        <a:pt x="5" y="190"/>
                      </a:lnTo>
                      <a:lnTo>
                        <a:pt x="2" y="163"/>
                      </a:lnTo>
                      <a:lnTo>
                        <a:pt x="1" y="141"/>
                      </a:lnTo>
                      <a:lnTo>
                        <a:pt x="0" y="126"/>
                      </a:lnTo>
                      <a:lnTo>
                        <a:pt x="0" y="121"/>
                      </a:lnTo>
                      <a:lnTo>
                        <a:pt x="4" y="112"/>
                      </a:lnTo>
                      <a:lnTo>
                        <a:pt x="16" y="102"/>
                      </a:lnTo>
                      <a:lnTo>
                        <a:pt x="34" y="89"/>
                      </a:lnTo>
                      <a:lnTo>
                        <a:pt x="58" y="74"/>
                      </a:lnTo>
                      <a:lnTo>
                        <a:pt x="82" y="59"/>
                      </a:lnTo>
                      <a:lnTo>
                        <a:pt x="110" y="42"/>
                      </a:lnTo>
                      <a:lnTo>
                        <a:pt x="138" y="22"/>
                      </a:lnTo>
                      <a:lnTo>
                        <a:pt x="162" y="1"/>
                      </a:lnTo>
                      <a:lnTo>
                        <a:pt x="245" y="0"/>
                      </a:lnTo>
                      <a:close/>
                    </a:path>
                  </a:pathLst>
                </a:custGeom>
                <a:solidFill>
                  <a:srgbClr val="51BFB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16" name="Freeform 97"/>
                <p:cNvSpPr>
                  <a:spLocks noEditPoints="1"/>
                </p:cNvSpPr>
                <p:nvPr/>
              </p:nvSpPr>
              <p:spPr bwMode="auto">
                <a:xfrm>
                  <a:off x="4843463" y="3944938"/>
                  <a:ext cx="444500" cy="301625"/>
                </a:xfrm>
                <a:custGeom>
                  <a:avLst/>
                  <a:gdLst>
                    <a:gd name="T0" fmla="*/ 50 w 280"/>
                    <a:gd name="T1" fmla="*/ 148 h 190"/>
                    <a:gd name="T2" fmla="*/ 50 w 280"/>
                    <a:gd name="T3" fmla="*/ 179 h 190"/>
                    <a:gd name="T4" fmla="*/ 54 w 280"/>
                    <a:gd name="T5" fmla="*/ 179 h 190"/>
                    <a:gd name="T6" fmla="*/ 54 w 280"/>
                    <a:gd name="T7" fmla="*/ 181 h 190"/>
                    <a:gd name="T8" fmla="*/ 85 w 280"/>
                    <a:gd name="T9" fmla="*/ 181 h 190"/>
                    <a:gd name="T10" fmla="*/ 83 w 280"/>
                    <a:gd name="T11" fmla="*/ 154 h 190"/>
                    <a:gd name="T12" fmla="*/ 86 w 280"/>
                    <a:gd name="T13" fmla="*/ 154 h 190"/>
                    <a:gd name="T14" fmla="*/ 91 w 280"/>
                    <a:gd name="T15" fmla="*/ 155 h 190"/>
                    <a:gd name="T16" fmla="*/ 96 w 280"/>
                    <a:gd name="T17" fmla="*/ 158 h 190"/>
                    <a:gd name="T18" fmla="*/ 101 w 280"/>
                    <a:gd name="T19" fmla="*/ 161 h 190"/>
                    <a:gd name="T20" fmla="*/ 107 w 280"/>
                    <a:gd name="T21" fmla="*/ 163 h 190"/>
                    <a:gd name="T22" fmla="*/ 109 w 280"/>
                    <a:gd name="T23" fmla="*/ 164 h 190"/>
                    <a:gd name="T24" fmla="*/ 111 w 280"/>
                    <a:gd name="T25" fmla="*/ 165 h 190"/>
                    <a:gd name="T26" fmla="*/ 112 w 280"/>
                    <a:gd name="T27" fmla="*/ 165 h 190"/>
                    <a:gd name="T28" fmla="*/ 117 w 280"/>
                    <a:gd name="T29" fmla="*/ 167 h 190"/>
                    <a:gd name="T30" fmla="*/ 123 w 280"/>
                    <a:gd name="T31" fmla="*/ 165 h 190"/>
                    <a:gd name="T32" fmla="*/ 127 w 280"/>
                    <a:gd name="T33" fmla="*/ 164 h 190"/>
                    <a:gd name="T34" fmla="*/ 130 w 280"/>
                    <a:gd name="T35" fmla="*/ 163 h 190"/>
                    <a:gd name="T36" fmla="*/ 133 w 280"/>
                    <a:gd name="T37" fmla="*/ 160 h 190"/>
                    <a:gd name="T38" fmla="*/ 168 w 280"/>
                    <a:gd name="T39" fmla="*/ 164 h 190"/>
                    <a:gd name="T40" fmla="*/ 205 w 280"/>
                    <a:gd name="T41" fmla="*/ 170 h 190"/>
                    <a:gd name="T42" fmla="*/ 243 w 280"/>
                    <a:gd name="T43" fmla="*/ 174 h 190"/>
                    <a:gd name="T44" fmla="*/ 278 w 280"/>
                    <a:gd name="T45" fmla="*/ 180 h 190"/>
                    <a:gd name="T46" fmla="*/ 280 w 280"/>
                    <a:gd name="T47" fmla="*/ 190 h 190"/>
                    <a:gd name="T48" fmla="*/ 2 w 280"/>
                    <a:gd name="T49" fmla="*/ 190 h 190"/>
                    <a:gd name="T50" fmla="*/ 0 w 280"/>
                    <a:gd name="T51" fmla="*/ 174 h 190"/>
                    <a:gd name="T52" fmla="*/ 50 w 280"/>
                    <a:gd name="T53" fmla="*/ 148 h 190"/>
                    <a:gd name="T54" fmla="*/ 50 w 280"/>
                    <a:gd name="T55" fmla="*/ 0 h 190"/>
                    <a:gd name="T56" fmla="*/ 45 w 280"/>
                    <a:gd name="T57" fmla="*/ 24 h 190"/>
                    <a:gd name="T58" fmla="*/ 45 w 280"/>
                    <a:gd name="T59" fmla="*/ 51 h 190"/>
                    <a:gd name="T60" fmla="*/ 48 w 280"/>
                    <a:gd name="T61" fmla="*/ 78 h 190"/>
                    <a:gd name="T62" fmla="*/ 9 w 280"/>
                    <a:gd name="T63" fmla="*/ 88 h 190"/>
                    <a:gd name="T64" fmla="*/ 50 w 280"/>
                    <a:gd name="T65" fmla="*/ 0 h 1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280" h="190">
                      <a:moveTo>
                        <a:pt x="50" y="148"/>
                      </a:moveTo>
                      <a:lnTo>
                        <a:pt x="50" y="179"/>
                      </a:lnTo>
                      <a:lnTo>
                        <a:pt x="54" y="179"/>
                      </a:lnTo>
                      <a:lnTo>
                        <a:pt x="54" y="181"/>
                      </a:lnTo>
                      <a:lnTo>
                        <a:pt x="85" y="181"/>
                      </a:lnTo>
                      <a:lnTo>
                        <a:pt x="83" y="154"/>
                      </a:lnTo>
                      <a:lnTo>
                        <a:pt x="86" y="154"/>
                      </a:lnTo>
                      <a:lnTo>
                        <a:pt x="91" y="155"/>
                      </a:lnTo>
                      <a:lnTo>
                        <a:pt x="96" y="158"/>
                      </a:lnTo>
                      <a:lnTo>
                        <a:pt x="101" y="161"/>
                      </a:lnTo>
                      <a:lnTo>
                        <a:pt x="107" y="163"/>
                      </a:lnTo>
                      <a:lnTo>
                        <a:pt x="109" y="164"/>
                      </a:lnTo>
                      <a:lnTo>
                        <a:pt x="111" y="165"/>
                      </a:lnTo>
                      <a:lnTo>
                        <a:pt x="112" y="165"/>
                      </a:lnTo>
                      <a:lnTo>
                        <a:pt x="117" y="167"/>
                      </a:lnTo>
                      <a:lnTo>
                        <a:pt x="123" y="165"/>
                      </a:lnTo>
                      <a:lnTo>
                        <a:pt x="127" y="164"/>
                      </a:lnTo>
                      <a:lnTo>
                        <a:pt x="130" y="163"/>
                      </a:lnTo>
                      <a:lnTo>
                        <a:pt x="133" y="160"/>
                      </a:lnTo>
                      <a:lnTo>
                        <a:pt x="168" y="164"/>
                      </a:lnTo>
                      <a:lnTo>
                        <a:pt x="205" y="170"/>
                      </a:lnTo>
                      <a:lnTo>
                        <a:pt x="243" y="174"/>
                      </a:lnTo>
                      <a:lnTo>
                        <a:pt x="278" y="180"/>
                      </a:lnTo>
                      <a:lnTo>
                        <a:pt x="280" y="190"/>
                      </a:lnTo>
                      <a:lnTo>
                        <a:pt x="2" y="190"/>
                      </a:lnTo>
                      <a:lnTo>
                        <a:pt x="0" y="174"/>
                      </a:lnTo>
                      <a:lnTo>
                        <a:pt x="50" y="148"/>
                      </a:lnTo>
                      <a:close/>
                      <a:moveTo>
                        <a:pt x="50" y="0"/>
                      </a:moveTo>
                      <a:lnTo>
                        <a:pt x="45" y="24"/>
                      </a:lnTo>
                      <a:lnTo>
                        <a:pt x="45" y="51"/>
                      </a:lnTo>
                      <a:lnTo>
                        <a:pt x="48" y="78"/>
                      </a:lnTo>
                      <a:lnTo>
                        <a:pt x="9" y="88"/>
                      </a:lnTo>
                      <a:lnTo>
                        <a:pt x="50" y="0"/>
                      </a:lnTo>
                      <a:close/>
                    </a:path>
                  </a:pathLst>
                </a:custGeom>
                <a:solidFill>
                  <a:srgbClr val="1EA6B3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17" name="Freeform 98"/>
                <p:cNvSpPr>
                  <a:spLocks/>
                </p:cNvSpPr>
                <p:nvPr/>
              </p:nvSpPr>
              <p:spPr bwMode="auto">
                <a:xfrm>
                  <a:off x="5310188" y="3810000"/>
                  <a:ext cx="279400" cy="446088"/>
                </a:xfrm>
                <a:custGeom>
                  <a:avLst/>
                  <a:gdLst>
                    <a:gd name="T0" fmla="*/ 63 w 176"/>
                    <a:gd name="T1" fmla="*/ 0 h 281"/>
                    <a:gd name="T2" fmla="*/ 77 w 176"/>
                    <a:gd name="T3" fmla="*/ 2 h 281"/>
                    <a:gd name="T4" fmla="*/ 90 w 176"/>
                    <a:gd name="T5" fmla="*/ 8 h 281"/>
                    <a:gd name="T6" fmla="*/ 92 w 176"/>
                    <a:gd name="T7" fmla="*/ 11 h 281"/>
                    <a:gd name="T8" fmla="*/ 96 w 176"/>
                    <a:gd name="T9" fmla="*/ 16 h 281"/>
                    <a:gd name="T10" fmla="*/ 102 w 176"/>
                    <a:gd name="T11" fmla="*/ 24 h 281"/>
                    <a:gd name="T12" fmla="*/ 108 w 176"/>
                    <a:gd name="T13" fmla="*/ 35 h 281"/>
                    <a:gd name="T14" fmla="*/ 115 w 176"/>
                    <a:gd name="T15" fmla="*/ 54 h 281"/>
                    <a:gd name="T16" fmla="*/ 124 w 176"/>
                    <a:gd name="T17" fmla="*/ 78 h 281"/>
                    <a:gd name="T18" fmla="*/ 133 w 176"/>
                    <a:gd name="T19" fmla="*/ 102 h 281"/>
                    <a:gd name="T20" fmla="*/ 141 w 176"/>
                    <a:gd name="T21" fmla="*/ 127 h 281"/>
                    <a:gd name="T22" fmla="*/ 150 w 176"/>
                    <a:gd name="T23" fmla="*/ 150 h 281"/>
                    <a:gd name="T24" fmla="*/ 159 w 176"/>
                    <a:gd name="T25" fmla="*/ 173 h 281"/>
                    <a:gd name="T26" fmla="*/ 166 w 176"/>
                    <a:gd name="T27" fmla="*/ 192 h 281"/>
                    <a:gd name="T28" fmla="*/ 170 w 176"/>
                    <a:gd name="T29" fmla="*/ 207 h 281"/>
                    <a:gd name="T30" fmla="*/ 175 w 176"/>
                    <a:gd name="T31" fmla="*/ 217 h 281"/>
                    <a:gd name="T32" fmla="*/ 176 w 176"/>
                    <a:gd name="T33" fmla="*/ 220 h 281"/>
                    <a:gd name="T34" fmla="*/ 170 w 176"/>
                    <a:gd name="T35" fmla="*/ 242 h 281"/>
                    <a:gd name="T36" fmla="*/ 166 w 176"/>
                    <a:gd name="T37" fmla="*/ 253 h 281"/>
                    <a:gd name="T38" fmla="*/ 162 w 176"/>
                    <a:gd name="T39" fmla="*/ 261 h 281"/>
                    <a:gd name="T40" fmla="*/ 157 w 176"/>
                    <a:gd name="T41" fmla="*/ 264 h 281"/>
                    <a:gd name="T42" fmla="*/ 154 w 176"/>
                    <a:gd name="T43" fmla="*/ 264 h 281"/>
                    <a:gd name="T44" fmla="*/ 153 w 176"/>
                    <a:gd name="T45" fmla="*/ 264 h 281"/>
                    <a:gd name="T46" fmla="*/ 151 w 176"/>
                    <a:gd name="T47" fmla="*/ 264 h 281"/>
                    <a:gd name="T48" fmla="*/ 150 w 176"/>
                    <a:gd name="T49" fmla="*/ 265 h 281"/>
                    <a:gd name="T50" fmla="*/ 149 w 176"/>
                    <a:gd name="T51" fmla="*/ 268 h 281"/>
                    <a:gd name="T52" fmla="*/ 147 w 176"/>
                    <a:gd name="T53" fmla="*/ 272 h 281"/>
                    <a:gd name="T54" fmla="*/ 146 w 176"/>
                    <a:gd name="T55" fmla="*/ 278 h 281"/>
                    <a:gd name="T56" fmla="*/ 96 w 176"/>
                    <a:gd name="T57" fmla="*/ 281 h 281"/>
                    <a:gd name="T58" fmla="*/ 79 w 176"/>
                    <a:gd name="T59" fmla="*/ 236 h 281"/>
                    <a:gd name="T60" fmla="*/ 3 w 176"/>
                    <a:gd name="T61" fmla="*/ 75 h 281"/>
                    <a:gd name="T62" fmla="*/ 0 w 176"/>
                    <a:gd name="T63" fmla="*/ 62 h 281"/>
                    <a:gd name="T64" fmla="*/ 2 w 176"/>
                    <a:gd name="T65" fmla="*/ 47 h 281"/>
                    <a:gd name="T66" fmla="*/ 7 w 176"/>
                    <a:gd name="T67" fmla="*/ 32 h 281"/>
                    <a:gd name="T68" fmla="*/ 18 w 176"/>
                    <a:gd name="T69" fmla="*/ 19 h 281"/>
                    <a:gd name="T70" fmla="*/ 32 w 176"/>
                    <a:gd name="T71" fmla="*/ 9 h 281"/>
                    <a:gd name="T72" fmla="*/ 48 w 176"/>
                    <a:gd name="T73" fmla="*/ 2 h 281"/>
                    <a:gd name="T74" fmla="*/ 63 w 176"/>
                    <a:gd name="T75" fmla="*/ 0 h 2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176" h="281">
                      <a:moveTo>
                        <a:pt x="63" y="0"/>
                      </a:moveTo>
                      <a:lnTo>
                        <a:pt x="77" y="2"/>
                      </a:lnTo>
                      <a:lnTo>
                        <a:pt x="90" y="8"/>
                      </a:lnTo>
                      <a:lnTo>
                        <a:pt x="92" y="11"/>
                      </a:lnTo>
                      <a:lnTo>
                        <a:pt x="96" y="16"/>
                      </a:lnTo>
                      <a:lnTo>
                        <a:pt x="102" y="24"/>
                      </a:lnTo>
                      <a:lnTo>
                        <a:pt x="108" y="35"/>
                      </a:lnTo>
                      <a:lnTo>
                        <a:pt x="115" y="54"/>
                      </a:lnTo>
                      <a:lnTo>
                        <a:pt x="124" y="78"/>
                      </a:lnTo>
                      <a:lnTo>
                        <a:pt x="133" y="102"/>
                      </a:lnTo>
                      <a:lnTo>
                        <a:pt x="141" y="127"/>
                      </a:lnTo>
                      <a:lnTo>
                        <a:pt x="150" y="150"/>
                      </a:lnTo>
                      <a:lnTo>
                        <a:pt x="159" y="173"/>
                      </a:lnTo>
                      <a:lnTo>
                        <a:pt x="166" y="192"/>
                      </a:lnTo>
                      <a:lnTo>
                        <a:pt x="170" y="207"/>
                      </a:lnTo>
                      <a:lnTo>
                        <a:pt x="175" y="217"/>
                      </a:lnTo>
                      <a:lnTo>
                        <a:pt x="176" y="220"/>
                      </a:lnTo>
                      <a:lnTo>
                        <a:pt x="170" y="242"/>
                      </a:lnTo>
                      <a:lnTo>
                        <a:pt x="166" y="253"/>
                      </a:lnTo>
                      <a:lnTo>
                        <a:pt x="162" y="261"/>
                      </a:lnTo>
                      <a:lnTo>
                        <a:pt x="157" y="264"/>
                      </a:lnTo>
                      <a:lnTo>
                        <a:pt x="154" y="264"/>
                      </a:lnTo>
                      <a:lnTo>
                        <a:pt x="153" y="264"/>
                      </a:lnTo>
                      <a:lnTo>
                        <a:pt x="151" y="264"/>
                      </a:lnTo>
                      <a:lnTo>
                        <a:pt x="150" y="265"/>
                      </a:lnTo>
                      <a:lnTo>
                        <a:pt x="149" y="268"/>
                      </a:lnTo>
                      <a:lnTo>
                        <a:pt x="147" y="272"/>
                      </a:lnTo>
                      <a:lnTo>
                        <a:pt x="146" y="278"/>
                      </a:lnTo>
                      <a:lnTo>
                        <a:pt x="96" y="281"/>
                      </a:lnTo>
                      <a:lnTo>
                        <a:pt x="79" y="236"/>
                      </a:lnTo>
                      <a:lnTo>
                        <a:pt x="3" y="75"/>
                      </a:lnTo>
                      <a:lnTo>
                        <a:pt x="0" y="62"/>
                      </a:lnTo>
                      <a:lnTo>
                        <a:pt x="2" y="47"/>
                      </a:lnTo>
                      <a:lnTo>
                        <a:pt x="7" y="32"/>
                      </a:lnTo>
                      <a:lnTo>
                        <a:pt x="18" y="19"/>
                      </a:lnTo>
                      <a:lnTo>
                        <a:pt x="32" y="9"/>
                      </a:lnTo>
                      <a:lnTo>
                        <a:pt x="48" y="2"/>
                      </a:lnTo>
                      <a:lnTo>
                        <a:pt x="63" y="0"/>
                      </a:lnTo>
                      <a:close/>
                    </a:path>
                  </a:pathLst>
                </a:custGeom>
                <a:solidFill>
                  <a:srgbClr val="51BFB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18" name="Freeform 99"/>
                <p:cNvSpPr>
                  <a:spLocks/>
                </p:cNvSpPr>
                <p:nvPr/>
              </p:nvSpPr>
              <p:spPr bwMode="auto">
                <a:xfrm>
                  <a:off x="5186363" y="3946525"/>
                  <a:ext cx="107950" cy="152400"/>
                </a:xfrm>
                <a:custGeom>
                  <a:avLst/>
                  <a:gdLst>
                    <a:gd name="T0" fmla="*/ 0 w 68"/>
                    <a:gd name="T1" fmla="*/ 0 h 96"/>
                    <a:gd name="T2" fmla="*/ 68 w 68"/>
                    <a:gd name="T3" fmla="*/ 0 h 96"/>
                    <a:gd name="T4" fmla="*/ 68 w 68"/>
                    <a:gd name="T5" fmla="*/ 7 h 96"/>
                    <a:gd name="T6" fmla="*/ 7 w 68"/>
                    <a:gd name="T7" fmla="*/ 7 h 96"/>
                    <a:gd name="T8" fmla="*/ 7 w 68"/>
                    <a:gd name="T9" fmla="*/ 60 h 96"/>
                    <a:gd name="T10" fmla="*/ 42 w 68"/>
                    <a:gd name="T11" fmla="*/ 87 h 96"/>
                    <a:gd name="T12" fmla="*/ 51 w 68"/>
                    <a:gd name="T13" fmla="*/ 80 h 96"/>
                    <a:gd name="T14" fmla="*/ 52 w 68"/>
                    <a:gd name="T15" fmla="*/ 89 h 96"/>
                    <a:gd name="T16" fmla="*/ 42 w 68"/>
                    <a:gd name="T17" fmla="*/ 96 h 96"/>
                    <a:gd name="T18" fmla="*/ 0 w 68"/>
                    <a:gd name="T19" fmla="*/ 63 h 96"/>
                    <a:gd name="T20" fmla="*/ 0 w 68"/>
                    <a:gd name="T21" fmla="*/ 0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68" h="96">
                      <a:moveTo>
                        <a:pt x="0" y="0"/>
                      </a:moveTo>
                      <a:lnTo>
                        <a:pt x="68" y="0"/>
                      </a:lnTo>
                      <a:lnTo>
                        <a:pt x="68" y="7"/>
                      </a:lnTo>
                      <a:lnTo>
                        <a:pt x="7" y="7"/>
                      </a:lnTo>
                      <a:lnTo>
                        <a:pt x="7" y="60"/>
                      </a:lnTo>
                      <a:lnTo>
                        <a:pt x="42" y="87"/>
                      </a:lnTo>
                      <a:lnTo>
                        <a:pt x="51" y="80"/>
                      </a:lnTo>
                      <a:lnTo>
                        <a:pt x="52" y="89"/>
                      </a:lnTo>
                      <a:lnTo>
                        <a:pt x="42" y="96"/>
                      </a:lnTo>
                      <a:lnTo>
                        <a:pt x="0" y="6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1EA6B3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19" name="Freeform 100"/>
                <p:cNvSpPr>
                  <a:spLocks/>
                </p:cNvSpPr>
                <p:nvPr/>
              </p:nvSpPr>
              <p:spPr bwMode="auto">
                <a:xfrm>
                  <a:off x="5197476" y="3957638"/>
                  <a:ext cx="111125" cy="127000"/>
                </a:xfrm>
                <a:custGeom>
                  <a:avLst/>
                  <a:gdLst>
                    <a:gd name="T0" fmla="*/ 0 w 70"/>
                    <a:gd name="T1" fmla="*/ 0 h 80"/>
                    <a:gd name="T2" fmla="*/ 70 w 70"/>
                    <a:gd name="T3" fmla="*/ 0 h 80"/>
                    <a:gd name="T4" fmla="*/ 70 w 70"/>
                    <a:gd name="T5" fmla="*/ 53 h 80"/>
                    <a:gd name="T6" fmla="*/ 35 w 70"/>
                    <a:gd name="T7" fmla="*/ 80 h 80"/>
                    <a:gd name="T8" fmla="*/ 0 w 70"/>
                    <a:gd name="T9" fmla="*/ 53 h 80"/>
                    <a:gd name="T10" fmla="*/ 0 w 70"/>
                    <a:gd name="T11" fmla="*/ 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0" h="80">
                      <a:moveTo>
                        <a:pt x="0" y="0"/>
                      </a:moveTo>
                      <a:lnTo>
                        <a:pt x="70" y="0"/>
                      </a:lnTo>
                      <a:lnTo>
                        <a:pt x="70" y="53"/>
                      </a:lnTo>
                      <a:lnTo>
                        <a:pt x="35" y="80"/>
                      </a:lnTo>
                      <a:lnTo>
                        <a:pt x="0" y="5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51BFB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20" name="Freeform 101"/>
                <p:cNvSpPr>
                  <a:spLocks noEditPoints="1"/>
                </p:cNvSpPr>
                <p:nvPr/>
              </p:nvSpPr>
              <p:spPr bwMode="auto">
                <a:xfrm>
                  <a:off x="5335588" y="3783013"/>
                  <a:ext cx="9525" cy="219075"/>
                </a:xfrm>
                <a:custGeom>
                  <a:avLst/>
                  <a:gdLst>
                    <a:gd name="T0" fmla="*/ 0 w 6"/>
                    <a:gd name="T1" fmla="*/ 119 h 138"/>
                    <a:gd name="T2" fmla="*/ 6 w 6"/>
                    <a:gd name="T3" fmla="*/ 131 h 138"/>
                    <a:gd name="T4" fmla="*/ 6 w 6"/>
                    <a:gd name="T5" fmla="*/ 138 h 138"/>
                    <a:gd name="T6" fmla="*/ 0 w 6"/>
                    <a:gd name="T7" fmla="*/ 138 h 138"/>
                    <a:gd name="T8" fmla="*/ 0 w 6"/>
                    <a:gd name="T9" fmla="*/ 119 h 138"/>
                    <a:gd name="T10" fmla="*/ 0 w 6"/>
                    <a:gd name="T11" fmla="*/ 0 h 138"/>
                    <a:gd name="T12" fmla="*/ 6 w 6"/>
                    <a:gd name="T13" fmla="*/ 3 h 138"/>
                    <a:gd name="T14" fmla="*/ 6 w 6"/>
                    <a:gd name="T15" fmla="*/ 33 h 138"/>
                    <a:gd name="T16" fmla="*/ 0 w 6"/>
                    <a:gd name="T17" fmla="*/ 38 h 138"/>
                    <a:gd name="T18" fmla="*/ 0 w 6"/>
                    <a:gd name="T19" fmla="*/ 0 h 1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" h="138">
                      <a:moveTo>
                        <a:pt x="0" y="119"/>
                      </a:moveTo>
                      <a:lnTo>
                        <a:pt x="6" y="131"/>
                      </a:lnTo>
                      <a:lnTo>
                        <a:pt x="6" y="138"/>
                      </a:lnTo>
                      <a:lnTo>
                        <a:pt x="0" y="138"/>
                      </a:lnTo>
                      <a:lnTo>
                        <a:pt x="0" y="119"/>
                      </a:lnTo>
                      <a:close/>
                      <a:moveTo>
                        <a:pt x="0" y="0"/>
                      </a:moveTo>
                      <a:lnTo>
                        <a:pt x="6" y="3"/>
                      </a:lnTo>
                      <a:lnTo>
                        <a:pt x="6" y="33"/>
                      </a:lnTo>
                      <a:lnTo>
                        <a:pt x="0" y="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1EA6B3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21" name="Freeform 102"/>
                <p:cNvSpPr>
                  <a:spLocks/>
                </p:cNvSpPr>
                <p:nvPr/>
              </p:nvSpPr>
              <p:spPr bwMode="auto">
                <a:xfrm>
                  <a:off x="5303838" y="3713163"/>
                  <a:ext cx="1588" cy="3175"/>
                </a:xfrm>
                <a:custGeom>
                  <a:avLst/>
                  <a:gdLst>
                    <a:gd name="T0" fmla="*/ 0 w 1"/>
                    <a:gd name="T1" fmla="*/ 0 h 2"/>
                    <a:gd name="T2" fmla="*/ 1 w 1"/>
                    <a:gd name="T3" fmla="*/ 2 h 2"/>
                    <a:gd name="T4" fmla="*/ 0 w 1"/>
                    <a:gd name="T5" fmla="*/ 0 h 2"/>
                    <a:gd name="T6" fmla="*/ 0 w 1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2">
                      <a:moveTo>
                        <a:pt x="0" y="0"/>
                      </a:move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3040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22" name="Freeform 103"/>
                <p:cNvSpPr>
                  <a:spLocks/>
                </p:cNvSpPr>
                <p:nvPr/>
              </p:nvSpPr>
              <p:spPr bwMode="auto">
                <a:xfrm>
                  <a:off x="5303838" y="3713163"/>
                  <a:ext cx="1588" cy="3175"/>
                </a:xfrm>
                <a:custGeom>
                  <a:avLst/>
                  <a:gdLst>
                    <a:gd name="T0" fmla="*/ 0 w 1"/>
                    <a:gd name="T1" fmla="*/ 0 h 2"/>
                    <a:gd name="T2" fmla="*/ 1 w 1"/>
                    <a:gd name="T3" fmla="*/ 2 h 2"/>
                    <a:gd name="T4" fmla="*/ 1 w 1"/>
                    <a:gd name="T5" fmla="*/ 2 h 2"/>
                    <a:gd name="T6" fmla="*/ 0 w 1"/>
                    <a:gd name="T7" fmla="*/ 0 h 2"/>
                    <a:gd name="T8" fmla="*/ 0 w 1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" h="2">
                      <a:moveTo>
                        <a:pt x="0" y="0"/>
                      </a:move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1EA6B3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23" name="Freeform 104"/>
                <p:cNvSpPr>
                  <a:spLocks/>
                </p:cNvSpPr>
                <p:nvPr/>
              </p:nvSpPr>
              <p:spPr bwMode="auto">
                <a:xfrm>
                  <a:off x="5335588" y="3835400"/>
                  <a:ext cx="9525" cy="155575"/>
                </a:xfrm>
                <a:custGeom>
                  <a:avLst/>
                  <a:gdLst>
                    <a:gd name="T0" fmla="*/ 6 w 6"/>
                    <a:gd name="T1" fmla="*/ 0 h 98"/>
                    <a:gd name="T2" fmla="*/ 6 w 6"/>
                    <a:gd name="T3" fmla="*/ 98 h 98"/>
                    <a:gd name="T4" fmla="*/ 0 w 6"/>
                    <a:gd name="T5" fmla="*/ 86 h 98"/>
                    <a:gd name="T6" fmla="*/ 0 w 6"/>
                    <a:gd name="T7" fmla="*/ 5 h 98"/>
                    <a:gd name="T8" fmla="*/ 6 w 6"/>
                    <a:gd name="T9" fmla="*/ 0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98">
                      <a:moveTo>
                        <a:pt x="6" y="0"/>
                      </a:moveTo>
                      <a:lnTo>
                        <a:pt x="6" y="98"/>
                      </a:lnTo>
                      <a:lnTo>
                        <a:pt x="0" y="86"/>
                      </a:lnTo>
                      <a:lnTo>
                        <a:pt x="0" y="5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rgbClr val="1EA6B3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24" name="Freeform 105"/>
                <p:cNvSpPr>
                  <a:spLocks/>
                </p:cNvSpPr>
                <p:nvPr/>
              </p:nvSpPr>
              <p:spPr bwMode="auto">
                <a:xfrm>
                  <a:off x="5294313" y="3708400"/>
                  <a:ext cx="41275" cy="515938"/>
                </a:xfrm>
                <a:custGeom>
                  <a:avLst/>
                  <a:gdLst>
                    <a:gd name="T0" fmla="*/ 0 w 26"/>
                    <a:gd name="T1" fmla="*/ 0 h 325"/>
                    <a:gd name="T2" fmla="*/ 26 w 26"/>
                    <a:gd name="T3" fmla="*/ 19 h 325"/>
                    <a:gd name="T4" fmla="*/ 26 w 26"/>
                    <a:gd name="T5" fmla="*/ 325 h 325"/>
                    <a:gd name="T6" fmla="*/ 0 w 26"/>
                    <a:gd name="T7" fmla="*/ 325 h 325"/>
                    <a:gd name="T8" fmla="*/ 0 w 26"/>
                    <a:gd name="T9" fmla="*/ 0 h 3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6" h="325">
                      <a:moveTo>
                        <a:pt x="0" y="0"/>
                      </a:moveTo>
                      <a:lnTo>
                        <a:pt x="26" y="19"/>
                      </a:lnTo>
                      <a:lnTo>
                        <a:pt x="26" y="325"/>
                      </a:lnTo>
                      <a:lnTo>
                        <a:pt x="0" y="3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05D3A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25" name="Freeform 106"/>
                <p:cNvSpPr>
                  <a:spLocks/>
                </p:cNvSpPr>
                <p:nvPr/>
              </p:nvSpPr>
              <p:spPr bwMode="auto">
                <a:xfrm>
                  <a:off x="5453063" y="3822700"/>
                  <a:ext cx="12700" cy="15875"/>
                </a:xfrm>
                <a:custGeom>
                  <a:avLst/>
                  <a:gdLst>
                    <a:gd name="T0" fmla="*/ 0 w 8"/>
                    <a:gd name="T1" fmla="*/ 0 h 10"/>
                    <a:gd name="T2" fmla="*/ 2 w 8"/>
                    <a:gd name="T3" fmla="*/ 3 h 10"/>
                    <a:gd name="T4" fmla="*/ 5 w 8"/>
                    <a:gd name="T5" fmla="*/ 6 h 10"/>
                    <a:gd name="T6" fmla="*/ 8 w 8"/>
                    <a:gd name="T7" fmla="*/ 10 h 10"/>
                    <a:gd name="T8" fmla="*/ 5 w 8"/>
                    <a:gd name="T9" fmla="*/ 6 h 10"/>
                    <a:gd name="T10" fmla="*/ 2 w 8"/>
                    <a:gd name="T11" fmla="*/ 3 h 10"/>
                    <a:gd name="T12" fmla="*/ 0 w 8"/>
                    <a:gd name="T13" fmla="*/ 1 h 10"/>
                    <a:gd name="T14" fmla="*/ 0 w 8"/>
                    <a:gd name="T15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" h="10">
                      <a:moveTo>
                        <a:pt x="0" y="0"/>
                      </a:moveTo>
                      <a:lnTo>
                        <a:pt x="2" y="3"/>
                      </a:lnTo>
                      <a:lnTo>
                        <a:pt x="5" y="6"/>
                      </a:lnTo>
                      <a:lnTo>
                        <a:pt x="8" y="10"/>
                      </a:lnTo>
                      <a:lnTo>
                        <a:pt x="5" y="6"/>
                      </a:lnTo>
                      <a:lnTo>
                        <a:pt x="2" y="3"/>
                      </a:lnTo>
                      <a:lnTo>
                        <a:pt x="0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3040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26" name="Rectangle 107"/>
                <p:cNvSpPr>
                  <a:spLocks noChangeArrowheads="1"/>
                </p:cNvSpPr>
                <p:nvPr/>
              </p:nvSpPr>
              <p:spPr bwMode="auto">
                <a:xfrm>
                  <a:off x="5451476" y="3822700"/>
                  <a:ext cx="1588" cy="1588"/>
                </a:xfrm>
                <a:prstGeom prst="rect">
                  <a:avLst/>
                </a:prstGeom>
                <a:solidFill>
                  <a:srgbClr val="030404"/>
                </a:soli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27" name="Freeform 108"/>
                <p:cNvSpPr>
                  <a:spLocks noEditPoints="1"/>
                </p:cNvSpPr>
                <p:nvPr/>
              </p:nvSpPr>
              <p:spPr bwMode="auto">
                <a:xfrm>
                  <a:off x="5203826" y="3656013"/>
                  <a:ext cx="247650" cy="166688"/>
                </a:xfrm>
                <a:custGeom>
                  <a:avLst/>
                  <a:gdLst>
                    <a:gd name="T0" fmla="*/ 64 w 156"/>
                    <a:gd name="T1" fmla="*/ 38 h 105"/>
                    <a:gd name="T2" fmla="*/ 92 w 156"/>
                    <a:gd name="T3" fmla="*/ 55 h 105"/>
                    <a:gd name="T4" fmla="*/ 117 w 156"/>
                    <a:gd name="T5" fmla="*/ 73 h 105"/>
                    <a:gd name="T6" fmla="*/ 138 w 156"/>
                    <a:gd name="T7" fmla="*/ 89 h 105"/>
                    <a:gd name="T8" fmla="*/ 156 w 156"/>
                    <a:gd name="T9" fmla="*/ 105 h 105"/>
                    <a:gd name="T10" fmla="*/ 156 w 156"/>
                    <a:gd name="T11" fmla="*/ 105 h 105"/>
                    <a:gd name="T12" fmla="*/ 144 w 156"/>
                    <a:gd name="T13" fmla="*/ 99 h 105"/>
                    <a:gd name="T14" fmla="*/ 131 w 156"/>
                    <a:gd name="T15" fmla="*/ 97 h 105"/>
                    <a:gd name="T16" fmla="*/ 124 w 156"/>
                    <a:gd name="T17" fmla="*/ 97 h 105"/>
                    <a:gd name="T18" fmla="*/ 115 w 156"/>
                    <a:gd name="T19" fmla="*/ 99 h 105"/>
                    <a:gd name="T20" fmla="*/ 89 w 156"/>
                    <a:gd name="T21" fmla="*/ 83 h 105"/>
                    <a:gd name="T22" fmla="*/ 89 w 156"/>
                    <a:gd name="T23" fmla="*/ 54 h 105"/>
                    <a:gd name="T24" fmla="*/ 64 w 156"/>
                    <a:gd name="T25" fmla="*/ 38 h 105"/>
                    <a:gd name="T26" fmla="*/ 9 w 156"/>
                    <a:gd name="T27" fmla="*/ 0 h 105"/>
                    <a:gd name="T28" fmla="*/ 34 w 156"/>
                    <a:gd name="T29" fmla="*/ 18 h 105"/>
                    <a:gd name="T30" fmla="*/ 63 w 156"/>
                    <a:gd name="T31" fmla="*/ 36 h 105"/>
                    <a:gd name="T32" fmla="*/ 63 w 156"/>
                    <a:gd name="T33" fmla="*/ 38 h 105"/>
                    <a:gd name="T34" fmla="*/ 57 w 156"/>
                    <a:gd name="T35" fmla="*/ 33 h 105"/>
                    <a:gd name="T36" fmla="*/ 57 w 156"/>
                    <a:gd name="T37" fmla="*/ 65 h 105"/>
                    <a:gd name="T38" fmla="*/ 35 w 156"/>
                    <a:gd name="T39" fmla="*/ 55 h 105"/>
                    <a:gd name="T40" fmla="*/ 16 w 156"/>
                    <a:gd name="T41" fmla="*/ 45 h 105"/>
                    <a:gd name="T42" fmla="*/ 2 w 156"/>
                    <a:gd name="T43" fmla="*/ 38 h 105"/>
                    <a:gd name="T44" fmla="*/ 12 w 156"/>
                    <a:gd name="T45" fmla="*/ 7 h 105"/>
                    <a:gd name="T46" fmla="*/ 0 w 156"/>
                    <a:gd name="T47" fmla="*/ 13 h 105"/>
                    <a:gd name="T48" fmla="*/ 2 w 156"/>
                    <a:gd name="T49" fmla="*/ 9 h 105"/>
                    <a:gd name="T50" fmla="*/ 5 w 156"/>
                    <a:gd name="T51" fmla="*/ 4 h 105"/>
                    <a:gd name="T52" fmla="*/ 9 w 156"/>
                    <a:gd name="T53" fmla="*/ 2 h 105"/>
                    <a:gd name="T54" fmla="*/ 9 w 156"/>
                    <a:gd name="T55" fmla="*/ 0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156" h="105">
                      <a:moveTo>
                        <a:pt x="64" y="38"/>
                      </a:moveTo>
                      <a:lnTo>
                        <a:pt x="92" y="55"/>
                      </a:lnTo>
                      <a:lnTo>
                        <a:pt x="117" y="73"/>
                      </a:lnTo>
                      <a:lnTo>
                        <a:pt x="138" y="89"/>
                      </a:lnTo>
                      <a:lnTo>
                        <a:pt x="156" y="105"/>
                      </a:lnTo>
                      <a:lnTo>
                        <a:pt x="156" y="105"/>
                      </a:lnTo>
                      <a:lnTo>
                        <a:pt x="144" y="99"/>
                      </a:lnTo>
                      <a:lnTo>
                        <a:pt x="131" y="97"/>
                      </a:lnTo>
                      <a:lnTo>
                        <a:pt x="124" y="97"/>
                      </a:lnTo>
                      <a:lnTo>
                        <a:pt x="115" y="99"/>
                      </a:lnTo>
                      <a:lnTo>
                        <a:pt x="89" y="83"/>
                      </a:lnTo>
                      <a:lnTo>
                        <a:pt x="89" y="54"/>
                      </a:lnTo>
                      <a:lnTo>
                        <a:pt x="64" y="38"/>
                      </a:lnTo>
                      <a:close/>
                      <a:moveTo>
                        <a:pt x="9" y="0"/>
                      </a:moveTo>
                      <a:lnTo>
                        <a:pt x="34" y="18"/>
                      </a:lnTo>
                      <a:lnTo>
                        <a:pt x="63" y="36"/>
                      </a:lnTo>
                      <a:lnTo>
                        <a:pt x="63" y="38"/>
                      </a:lnTo>
                      <a:lnTo>
                        <a:pt x="57" y="33"/>
                      </a:lnTo>
                      <a:lnTo>
                        <a:pt x="57" y="65"/>
                      </a:lnTo>
                      <a:lnTo>
                        <a:pt x="35" y="55"/>
                      </a:lnTo>
                      <a:lnTo>
                        <a:pt x="16" y="45"/>
                      </a:lnTo>
                      <a:lnTo>
                        <a:pt x="2" y="38"/>
                      </a:lnTo>
                      <a:lnTo>
                        <a:pt x="12" y="7"/>
                      </a:lnTo>
                      <a:lnTo>
                        <a:pt x="0" y="13"/>
                      </a:lnTo>
                      <a:lnTo>
                        <a:pt x="2" y="9"/>
                      </a:lnTo>
                      <a:lnTo>
                        <a:pt x="5" y="4"/>
                      </a:lnTo>
                      <a:lnTo>
                        <a:pt x="9" y="2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solidFill>
                  <a:srgbClr val="1EA6B3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28" name="Freeform 109"/>
                <p:cNvSpPr>
                  <a:spLocks/>
                </p:cNvSpPr>
                <p:nvPr/>
              </p:nvSpPr>
              <p:spPr bwMode="auto">
                <a:xfrm>
                  <a:off x="5386388" y="3810000"/>
                  <a:ext cx="152400" cy="314325"/>
                </a:xfrm>
                <a:custGeom>
                  <a:avLst/>
                  <a:gdLst>
                    <a:gd name="T0" fmla="*/ 16 w 96"/>
                    <a:gd name="T1" fmla="*/ 0 h 198"/>
                    <a:gd name="T2" fmla="*/ 29 w 96"/>
                    <a:gd name="T3" fmla="*/ 2 h 198"/>
                    <a:gd name="T4" fmla="*/ 41 w 96"/>
                    <a:gd name="T5" fmla="*/ 8 h 198"/>
                    <a:gd name="T6" fmla="*/ 41 w 96"/>
                    <a:gd name="T7" fmla="*/ 8 h 198"/>
                    <a:gd name="T8" fmla="*/ 42 w 96"/>
                    <a:gd name="T9" fmla="*/ 8 h 198"/>
                    <a:gd name="T10" fmla="*/ 42 w 96"/>
                    <a:gd name="T11" fmla="*/ 9 h 198"/>
                    <a:gd name="T12" fmla="*/ 44 w 96"/>
                    <a:gd name="T13" fmla="*/ 11 h 198"/>
                    <a:gd name="T14" fmla="*/ 47 w 96"/>
                    <a:gd name="T15" fmla="*/ 14 h 198"/>
                    <a:gd name="T16" fmla="*/ 50 w 96"/>
                    <a:gd name="T17" fmla="*/ 18 h 198"/>
                    <a:gd name="T18" fmla="*/ 54 w 96"/>
                    <a:gd name="T19" fmla="*/ 24 h 198"/>
                    <a:gd name="T20" fmla="*/ 53 w 96"/>
                    <a:gd name="T21" fmla="*/ 28 h 198"/>
                    <a:gd name="T22" fmla="*/ 51 w 96"/>
                    <a:gd name="T23" fmla="*/ 32 h 198"/>
                    <a:gd name="T24" fmla="*/ 53 w 96"/>
                    <a:gd name="T25" fmla="*/ 38 h 198"/>
                    <a:gd name="T26" fmla="*/ 96 w 96"/>
                    <a:gd name="T27" fmla="*/ 198 h 198"/>
                    <a:gd name="T28" fmla="*/ 66 w 96"/>
                    <a:gd name="T29" fmla="*/ 187 h 198"/>
                    <a:gd name="T30" fmla="*/ 67 w 96"/>
                    <a:gd name="T31" fmla="*/ 184 h 198"/>
                    <a:gd name="T32" fmla="*/ 69 w 96"/>
                    <a:gd name="T33" fmla="*/ 182 h 198"/>
                    <a:gd name="T34" fmla="*/ 70 w 96"/>
                    <a:gd name="T35" fmla="*/ 178 h 198"/>
                    <a:gd name="T36" fmla="*/ 70 w 96"/>
                    <a:gd name="T37" fmla="*/ 173 h 198"/>
                    <a:gd name="T38" fmla="*/ 69 w 96"/>
                    <a:gd name="T39" fmla="*/ 171 h 198"/>
                    <a:gd name="T40" fmla="*/ 67 w 96"/>
                    <a:gd name="T41" fmla="*/ 168 h 198"/>
                    <a:gd name="T42" fmla="*/ 64 w 96"/>
                    <a:gd name="T43" fmla="*/ 166 h 198"/>
                    <a:gd name="T44" fmla="*/ 61 w 96"/>
                    <a:gd name="T45" fmla="*/ 163 h 198"/>
                    <a:gd name="T46" fmla="*/ 58 w 96"/>
                    <a:gd name="T47" fmla="*/ 134 h 198"/>
                    <a:gd name="T48" fmla="*/ 55 w 96"/>
                    <a:gd name="T49" fmla="*/ 104 h 198"/>
                    <a:gd name="T50" fmla="*/ 50 w 96"/>
                    <a:gd name="T51" fmla="*/ 75 h 198"/>
                    <a:gd name="T52" fmla="*/ 44 w 96"/>
                    <a:gd name="T53" fmla="*/ 50 h 198"/>
                    <a:gd name="T54" fmla="*/ 34 w 96"/>
                    <a:gd name="T55" fmla="*/ 30 h 198"/>
                    <a:gd name="T56" fmla="*/ 26 w 96"/>
                    <a:gd name="T57" fmla="*/ 22 h 198"/>
                    <a:gd name="T58" fmla="*/ 15 w 96"/>
                    <a:gd name="T59" fmla="*/ 12 h 198"/>
                    <a:gd name="T60" fmla="*/ 0 w 96"/>
                    <a:gd name="T61" fmla="*/ 2 h 198"/>
                    <a:gd name="T62" fmla="*/ 9 w 96"/>
                    <a:gd name="T63" fmla="*/ 0 h 198"/>
                    <a:gd name="T64" fmla="*/ 16 w 96"/>
                    <a:gd name="T65" fmla="*/ 0 h 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96" h="198">
                      <a:moveTo>
                        <a:pt x="16" y="0"/>
                      </a:moveTo>
                      <a:lnTo>
                        <a:pt x="29" y="2"/>
                      </a:lnTo>
                      <a:lnTo>
                        <a:pt x="41" y="8"/>
                      </a:lnTo>
                      <a:lnTo>
                        <a:pt x="41" y="8"/>
                      </a:lnTo>
                      <a:lnTo>
                        <a:pt x="42" y="8"/>
                      </a:lnTo>
                      <a:lnTo>
                        <a:pt x="42" y="9"/>
                      </a:lnTo>
                      <a:lnTo>
                        <a:pt x="44" y="11"/>
                      </a:lnTo>
                      <a:lnTo>
                        <a:pt x="47" y="14"/>
                      </a:lnTo>
                      <a:lnTo>
                        <a:pt x="50" y="18"/>
                      </a:lnTo>
                      <a:lnTo>
                        <a:pt x="54" y="24"/>
                      </a:lnTo>
                      <a:lnTo>
                        <a:pt x="53" y="28"/>
                      </a:lnTo>
                      <a:lnTo>
                        <a:pt x="51" y="32"/>
                      </a:lnTo>
                      <a:lnTo>
                        <a:pt x="53" y="38"/>
                      </a:lnTo>
                      <a:lnTo>
                        <a:pt x="96" y="198"/>
                      </a:lnTo>
                      <a:lnTo>
                        <a:pt x="66" y="187"/>
                      </a:lnTo>
                      <a:lnTo>
                        <a:pt x="67" y="184"/>
                      </a:lnTo>
                      <a:lnTo>
                        <a:pt x="69" y="182"/>
                      </a:lnTo>
                      <a:lnTo>
                        <a:pt x="70" y="178"/>
                      </a:lnTo>
                      <a:lnTo>
                        <a:pt x="70" y="173"/>
                      </a:lnTo>
                      <a:lnTo>
                        <a:pt x="69" y="171"/>
                      </a:lnTo>
                      <a:lnTo>
                        <a:pt x="67" y="168"/>
                      </a:lnTo>
                      <a:lnTo>
                        <a:pt x="64" y="166"/>
                      </a:lnTo>
                      <a:lnTo>
                        <a:pt x="61" y="163"/>
                      </a:lnTo>
                      <a:lnTo>
                        <a:pt x="58" y="134"/>
                      </a:lnTo>
                      <a:lnTo>
                        <a:pt x="55" y="104"/>
                      </a:lnTo>
                      <a:lnTo>
                        <a:pt x="50" y="75"/>
                      </a:lnTo>
                      <a:lnTo>
                        <a:pt x="44" y="50"/>
                      </a:lnTo>
                      <a:lnTo>
                        <a:pt x="34" y="30"/>
                      </a:lnTo>
                      <a:lnTo>
                        <a:pt x="26" y="22"/>
                      </a:lnTo>
                      <a:lnTo>
                        <a:pt x="15" y="12"/>
                      </a:lnTo>
                      <a:lnTo>
                        <a:pt x="0" y="2"/>
                      </a:lnTo>
                      <a:lnTo>
                        <a:pt x="9" y="0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solidFill>
                  <a:srgbClr val="1EA6B3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29" name="Freeform 110"/>
                <p:cNvSpPr>
                  <a:spLocks/>
                </p:cNvSpPr>
                <p:nvPr/>
              </p:nvSpPr>
              <p:spPr bwMode="auto">
                <a:xfrm>
                  <a:off x="5303838" y="3713163"/>
                  <a:ext cx="41275" cy="74613"/>
                </a:xfrm>
                <a:custGeom>
                  <a:avLst/>
                  <a:gdLst>
                    <a:gd name="T0" fmla="*/ 0 w 26"/>
                    <a:gd name="T1" fmla="*/ 0 h 47"/>
                    <a:gd name="T2" fmla="*/ 1 w 26"/>
                    <a:gd name="T3" fmla="*/ 2 h 47"/>
                    <a:gd name="T4" fmla="*/ 26 w 26"/>
                    <a:gd name="T5" fmla="*/ 18 h 47"/>
                    <a:gd name="T6" fmla="*/ 26 w 26"/>
                    <a:gd name="T7" fmla="*/ 47 h 47"/>
                    <a:gd name="T8" fmla="*/ 20 w 26"/>
                    <a:gd name="T9" fmla="*/ 44 h 47"/>
                    <a:gd name="T10" fmla="*/ 20 w 26"/>
                    <a:gd name="T11" fmla="*/ 16 h 47"/>
                    <a:gd name="T12" fmla="*/ 0 w 26"/>
                    <a:gd name="T13" fmla="*/ 2 h 47"/>
                    <a:gd name="T14" fmla="*/ 0 w 26"/>
                    <a:gd name="T15" fmla="*/ 0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6" h="47">
                      <a:moveTo>
                        <a:pt x="0" y="0"/>
                      </a:moveTo>
                      <a:lnTo>
                        <a:pt x="1" y="2"/>
                      </a:lnTo>
                      <a:lnTo>
                        <a:pt x="26" y="18"/>
                      </a:lnTo>
                      <a:lnTo>
                        <a:pt x="26" y="47"/>
                      </a:lnTo>
                      <a:lnTo>
                        <a:pt x="20" y="44"/>
                      </a:lnTo>
                      <a:lnTo>
                        <a:pt x="20" y="16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B90B2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30" name="Freeform 111"/>
                <p:cNvSpPr>
                  <a:spLocks/>
                </p:cNvSpPr>
                <p:nvPr/>
              </p:nvSpPr>
              <p:spPr bwMode="auto">
                <a:xfrm>
                  <a:off x="5294313" y="3708400"/>
                  <a:ext cx="41275" cy="74613"/>
                </a:xfrm>
                <a:custGeom>
                  <a:avLst/>
                  <a:gdLst>
                    <a:gd name="T0" fmla="*/ 0 w 26"/>
                    <a:gd name="T1" fmla="*/ 0 h 47"/>
                    <a:gd name="T2" fmla="*/ 6 w 26"/>
                    <a:gd name="T3" fmla="*/ 5 h 47"/>
                    <a:gd name="T4" fmla="*/ 26 w 26"/>
                    <a:gd name="T5" fmla="*/ 19 h 47"/>
                    <a:gd name="T6" fmla="*/ 26 w 26"/>
                    <a:gd name="T7" fmla="*/ 47 h 47"/>
                    <a:gd name="T8" fmla="*/ 0 w 26"/>
                    <a:gd name="T9" fmla="*/ 32 h 47"/>
                    <a:gd name="T10" fmla="*/ 0 w 26"/>
                    <a:gd name="T11" fmla="*/ 0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6" h="47">
                      <a:moveTo>
                        <a:pt x="0" y="0"/>
                      </a:moveTo>
                      <a:lnTo>
                        <a:pt x="6" y="5"/>
                      </a:lnTo>
                      <a:lnTo>
                        <a:pt x="26" y="19"/>
                      </a:lnTo>
                      <a:lnTo>
                        <a:pt x="26" y="47"/>
                      </a:lnTo>
                      <a:lnTo>
                        <a:pt x="0" y="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2513A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31" name="Freeform 112"/>
                <p:cNvSpPr>
                  <a:spLocks/>
                </p:cNvSpPr>
                <p:nvPr/>
              </p:nvSpPr>
              <p:spPr bwMode="auto">
                <a:xfrm>
                  <a:off x="4725988" y="3827463"/>
                  <a:ext cx="203200" cy="368300"/>
                </a:xfrm>
                <a:custGeom>
                  <a:avLst/>
                  <a:gdLst>
                    <a:gd name="T0" fmla="*/ 64 w 128"/>
                    <a:gd name="T1" fmla="*/ 0 h 232"/>
                    <a:gd name="T2" fmla="*/ 80 w 128"/>
                    <a:gd name="T3" fmla="*/ 3 h 232"/>
                    <a:gd name="T4" fmla="*/ 95 w 128"/>
                    <a:gd name="T5" fmla="*/ 8 h 232"/>
                    <a:gd name="T6" fmla="*/ 109 w 128"/>
                    <a:gd name="T7" fmla="*/ 20 h 232"/>
                    <a:gd name="T8" fmla="*/ 119 w 128"/>
                    <a:gd name="T9" fmla="*/ 33 h 232"/>
                    <a:gd name="T10" fmla="*/ 127 w 128"/>
                    <a:gd name="T11" fmla="*/ 46 h 232"/>
                    <a:gd name="T12" fmla="*/ 128 w 128"/>
                    <a:gd name="T13" fmla="*/ 61 h 232"/>
                    <a:gd name="T14" fmla="*/ 124 w 128"/>
                    <a:gd name="T15" fmla="*/ 74 h 232"/>
                    <a:gd name="T16" fmla="*/ 50 w 128"/>
                    <a:gd name="T17" fmla="*/ 232 h 232"/>
                    <a:gd name="T18" fmla="*/ 42 w 128"/>
                    <a:gd name="T19" fmla="*/ 229 h 232"/>
                    <a:gd name="T20" fmla="*/ 25 w 128"/>
                    <a:gd name="T21" fmla="*/ 226 h 232"/>
                    <a:gd name="T22" fmla="*/ 9 w 128"/>
                    <a:gd name="T23" fmla="*/ 225 h 232"/>
                    <a:gd name="T24" fmla="*/ 2 w 128"/>
                    <a:gd name="T25" fmla="*/ 228 h 232"/>
                    <a:gd name="T26" fmla="*/ 0 w 128"/>
                    <a:gd name="T27" fmla="*/ 209 h 232"/>
                    <a:gd name="T28" fmla="*/ 2 w 128"/>
                    <a:gd name="T29" fmla="*/ 189 h 232"/>
                    <a:gd name="T30" fmla="*/ 3 w 128"/>
                    <a:gd name="T31" fmla="*/ 165 h 232"/>
                    <a:gd name="T32" fmla="*/ 6 w 128"/>
                    <a:gd name="T33" fmla="*/ 151 h 232"/>
                    <a:gd name="T34" fmla="*/ 10 w 128"/>
                    <a:gd name="T35" fmla="*/ 141 h 232"/>
                    <a:gd name="T36" fmla="*/ 13 w 128"/>
                    <a:gd name="T37" fmla="*/ 130 h 232"/>
                    <a:gd name="T38" fmla="*/ 15 w 128"/>
                    <a:gd name="T39" fmla="*/ 119 h 232"/>
                    <a:gd name="T40" fmla="*/ 13 w 128"/>
                    <a:gd name="T41" fmla="*/ 104 h 232"/>
                    <a:gd name="T42" fmla="*/ 16 w 128"/>
                    <a:gd name="T43" fmla="*/ 106 h 232"/>
                    <a:gd name="T44" fmla="*/ 19 w 128"/>
                    <a:gd name="T45" fmla="*/ 106 h 232"/>
                    <a:gd name="T46" fmla="*/ 21 w 128"/>
                    <a:gd name="T47" fmla="*/ 104 h 232"/>
                    <a:gd name="T48" fmla="*/ 23 w 128"/>
                    <a:gd name="T49" fmla="*/ 101 h 232"/>
                    <a:gd name="T50" fmla="*/ 23 w 128"/>
                    <a:gd name="T51" fmla="*/ 98 h 232"/>
                    <a:gd name="T52" fmla="*/ 25 w 128"/>
                    <a:gd name="T53" fmla="*/ 94 h 232"/>
                    <a:gd name="T54" fmla="*/ 25 w 128"/>
                    <a:gd name="T55" fmla="*/ 90 h 232"/>
                    <a:gd name="T56" fmla="*/ 25 w 128"/>
                    <a:gd name="T57" fmla="*/ 85 h 232"/>
                    <a:gd name="T58" fmla="*/ 25 w 128"/>
                    <a:gd name="T59" fmla="*/ 81 h 232"/>
                    <a:gd name="T60" fmla="*/ 25 w 128"/>
                    <a:gd name="T61" fmla="*/ 78 h 232"/>
                    <a:gd name="T62" fmla="*/ 23 w 128"/>
                    <a:gd name="T63" fmla="*/ 75 h 232"/>
                    <a:gd name="T64" fmla="*/ 21 w 128"/>
                    <a:gd name="T65" fmla="*/ 74 h 232"/>
                    <a:gd name="T66" fmla="*/ 19 w 128"/>
                    <a:gd name="T67" fmla="*/ 74 h 232"/>
                    <a:gd name="T68" fmla="*/ 22 w 128"/>
                    <a:gd name="T69" fmla="*/ 62 h 232"/>
                    <a:gd name="T70" fmla="*/ 22 w 128"/>
                    <a:gd name="T71" fmla="*/ 62 h 232"/>
                    <a:gd name="T72" fmla="*/ 22 w 128"/>
                    <a:gd name="T73" fmla="*/ 59 h 232"/>
                    <a:gd name="T74" fmla="*/ 22 w 128"/>
                    <a:gd name="T75" fmla="*/ 56 h 232"/>
                    <a:gd name="T76" fmla="*/ 22 w 128"/>
                    <a:gd name="T77" fmla="*/ 53 h 232"/>
                    <a:gd name="T78" fmla="*/ 22 w 128"/>
                    <a:gd name="T79" fmla="*/ 52 h 232"/>
                    <a:gd name="T80" fmla="*/ 29 w 128"/>
                    <a:gd name="T81" fmla="*/ 37 h 232"/>
                    <a:gd name="T82" fmla="*/ 35 w 128"/>
                    <a:gd name="T83" fmla="*/ 23 h 232"/>
                    <a:gd name="T84" fmla="*/ 38 w 128"/>
                    <a:gd name="T85" fmla="*/ 8 h 232"/>
                    <a:gd name="T86" fmla="*/ 50 w 128"/>
                    <a:gd name="T87" fmla="*/ 3 h 232"/>
                    <a:gd name="T88" fmla="*/ 64 w 128"/>
                    <a:gd name="T89" fmla="*/ 0 h 2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28" h="232">
                      <a:moveTo>
                        <a:pt x="64" y="0"/>
                      </a:moveTo>
                      <a:lnTo>
                        <a:pt x="80" y="3"/>
                      </a:lnTo>
                      <a:lnTo>
                        <a:pt x="95" y="8"/>
                      </a:lnTo>
                      <a:lnTo>
                        <a:pt x="109" y="20"/>
                      </a:lnTo>
                      <a:lnTo>
                        <a:pt x="119" y="33"/>
                      </a:lnTo>
                      <a:lnTo>
                        <a:pt x="127" y="46"/>
                      </a:lnTo>
                      <a:lnTo>
                        <a:pt x="128" y="61"/>
                      </a:lnTo>
                      <a:lnTo>
                        <a:pt x="124" y="74"/>
                      </a:lnTo>
                      <a:lnTo>
                        <a:pt x="50" y="232"/>
                      </a:lnTo>
                      <a:lnTo>
                        <a:pt x="42" y="229"/>
                      </a:lnTo>
                      <a:lnTo>
                        <a:pt x="25" y="226"/>
                      </a:lnTo>
                      <a:lnTo>
                        <a:pt x="9" y="225"/>
                      </a:lnTo>
                      <a:lnTo>
                        <a:pt x="2" y="228"/>
                      </a:lnTo>
                      <a:lnTo>
                        <a:pt x="0" y="209"/>
                      </a:lnTo>
                      <a:lnTo>
                        <a:pt x="2" y="189"/>
                      </a:lnTo>
                      <a:lnTo>
                        <a:pt x="3" y="165"/>
                      </a:lnTo>
                      <a:lnTo>
                        <a:pt x="6" y="151"/>
                      </a:lnTo>
                      <a:lnTo>
                        <a:pt x="10" y="141"/>
                      </a:lnTo>
                      <a:lnTo>
                        <a:pt x="13" y="130"/>
                      </a:lnTo>
                      <a:lnTo>
                        <a:pt x="15" y="119"/>
                      </a:lnTo>
                      <a:lnTo>
                        <a:pt x="13" y="104"/>
                      </a:lnTo>
                      <a:lnTo>
                        <a:pt x="16" y="106"/>
                      </a:lnTo>
                      <a:lnTo>
                        <a:pt x="19" y="106"/>
                      </a:lnTo>
                      <a:lnTo>
                        <a:pt x="21" y="104"/>
                      </a:lnTo>
                      <a:lnTo>
                        <a:pt x="23" y="101"/>
                      </a:lnTo>
                      <a:lnTo>
                        <a:pt x="23" y="98"/>
                      </a:lnTo>
                      <a:lnTo>
                        <a:pt x="25" y="94"/>
                      </a:lnTo>
                      <a:lnTo>
                        <a:pt x="25" y="90"/>
                      </a:lnTo>
                      <a:lnTo>
                        <a:pt x="25" y="85"/>
                      </a:lnTo>
                      <a:lnTo>
                        <a:pt x="25" y="81"/>
                      </a:lnTo>
                      <a:lnTo>
                        <a:pt x="25" y="78"/>
                      </a:lnTo>
                      <a:lnTo>
                        <a:pt x="23" y="75"/>
                      </a:lnTo>
                      <a:lnTo>
                        <a:pt x="21" y="74"/>
                      </a:lnTo>
                      <a:lnTo>
                        <a:pt x="19" y="74"/>
                      </a:lnTo>
                      <a:lnTo>
                        <a:pt x="22" y="62"/>
                      </a:lnTo>
                      <a:lnTo>
                        <a:pt x="22" y="62"/>
                      </a:lnTo>
                      <a:lnTo>
                        <a:pt x="22" y="59"/>
                      </a:lnTo>
                      <a:lnTo>
                        <a:pt x="22" y="56"/>
                      </a:lnTo>
                      <a:lnTo>
                        <a:pt x="22" y="53"/>
                      </a:lnTo>
                      <a:lnTo>
                        <a:pt x="22" y="52"/>
                      </a:lnTo>
                      <a:lnTo>
                        <a:pt x="29" y="37"/>
                      </a:lnTo>
                      <a:lnTo>
                        <a:pt x="35" y="23"/>
                      </a:lnTo>
                      <a:lnTo>
                        <a:pt x="38" y="8"/>
                      </a:lnTo>
                      <a:lnTo>
                        <a:pt x="50" y="3"/>
                      </a:lnTo>
                      <a:lnTo>
                        <a:pt x="64" y="0"/>
                      </a:lnTo>
                      <a:close/>
                    </a:path>
                  </a:pathLst>
                </a:custGeom>
                <a:solidFill>
                  <a:srgbClr val="FFEFD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32" name="Freeform 113"/>
                <p:cNvSpPr>
                  <a:spLocks/>
                </p:cNvSpPr>
                <p:nvPr/>
              </p:nvSpPr>
              <p:spPr bwMode="auto">
                <a:xfrm>
                  <a:off x="4724401" y="3659188"/>
                  <a:ext cx="325438" cy="527050"/>
                </a:xfrm>
                <a:custGeom>
                  <a:avLst/>
                  <a:gdLst>
                    <a:gd name="T0" fmla="*/ 199 w 205"/>
                    <a:gd name="T1" fmla="*/ 0 h 332"/>
                    <a:gd name="T2" fmla="*/ 205 w 205"/>
                    <a:gd name="T3" fmla="*/ 0 h 332"/>
                    <a:gd name="T4" fmla="*/ 205 w 205"/>
                    <a:gd name="T5" fmla="*/ 2 h 332"/>
                    <a:gd name="T6" fmla="*/ 205 w 205"/>
                    <a:gd name="T7" fmla="*/ 4 h 332"/>
                    <a:gd name="T8" fmla="*/ 202 w 205"/>
                    <a:gd name="T9" fmla="*/ 11 h 332"/>
                    <a:gd name="T10" fmla="*/ 202 w 205"/>
                    <a:gd name="T11" fmla="*/ 21 h 332"/>
                    <a:gd name="T12" fmla="*/ 203 w 205"/>
                    <a:gd name="T13" fmla="*/ 33 h 332"/>
                    <a:gd name="T14" fmla="*/ 205 w 205"/>
                    <a:gd name="T15" fmla="*/ 42 h 332"/>
                    <a:gd name="T16" fmla="*/ 200 w 205"/>
                    <a:gd name="T17" fmla="*/ 45 h 332"/>
                    <a:gd name="T18" fmla="*/ 189 w 205"/>
                    <a:gd name="T19" fmla="*/ 50 h 332"/>
                    <a:gd name="T20" fmla="*/ 173 w 205"/>
                    <a:gd name="T21" fmla="*/ 58 h 332"/>
                    <a:gd name="T22" fmla="*/ 154 w 205"/>
                    <a:gd name="T23" fmla="*/ 68 h 332"/>
                    <a:gd name="T24" fmla="*/ 132 w 205"/>
                    <a:gd name="T25" fmla="*/ 78 h 332"/>
                    <a:gd name="T26" fmla="*/ 110 w 205"/>
                    <a:gd name="T27" fmla="*/ 90 h 332"/>
                    <a:gd name="T28" fmla="*/ 90 w 205"/>
                    <a:gd name="T29" fmla="*/ 103 h 332"/>
                    <a:gd name="T30" fmla="*/ 71 w 205"/>
                    <a:gd name="T31" fmla="*/ 114 h 332"/>
                    <a:gd name="T32" fmla="*/ 56 w 205"/>
                    <a:gd name="T33" fmla="*/ 126 h 332"/>
                    <a:gd name="T34" fmla="*/ 46 w 205"/>
                    <a:gd name="T35" fmla="*/ 136 h 332"/>
                    <a:gd name="T36" fmla="*/ 38 w 205"/>
                    <a:gd name="T37" fmla="*/ 155 h 332"/>
                    <a:gd name="T38" fmla="*/ 30 w 205"/>
                    <a:gd name="T39" fmla="*/ 180 h 332"/>
                    <a:gd name="T40" fmla="*/ 26 w 205"/>
                    <a:gd name="T41" fmla="*/ 207 h 332"/>
                    <a:gd name="T42" fmla="*/ 22 w 205"/>
                    <a:gd name="T43" fmla="*/ 238 h 332"/>
                    <a:gd name="T44" fmla="*/ 20 w 205"/>
                    <a:gd name="T45" fmla="*/ 267 h 332"/>
                    <a:gd name="T46" fmla="*/ 19 w 205"/>
                    <a:gd name="T47" fmla="*/ 293 h 332"/>
                    <a:gd name="T48" fmla="*/ 17 w 205"/>
                    <a:gd name="T49" fmla="*/ 316 h 332"/>
                    <a:gd name="T50" fmla="*/ 17 w 205"/>
                    <a:gd name="T51" fmla="*/ 324 h 332"/>
                    <a:gd name="T52" fmla="*/ 19 w 205"/>
                    <a:gd name="T53" fmla="*/ 331 h 332"/>
                    <a:gd name="T54" fmla="*/ 10 w 205"/>
                    <a:gd name="T55" fmla="*/ 331 h 332"/>
                    <a:gd name="T56" fmla="*/ 6 w 205"/>
                    <a:gd name="T57" fmla="*/ 332 h 332"/>
                    <a:gd name="T58" fmla="*/ 4 w 205"/>
                    <a:gd name="T59" fmla="*/ 327 h 332"/>
                    <a:gd name="T60" fmla="*/ 4 w 205"/>
                    <a:gd name="T61" fmla="*/ 321 h 332"/>
                    <a:gd name="T62" fmla="*/ 3 w 205"/>
                    <a:gd name="T63" fmla="*/ 318 h 332"/>
                    <a:gd name="T64" fmla="*/ 1 w 205"/>
                    <a:gd name="T65" fmla="*/ 315 h 332"/>
                    <a:gd name="T66" fmla="*/ 0 w 205"/>
                    <a:gd name="T67" fmla="*/ 315 h 332"/>
                    <a:gd name="T68" fmla="*/ 22 w 205"/>
                    <a:gd name="T69" fmla="*/ 136 h 332"/>
                    <a:gd name="T70" fmla="*/ 27 w 205"/>
                    <a:gd name="T71" fmla="*/ 129 h 332"/>
                    <a:gd name="T72" fmla="*/ 33 w 205"/>
                    <a:gd name="T73" fmla="*/ 119 h 332"/>
                    <a:gd name="T74" fmla="*/ 39 w 205"/>
                    <a:gd name="T75" fmla="*/ 113 h 332"/>
                    <a:gd name="T76" fmla="*/ 56 w 205"/>
                    <a:gd name="T77" fmla="*/ 97 h 332"/>
                    <a:gd name="T78" fmla="*/ 80 w 205"/>
                    <a:gd name="T79" fmla="*/ 81 h 332"/>
                    <a:gd name="T80" fmla="*/ 106 w 205"/>
                    <a:gd name="T81" fmla="*/ 63 h 332"/>
                    <a:gd name="T82" fmla="*/ 132 w 205"/>
                    <a:gd name="T83" fmla="*/ 46 h 332"/>
                    <a:gd name="T84" fmla="*/ 158 w 205"/>
                    <a:gd name="T85" fmla="*/ 29 h 332"/>
                    <a:gd name="T86" fmla="*/ 182 w 205"/>
                    <a:gd name="T87" fmla="*/ 14 h 332"/>
                    <a:gd name="T88" fmla="*/ 199 w 205"/>
                    <a:gd name="T89" fmla="*/ 0 h 3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205" h="332">
                      <a:moveTo>
                        <a:pt x="199" y="0"/>
                      </a:moveTo>
                      <a:lnTo>
                        <a:pt x="205" y="0"/>
                      </a:lnTo>
                      <a:lnTo>
                        <a:pt x="205" y="2"/>
                      </a:lnTo>
                      <a:lnTo>
                        <a:pt x="205" y="4"/>
                      </a:lnTo>
                      <a:lnTo>
                        <a:pt x="202" y="11"/>
                      </a:lnTo>
                      <a:lnTo>
                        <a:pt x="202" y="21"/>
                      </a:lnTo>
                      <a:lnTo>
                        <a:pt x="203" y="33"/>
                      </a:lnTo>
                      <a:lnTo>
                        <a:pt x="205" y="42"/>
                      </a:lnTo>
                      <a:lnTo>
                        <a:pt x="200" y="45"/>
                      </a:lnTo>
                      <a:lnTo>
                        <a:pt x="189" y="50"/>
                      </a:lnTo>
                      <a:lnTo>
                        <a:pt x="173" y="58"/>
                      </a:lnTo>
                      <a:lnTo>
                        <a:pt x="154" y="68"/>
                      </a:lnTo>
                      <a:lnTo>
                        <a:pt x="132" y="78"/>
                      </a:lnTo>
                      <a:lnTo>
                        <a:pt x="110" y="90"/>
                      </a:lnTo>
                      <a:lnTo>
                        <a:pt x="90" y="103"/>
                      </a:lnTo>
                      <a:lnTo>
                        <a:pt x="71" y="114"/>
                      </a:lnTo>
                      <a:lnTo>
                        <a:pt x="56" y="126"/>
                      </a:lnTo>
                      <a:lnTo>
                        <a:pt x="46" y="136"/>
                      </a:lnTo>
                      <a:lnTo>
                        <a:pt x="38" y="155"/>
                      </a:lnTo>
                      <a:lnTo>
                        <a:pt x="30" y="180"/>
                      </a:lnTo>
                      <a:lnTo>
                        <a:pt x="26" y="207"/>
                      </a:lnTo>
                      <a:lnTo>
                        <a:pt x="22" y="238"/>
                      </a:lnTo>
                      <a:lnTo>
                        <a:pt x="20" y="267"/>
                      </a:lnTo>
                      <a:lnTo>
                        <a:pt x="19" y="293"/>
                      </a:lnTo>
                      <a:lnTo>
                        <a:pt x="17" y="316"/>
                      </a:lnTo>
                      <a:lnTo>
                        <a:pt x="17" y="324"/>
                      </a:lnTo>
                      <a:lnTo>
                        <a:pt x="19" y="331"/>
                      </a:lnTo>
                      <a:lnTo>
                        <a:pt x="10" y="331"/>
                      </a:lnTo>
                      <a:lnTo>
                        <a:pt x="6" y="332"/>
                      </a:lnTo>
                      <a:lnTo>
                        <a:pt x="4" y="327"/>
                      </a:lnTo>
                      <a:lnTo>
                        <a:pt x="4" y="321"/>
                      </a:lnTo>
                      <a:lnTo>
                        <a:pt x="3" y="318"/>
                      </a:lnTo>
                      <a:lnTo>
                        <a:pt x="1" y="315"/>
                      </a:lnTo>
                      <a:lnTo>
                        <a:pt x="0" y="315"/>
                      </a:lnTo>
                      <a:lnTo>
                        <a:pt x="22" y="136"/>
                      </a:lnTo>
                      <a:lnTo>
                        <a:pt x="27" y="129"/>
                      </a:lnTo>
                      <a:lnTo>
                        <a:pt x="33" y="119"/>
                      </a:lnTo>
                      <a:lnTo>
                        <a:pt x="39" y="113"/>
                      </a:lnTo>
                      <a:lnTo>
                        <a:pt x="56" y="97"/>
                      </a:lnTo>
                      <a:lnTo>
                        <a:pt x="80" y="81"/>
                      </a:lnTo>
                      <a:lnTo>
                        <a:pt x="106" y="63"/>
                      </a:lnTo>
                      <a:lnTo>
                        <a:pt x="132" y="46"/>
                      </a:lnTo>
                      <a:lnTo>
                        <a:pt x="158" y="29"/>
                      </a:lnTo>
                      <a:lnTo>
                        <a:pt x="182" y="14"/>
                      </a:lnTo>
                      <a:lnTo>
                        <a:pt x="199" y="0"/>
                      </a:lnTo>
                      <a:close/>
                    </a:path>
                  </a:pathLst>
                </a:custGeom>
                <a:solidFill>
                  <a:srgbClr val="FFEFD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33" name="Freeform 114"/>
                <p:cNvSpPr>
                  <a:spLocks/>
                </p:cNvSpPr>
                <p:nvPr/>
              </p:nvSpPr>
              <p:spPr bwMode="auto">
                <a:xfrm>
                  <a:off x="4724401" y="3659188"/>
                  <a:ext cx="334963" cy="544513"/>
                </a:xfrm>
                <a:custGeom>
                  <a:avLst/>
                  <a:gdLst>
                    <a:gd name="T0" fmla="*/ 199 w 211"/>
                    <a:gd name="T1" fmla="*/ 0 h 343"/>
                    <a:gd name="T2" fmla="*/ 205 w 211"/>
                    <a:gd name="T3" fmla="*/ 0 h 343"/>
                    <a:gd name="T4" fmla="*/ 205 w 211"/>
                    <a:gd name="T5" fmla="*/ 2 h 343"/>
                    <a:gd name="T6" fmla="*/ 205 w 211"/>
                    <a:gd name="T7" fmla="*/ 4 h 343"/>
                    <a:gd name="T8" fmla="*/ 203 w 211"/>
                    <a:gd name="T9" fmla="*/ 13 h 343"/>
                    <a:gd name="T10" fmla="*/ 205 w 211"/>
                    <a:gd name="T11" fmla="*/ 24 h 343"/>
                    <a:gd name="T12" fmla="*/ 208 w 211"/>
                    <a:gd name="T13" fmla="*/ 37 h 343"/>
                    <a:gd name="T14" fmla="*/ 211 w 211"/>
                    <a:gd name="T15" fmla="*/ 46 h 343"/>
                    <a:gd name="T16" fmla="*/ 206 w 211"/>
                    <a:gd name="T17" fmla="*/ 49 h 343"/>
                    <a:gd name="T18" fmla="*/ 195 w 211"/>
                    <a:gd name="T19" fmla="*/ 55 h 343"/>
                    <a:gd name="T20" fmla="*/ 179 w 211"/>
                    <a:gd name="T21" fmla="*/ 62 h 343"/>
                    <a:gd name="T22" fmla="*/ 160 w 211"/>
                    <a:gd name="T23" fmla="*/ 72 h 343"/>
                    <a:gd name="T24" fmla="*/ 139 w 211"/>
                    <a:gd name="T25" fmla="*/ 84 h 343"/>
                    <a:gd name="T26" fmla="*/ 118 w 211"/>
                    <a:gd name="T27" fmla="*/ 95 h 343"/>
                    <a:gd name="T28" fmla="*/ 97 w 211"/>
                    <a:gd name="T29" fmla="*/ 109 h 343"/>
                    <a:gd name="T30" fmla="*/ 99 w 211"/>
                    <a:gd name="T31" fmla="*/ 109 h 343"/>
                    <a:gd name="T32" fmla="*/ 100 w 211"/>
                    <a:gd name="T33" fmla="*/ 109 h 343"/>
                    <a:gd name="T34" fmla="*/ 102 w 211"/>
                    <a:gd name="T35" fmla="*/ 110 h 343"/>
                    <a:gd name="T36" fmla="*/ 102 w 211"/>
                    <a:gd name="T37" fmla="*/ 110 h 343"/>
                    <a:gd name="T38" fmla="*/ 103 w 211"/>
                    <a:gd name="T39" fmla="*/ 110 h 343"/>
                    <a:gd name="T40" fmla="*/ 106 w 211"/>
                    <a:gd name="T41" fmla="*/ 111 h 343"/>
                    <a:gd name="T42" fmla="*/ 119 w 211"/>
                    <a:gd name="T43" fmla="*/ 123 h 343"/>
                    <a:gd name="T44" fmla="*/ 126 w 211"/>
                    <a:gd name="T45" fmla="*/ 136 h 343"/>
                    <a:gd name="T46" fmla="*/ 131 w 211"/>
                    <a:gd name="T47" fmla="*/ 152 h 343"/>
                    <a:gd name="T48" fmla="*/ 129 w 211"/>
                    <a:gd name="T49" fmla="*/ 167 h 343"/>
                    <a:gd name="T50" fmla="*/ 125 w 211"/>
                    <a:gd name="T51" fmla="*/ 180 h 343"/>
                    <a:gd name="T52" fmla="*/ 49 w 211"/>
                    <a:gd name="T53" fmla="*/ 343 h 343"/>
                    <a:gd name="T54" fmla="*/ 49 w 211"/>
                    <a:gd name="T55" fmla="*/ 343 h 343"/>
                    <a:gd name="T56" fmla="*/ 35 w 211"/>
                    <a:gd name="T57" fmla="*/ 340 h 343"/>
                    <a:gd name="T58" fmla="*/ 20 w 211"/>
                    <a:gd name="T59" fmla="*/ 340 h 343"/>
                    <a:gd name="T60" fmla="*/ 6 w 211"/>
                    <a:gd name="T61" fmla="*/ 343 h 343"/>
                    <a:gd name="T62" fmla="*/ 4 w 211"/>
                    <a:gd name="T63" fmla="*/ 334 h 343"/>
                    <a:gd name="T64" fmla="*/ 3 w 211"/>
                    <a:gd name="T65" fmla="*/ 325 h 343"/>
                    <a:gd name="T66" fmla="*/ 1 w 211"/>
                    <a:gd name="T67" fmla="*/ 315 h 343"/>
                    <a:gd name="T68" fmla="*/ 0 w 211"/>
                    <a:gd name="T69" fmla="*/ 315 h 343"/>
                    <a:gd name="T70" fmla="*/ 1 w 211"/>
                    <a:gd name="T71" fmla="*/ 302 h 343"/>
                    <a:gd name="T72" fmla="*/ 4 w 211"/>
                    <a:gd name="T73" fmla="*/ 271 h 343"/>
                    <a:gd name="T74" fmla="*/ 6 w 211"/>
                    <a:gd name="T75" fmla="*/ 266 h 343"/>
                    <a:gd name="T76" fmla="*/ 7 w 211"/>
                    <a:gd name="T77" fmla="*/ 260 h 343"/>
                    <a:gd name="T78" fmla="*/ 22 w 211"/>
                    <a:gd name="T79" fmla="*/ 136 h 343"/>
                    <a:gd name="T80" fmla="*/ 24 w 211"/>
                    <a:gd name="T81" fmla="*/ 132 h 343"/>
                    <a:gd name="T82" fmla="*/ 27 w 211"/>
                    <a:gd name="T83" fmla="*/ 127 h 343"/>
                    <a:gd name="T84" fmla="*/ 32 w 211"/>
                    <a:gd name="T85" fmla="*/ 122 h 343"/>
                    <a:gd name="T86" fmla="*/ 35 w 211"/>
                    <a:gd name="T87" fmla="*/ 117 h 343"/>
                    <a:gd name="T88" fmla="*/ 39 w 211"/>
                    <a:gd name="T89" fmla="*/ 114 h 343"/>
                    <a:gd name="T90" fmla="*/ 39 w 211"/>
                    <a:gd name="T91" fmla="*/ 114 h 343"/>
                    <a:gd name="T92" fmla="*/ 39 w 211"/>
                    <a:gd name="T93" fmla="*/ 114 h 343"/>
                    <a:gd name="T94" fmla="*/ 39 w 211"/>
                    <a:gd name="T95" fmla="*/ 113 h 343"/>
                    <a:gd name="T96" fmla="*/ 56 w 211"/>
                    <a:gd name="T97" fmla="*/ 97 h 343"/>
                    <a:gd name="T98" fmla="*/ 80 w 211"/>
                    <a:gd name="T99" fmla="*/ 81 h 343"/>
                    <a:gd name="T100" fmla="*/ 106 w 211"/>
                    <a:gd name="T101" fmla="*/ 63 h 343"/>
                    <a:gd name="T102" fmla="*/ 132 w 211"/>
                    <a:gd name="T103" fmla="*/ 46 h 343"/>
                    <a:gd name="T104" fmla="*/ 158 w 211"/>
                    <a:gd name="T105" fmla="*/ 29 h 343"/>
                    <a:gd name="T106" fmla="*/ 182 w 211"/>
                    <a:gd name="T107" fmla="*/ 14 h 343"/>
                    <a:gd name="T108" fmla="*/ 199 w 211"/>
                    <a:gd name="T109" fmla="*/ 0 h 3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211" h="343">
                      <a:moveTo>
                        <a:pt x="199" y="0"/>
                      </a:moveTo>
                      <a:lnTo>
                        <a:pt x="205" y="0"/>
                      </a:lnTo>
                      <a:lnTo>
                        <a:pt x="205" y="2"/>
                      </a:lnTo>
                      <a:lnTo>
                        <a:pt x="205" y="4"/>
                      </a:lnTo>
                      <a:lnTo>
                        <a:pt x="203" y="13"/>
                      </a:lnTo>
                      <a:lnTo>
                        <a:pt x="205" y="24"/>
                      </a:lnTo>
                      <a:lnTo>
                        <a:pt x="208" y="37"/>
                      </a:lnTo>
                      <a:lnTo>
                        <a:pt x="211" y="46"/>
                      </a:lnTo>
                      <a:lnTo>
                        <a:pt x="206" y="49"/>
                      </a:lnTo>
                      <a:lnTo>
                        <a:pt x="195" y="55"/>
                      </a:lnTo>
                      <a:lnTo>
                        <a:pt x="179" y="62"/>
                      </a:lnTo>
                      <a:lnTo>
                        <a:pt x="160" y="72"/>
                      </a:lnTo>
                      <a:lnTo>
                        <a:pt x="139" y="84"/>
                      </a:lnTo>
                      <a:lnTo>
                        <a:pt x="118" y="95"/>
                      </a:lnTo>
                      <a:lnTo>
                        <a:pt x="97" y="109"/>
                      </a:lnTo>
                      <a:lnTo>
                        <a:pt x="99" y="109"/>
                      </a:lnTo>
                      <a:lnTo>
                        <a:pt x="100" y="109"/>
                      </a:lnTo>
                      <a:lnTo>
                        <a:pt x="102" y="110"/>
                      </a:lnTo>
                      <a:lnTo>
                        <a:pt x="102" y="110"/>
                      </a:lnTo>
                      <a:lnTo>
                        <a:pt x="103" y="110"/>
                      </a:lnTo>
                      <a:lnTo>
                        <a:pt x="106" y="111"/>
                      </a:lnTo>
                      <a:lnTo>
                        <a:pt x="119" y="123"/>
                      </a:lnTo>
                      <a:lnTo>
                        <a:pt x="126" y="136"/>
                      </a:lnTo>
                      <a:lnTo>
                        <a:pt x="131" y="152"/>
                      </a:lnTo>
                      <a:lnTo>
                        <a:pt x="129" y="167"/>
                      </a:lnTo>
                      <a:lnTo>
                        <a:pt x="125" y="180"/>
                      </a:lnTo>
                      <a:lnTo>
                        <a:pt x="49" y="343"/>
                      </a:lnTo>
                      <a:lnTo>
                        <a:pt x="49" y="343"/>
                      </a:lnTo>
                      <a:lnTo>
                        <a:pt x="35" y="340"/>
                      </a:lnTo>
                      <a:lnTo>
                        <a:pt x="20" y="340"/>
                      </a:lnTo>
                      <a:lnTo>
                        <a:pt x="6" y="343"/>
                      </a:lnTo>
                      <a:lnTo>
                        <a:pt x="4" y="334"/>
                      </a:lnTo>
                      <a:lnTo>
                        <a:pt x="3" y="325"/>
                      </a:lnTo>
                      <a:lnTo>
                        <a:pt x="1" y="315"/>
                      </a:lnTo>
                      <a:lnTo>
                        <a:pt x="0" y="315"/>
                      </a:lnTo>
                      <a:lnTo>
                        <a:pt x="1" y="302"/>
                      </a:lnTo>
                      <a:lnTo>
                        <a:pt x="4" y="271"/>
                      </a:lnTo>
                      <a:lnTo>
                        <a:pt x="6" y="266"/>
                      </a:lnTo>
                      <a:lnTo>
                        <a:pt x="7" y="260"/>
                      </a:lnTo>
                      <a:lnTo>
                        <a:pt x="22" y="136"/>
                      </a:lnTo>
                      <a:lnTo>
                        <a:pt x="24" y="132"/>
                      </a:lnTo>
                      <a:lnTo>
                        <a:pt x="27" y="127"/>
                      </a:lnTo>
                      <a:lnTo>
                        <a:pt x="32" y="122"/>
                      </a:lnTo>
                      <a:lnTo>
                        <a:pt x="35" y="117"/>
                      </a:lnTo>
                      <a:lnTo>
                        <a:pt x="39" y="114"/>
                      </a:lnTo>
                      <a:lnTo>
                        <a:pt x="39" y="114"/>
                      </a:lnTo>
                      <a:lnTo>
                        <a:pt x="39" y="114"/>
                      </a:lnTo>
                      <a:lnTo>
                        <a:pt x="39" y="113"/>
                      </a:lnTo>
                      <a:lnTo>
                        <a:pt x="56" y="97"/>
                      </a:lnTo>
                      <a:lnTo>
                        <a:pt x="80" y="81"/>
                      </a:lnTo>
                      <a:lnTo>
                        <a:pt x="106" y="63"/>
                      </a:lnTo>
                      <a:lnTo>
                        <a:pt x="132" y="46"/>
                      </a:lnTo>
                      <a:lnTo>
                        <a:pt x="158" y="29"/>
                      </a:lnTo>
                      <a:lnTo>
                        <a:pt x="182" y="14"/>
                      </a:lnTo>
                      <a:lnTo>
                        <a:pt x="199" y="0"/>
                      </a:lnTo>
                      <a:close/>
                    </a:path>
                  </a:pathLst>
                </a:custGeom>
                <a:solidFill>
                  <a:srgbClr val="51BFB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34" name="Freeform 115"/>
                <p:cNvSpPr>
                  <a:spLocks noEditPoints="1"/>
                </p:cNvSpPr>
                <p:nvPr/>
              </p:nvSpPr>
              <p:spPr bwMode="auto">
                <a:xfrm>
                  <a:off x="4965701" y="3778250"/>
                  <a:ext cx="9525" cy="411163"/>
                </a:xfrm>
                <a:custGeom>
                  <a:avLst/>
                  <a:gdLst>
                    <a:gd name="T0" fmla="*/ 0 w 6"/>
                    <a:gd name="T1" fmla="*/ 250 h 259"/>
                    <a:gd name="T2" fmla="*/ 2 w 6"/>
                    <a:gd name="T3" fmla="*/ 252 h 259"/>
                    <a:gd name="T4" fmla="*/ 6 w 6"/>
                    <a:gd name="T5" fmla="*/ 254 h 259"/>
                    <a:gd name="T6" fmla="*/ 6 w 6"/>
                    <a:gd name="T7" fmla="*/ 259 h 259"/>
                    <a:gd name="T8" fmla="*/ 5 w 6"/>
                    <a:gd name="T9" fmla="*/ 259 h 259"/>
                    <a:gd name="T10" fmla="*/ 2 w 6"/>
                    <a:gd name="T11" fmla="*/ 257 h 259"/>
                    <a:gd name="T12" fmla="*/ 0 w 6"/>
                    <a:gd name="T13" fmla="*/ 256 h 259"/>
                    <a:gd name="T14" fmla="*/ 0 w 6"/>
                    <a:gd name="T15" fmla="*/ 250 h 259"/>
                    <a:gd name="T16" fmla="*/ 3 w 6"/>
                    <a:gd name="T17" fmla="*/ 0 h 259"/>
                    <a:gd name="T18" fmla="*/ 6 w 6"/>
                    <a:gd name="T19" fmla="*/ 161 h 259"/>
                    <a:gd name="T20" fmla="*/ 0 w 6"/>
                    <a:gd name="T21" fmla="*/ 161 h 259"/>
                    <a:gd name="T22" fmla="*/ 0 w 6"/>
                    <a:gd name="T23" fmla="*/ 2 h 259"/>
                    <a:gd name="T24" fmla="*/ 3 w 6"/>
                    <a:gd name="T25" fmla="*/ 0 h 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6" h="259">
                      <a:moveTo>
                        <a:pt x="0" y="250"/>
                      </a:moveTo>
                      <a:lnTo>
                        <a:pt x="2" y="252"/>
                      </a:lnTo>
                      <a:lnTo>
                        <a:pt x="6" y="254"/>
                      </a:lnTo>
                      <a:lnTo>
                        <a:pt x="6" y="259"/>
                      </a:lnTo>
                      <a:lnTo>
                        <a:pt x="5" y="259"/>
                      </a:lnTo>
                      <a:lnTo>
                        <a:pt x="2" y="257"/>
                      </a:lnTo>
                      <a:lnTo>
                        <a:pt x="0" y="256"/>
                      </a:lnTo>
                      <a:lnTo>
                        <a:pt x="0" y="250"/>
                      </a:lnTo>
                      <a:close/>
                      <a:moveTo>
                        <a:pt x="3" y="0"/>
                      </a:moveTo>
                      <a:lnTo>
                        <a:pt x="6" y="161"/>
                      </a:lnTo>
                      <a:lnTo>
                        <a:pt x="0" y="161"/>
                      </a:lnTo>
                      <a:lnTo>
                        <a:pt x="0" y="2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1EA6B3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35" name="Freeform 116"/>
                <p:cNvSpPr>
                  <a:spLocks/>
                </p:cNvSpPr>
                <p:nvPr/>
              </p:nvSpPr>
              <p:spPr bwMode="auto">
                <a:xfrm>
                  <a:off x="4929188" y="4184650"/>
                  <a:ext cx="49213" cy="47625"/>
                </a:xfrm>
                <a:custGeom>
                  <a:avLst/>
                  <a:gdLst>
                    <a:gd name="T0" fmla="*/ 23 w 31"/>
                    <a:gd name="T1" fmla="*/ 0 h 30"/>
                    <a:gd name="T2" fmla="*/ 25 w 31"/>
                    <a:gd name="T3" fmla="*/ 1 h 30"/>
                    <a:gd name="T4" fmla="*/ 28 w 31"/>
                    <a:gd name="T5" fmla="*/ 3 h 30"/>
                    <a:gd name="T6" fmla="*/ 29 w 31"/>
                    <a:gd name="T7" fmla="*/ 3 h 30"/>
                    <a:gd name="T8" fmla="*/ 31 w 31"/>
                    <a:gd name="T9" fmla="*/ 30 h 30"/>
                    <a:gd name="T10" fmla="*/ 0 w 31"/>
                    <a:gd name="T11" fmla="*/ 30 h 30"/>
                    <a:gd name="T12" fmla="*/ 0 w 31"/>
                    <a:gd name="T13" fmla="*/ 28 h 30"/>
                    <a:gd name="T14" fmla="*/ 23 w 31"/>
                    <a:gd name="T15" fmla="*/ 28 h 30"/>
                    <a:gd name="T16" fmla="*/ 23 w 31"/>
                    <a:gd name="T17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1" h="30">
                      <a:moveTo>
                        <a:pt x="23" y="0"/>
                      </a:moveTo>
                      <a:lnTo>
                        <a:pt x="25" y="1"/>
                      </a:lnTo>
                      <a:lnTo>
                        <a:pt x="28" y="3"/>
                      </a:lnTo>
                      <a:lnTo>
                        <a:pt x="29" y="3"/>
                      </a:lnTo>
                      <a:lnTo>
                        <a:pt x="31" y="30"/>
                      </a:lnTo>
                      <a:lnTo>
                        <a:pt x="0" y="30"/>
                      </a:lnTo>
                      <a:lnTo>
                        <a:pt x="0" y="28"/>
                      </a:lnTo>
                      <a:lnTo>
                        <a:pt x="23" y="28"/>
                      </a:lnTo>
                      <a:lnTo>
                        <a:pt x="23" y="0"/>
                      </a:lnTo>
                      <a:close/>
                    </a:path>
                  </a:pathLst>
                </a:custGeom>
                <a:solidFill>
                  <a:srgbClr val="0B90B2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36" name="Freeform 117"/>
                <p:cNvSpPr>
                  <a:spLocks/>
                </p:cNvSpPr>
                <p:nvPr/>
              </p:nvSpPr>
              <p:spPr bwMode="auto">
                <a:xfrm>
                  <a:off x="4965701" y="3708400"/>
                  <a:ext cx="4763" cy="73025"/>
                </a:xfrm>
                <a:custGeom>
                  <a:avLst/>
                  <a:gdLst>
                    <a:gd name="T0" fmla="*/ 2 w 3"/>
                    <a:gd name="T1" fmla="*/ 0 h 46"/>
                    <a:gd name="T2" fmla="*/ 3 w 3"/>
                    <a:gd name="T3" fmla="*/ 44 h 46"/>
                    <a:gd name="T4" fmla="*/ 0 w 3"/>
                    <a:gd name="T5" fmla="*/ 46 h 46"/>
                    <a:gd name="T6" fmla="*/ 0 w 3"/>
                    <a:gd name="T7" fmla="*/ 3 h 46"/>
                    <a:gd name="T8" fmla="*/ 2 w 3"/>
                    <a:gd name="T9" fmla="*/ 0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46">
                      <a:moveTo>
                        <a:pt x="2" y="0"/>
                      </a:moveTo>
                      <a:lnTo>
                        <a:pt x="3" y="44"/>
                      </a:lnTo>
                      <a:lnTo>
                        <a:pt x="0" y="46"/>
                      </a:lnTo>
                      <a:lnTo>
                        <a:pt x="0" y="3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1EA6B3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37" name="Freeform 118"/>
                <p:cNvSpPr>
                  <a:spLocks/>
                </p:cNvSpPr>
                <p:nvPr/>
              </p:nvSpPr>
              <p:spPr bwMode="auto">
                <a:xfrm>
                  <a:off x="4922838" y="3711575"/>
                  <a:ext cx="42863" cy="517525"/>
                </a:xfrm>
                <a:custGeom>
                  <a:avLst/>
                  <a:gdLst>
                    <a:gd name="T0" fmla="*/ 27 w 27"/>
                    <a:gd name="T1" fmla="*/ 0 h 326"/>
                    <a:gd name="T2" fmla="*/ 27 w 27"/>
                    <a:gd name="T3" fmla="*/ 326 h 326"/>
                    <a:gd name="T4" fmla="*/ 0 w 27"/>
                    <a:gd name="T5" fmla="*/ 326 h 326"/>
                    <a:gd name="T6" fmla="*/ 0 w 27"/>
                    <a:gd name="T7" fmla="*/ 19 h 326"/>
                    <a:gd name="T8" fmla="*/ 27 w 27"/>
                    <a:gd name="T9" fmla="*/ 0 h 3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7" h="326">
                      <a:moveTo>
                        <a:pt x="27" y="0"/>
                      </a:moveTo>
                      <a:lnTo>
                        <a:pt x="27" y="326"/>
                      </a:lnTo>
                      <a:lnTo>
                        <a:pt x="0" y="326"/>
                      </a:lnTo>
                      <a:lnTo>
                        <a:pt x="0" y="19"/>
                      </a:lnTo>
                      <a:lnTo>
                        <a:pt x="27" y="0"/>
                      </a:lnTo>
                      <a:close/>
                    </a:path>
                  </a:pathLst>
                </a:custGeom>
                <a:solidFill>
                  <a:srgbClr val="B05D3A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38" name="Freeform 119"/>
                <p:cNvSpPr>
                  <a:spLocks/>
                </p:cNvSpPr>
                <p:nvPr/>
              </p:nvSpPr>
              <p:spPr bwMode="auto">
                <a:xfrm>
                  <a:off x="5045076" y="3535363"/>
                  <a:ext cx="173038" cy="212725"/>
                </a:xfrm>
                <a:custGeom>
                  <a:avLst/>
                  <a:gdLst>
                    <a:gd name="T0" fmla="*/ 55 w 109"/>
                    <a:gd name="T1" fmla="*/ 0 h 134"/>
                    <a:gd name="T2" fmla="*/ 76 w 109"/>
                    <a:gd name="T3" fmla="*/ 5 h 134"/>
                    <a:gd name="T4" fmla="*/ 93 w 109"/>
                    <a:gd name="T5" fmla="*/ 16 h 134"/>
                    <a:gd name="T6" fmla="*/ 105 w 109"/>
                    <a:gd name="T7" fmla="*/ 34 h 134"/>
                    <a:gd name="T8" fmla="*/ 109 w 109"/>
                    <a:gd name="T9" fmla="*/ 56 h 134"/>
                    <a:gd name="T10" fmla="*/ 109 w 109"/>
                    <a:gd name="T11" fmla="*/ 78 h 134"/>
                    <a:gd name="T12" fmla="*/ 105 w 109"/>
                    <a:gd name="T13" fmla="*/ 80 h 134"/>
                    <a:gd name="T14" fmla="*/ 102 w 109"/>
                    <a:gd name="T15" fmla="*/ 85 h 134"/>
                    <a:gd name="T16" fmla="*/ 100 w 109"/>
                    <a:gd name="T17" fmla="*/ 89 h 134"/>
                    <a:gd name="T18" fmla="*/ 100 w 109"/>
                    <a:gd name="T19" fmla="*/ 94 h 134"/>
                    <a:gd name="T20" fmla="*/ 100 w 109"/>
                    <a:gd name="T21" fmla="*/ 99 h 134"/>
                    <a:gd name="T22" fmla="*/ 96 w 109"/>
                    <a:gd name="T23" fmla="*/ 101 h 134"/>
                    <a:gd name="T24" fmla="*/ 93 w 109"/>
                    <a:gd name="T25" fmla="*/ 104 h 134"/>
                    <a:gd name="T26" fmla="*/ 90 w 109"/>
                    <a:gd name="T27" fmla="*/ 108 h 134"/>
                    <a:gd name="T28" fmla="*/ 89 w 109"/>
                    <a:gd name="T29" fmla="*/ 112 h 134"/>
                    <a:gd name="T30" fmla="*/ 86 w 109"/>
                    <a:gd name="T31" fmla="*/ 117 h 134"/>
                    <a:gd name="T32" fmla="*/ 81 w 109"/>
                    <a:gd name="T33" fmla="*/ 120 h 134"/>
                    <a:gd name="T34" fmla="*/ 77 w 109"/>
                    <a:gd name="T35" fmla="*/ 121 h 134"/>
                    <a:gd name="T36" fmla="*/ 73 w 109"/>
                    <a:gd name="T37" fmla="*/ 124 h 134"/>
                    <a:gd name="T38" fmla="*/ 71 w 109"/>
                    <a:gd name="T39" fmla="*/ 115 h 134"/>
                    <a:gd name="T40" fmla="*/ 67 w 109"/>
                    <a:gd name="T41" fmla="*/ 109 h 134"/>
                    <a:gd name="T42" fmla="*/ 60 w 109"/>
                    <a:gd name="T43" fmla="*/ 107 h 134"/>
                    <a:gd name="T44" fmla="*/ 52 w 109"/>
                    <a:gd name="T45" fmla="*/ 107 h 134"/>
                    <a:gd name="T46" fmla="*/ 45 w 109"/>
                    <a:gd name="T47" fmla="*/ 109 h 134"/>
                    <a:gd name="T48" fmla="*/ 41 w 109"/>
                    <a:gd name="T49" fmla="*/ 118 h 134"/>
                    <a:gd name="T50" fmla="*/ 38 w 109"/>
                    <a:gd name="T51" fmla="*/ 123 h 134"/>
                    <a:gd name="T52" fmla="*/ 35 w 109"/>
                    <a:gd name="T53" fmla="*/ 127 h 134"/>
                    <a:gd name="T54" fmla="*/ 30 w 109"/>
                    <a:gd name="T55" fmla="*/ 130 h 134"/>
                    <a:gd name="T56" fmla="*/ 28 w 109"/>
                    <a:gd name="T57" fmla="*/ 134 h 134"/>
                    <a:gd name="T58" fmla="*/ 23 w 109"/>
                    <a:gd name="T59" fmla="*/ 125 h 134"/>
                    <a:gd name="T60" fmla="*/ 16 w 109"/>
                    <a:gd name="T61" fmla="*/ 104 h 134"/>
                    <a:gd name="T62" fmla="*/ 6 w 109"/>
                    <a:gd name="T63" fmla="*/ 85 h 134"/>
                    <a:gd name="T64" fmla="*/ 3 w 109"/>
                    <a:gd name="T65" fmla="*/ 82 h 134"/>
                    <a:gd name="T66" fmla="*/ 0 w 109"/>
                    <a:gd name="T67" fmla="*/ 79 h 134"/>
                    <a:gd name="T68" fmla="*/ 0 w 109"/>
                    <a:gd name="T69" fmla="*/ 56 h 134"/>
                    <a:gd name="T70" fmla="*/ 4 w 109"/>
                    <a:gd name="T71" fmla="*/ 34 h 134"/>
                    <a:gd name="T72" fmla="*/ 16 w 109"/>
                    <a:gd name="T73" fmla="*/ 16 h 134"/>
                    <a:gd name="T74" fmla="*/ 33 w 109"/>
                    <a:gd name="T75" fmla="*/ 5 h 134"/>
                    <a:gd name="T76" fmla="*/ 55 w 109"/>
                    <a:gd name="T77" fmla="*/ 0 h 1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109" h="134">
                      <a:moveTo>
                        <a:pt x="55" y="0"/>
                      </a:moveTo>
                      <a:lnTo>
                        <a:pt x="76" y="5"/>
                      </a:lnTo>
                      <a:lnTo>
                        <a:pt x="93" y="16"/>
                      </a:lnTo>
                      <a:lnTo>
                        <a:pt x="105" y="34"/>
                      </a:lnTo>
                      <a:lnTo>
                        <a:pt x="109" y="56"/>
                      </a:lnTo>
                      <a:lnTo>
                        <a:pt x="109" y="78"/>
                      </a:lnTo>
                      <a:lnTo>
                        <a:pt x="105" y="80"/>
                      </a:lnTo>
                      <a:lnTo>
                        <a:pt x="102" y="85"/>
                      </a:lnTo>
                      <a:lnTo>
                        <a:pt x="100" y="89"/>
                      </a:lnTo>
                      <a:lnTo>
                        <a:pt x="100" y="94"/>
                      </a:lnTo>
                      <a:lnTo>
                        <a:pt x="100" y="99"/>
                      </a:lnTo>
                      <a:lnTo>
                        <a:pt x="96" y="101"/>
                      </a:lnTo>
                      <a:lnTo>
                        <a:pt x="93" y="104"/>
                      </a:lnTo>
                      <a:lnTo>
                        <a:pt x="90" y="108"/>
                      </a:lnTo>
                      <a:lnTo>
                        <a:pt x="89" y="112"/>
                      </a:lnTo>
                      <a:lnTo>
                        <a:pt x="86" y="117"/>
                      </a:lnTo>
                      <a:lnTo>
                        <a:pt x="81" y="120"/>
                      </a:lnTo>
                      <a:lnTo>
                        <a:pt x="77" y="121"/>
                      </a:lnTo>
                      <a:lnTo>
                        <a:pt x="73" y="124"/>
                      </a:lnTo>
                      <a:lnTo>
                        <a:pt x="71" y="115"/>
                      </a:lnTo>
                      <a:lnTo>
                        <a:pt x="67" y="109"/>
                      </a:lnTo>
                      <a:lnTo>
                        <a:pt x="60" y="107"/>
                      </a:lnTo>
                      <a:lnTo>
                        <a:pt x="52" y="107"/>
                      </a:lnTo>
                      <a:lnTo>
                        <a:pt x="45" y="109"/>
                      </a:lnTo>
                      <a:lnTo>
                        <a:pt x="41" y="118"/>
                      </a:lnTo>
                      <a:lnTo>
                        <a:pt x="38" y="123"/>
                      </a:lnTo>
                      <a:lnTo>
                        <a:pt x="35" y="127"/>
                      </a:lnTo>
                      <a:lnTo>
                        <a:pt x="30" y="130"/>
                      </a:lnTo>
                      <a:lnTo>
                        <a:pt x="28" y="134"/>
                      </a:lnTo>
                      <a:lnTo>
                        <a:pt x="23" y="125"/>
                      </a:lnTo>
                      <a:lnTo>
                        <a:pt x="16" y="104"/>
                      </a:lnTo>
                      <a:lnTo>
                        <a:pt x="6" y="85"/>
                      </a:lnTo>
                      <a:lnTo>
                        <a:pt x="3" y="82"/>
                      </a:lnTo>
                      <a:lnTo>
                        <a:pt x="0" y="79"/>
                      </a:lnTo>
                      <a:lnTo>
                        <a:pt x="0" y="56"/>
                      </a:lnTo>
                      <a:lnTo>
                        <a:pt x="4" y="34"/>
                      </a:lnTo>
                      <a:lnTo>
                        <a:pt x="16" y="16"/>
                      </a:lnTo>
                      <a:lnTo>
                        <a:pt x="33" y="5"/>
                      </a:lnTo>
                      <a:lnTo>
                        <a:pt x="55" y="0"/>
                      </a:lnTo>
                      <a:close/>
                    </a:path>
                  </a:pathLst>
                </a:custGeom>
                <a:solidFill>
                  <a:srgbClr val="DBB39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39" name="Freeform 120"/>
                <p:cNvSpPr>
                  <a:spLocks/>
                </p:cNvSpPr>
                <p:nvPr/>
              </p:nvSpPr>
              <p:spPr bwMode="auto">
                <a:xfrm>
                  <a:off x="5135563" y="3705225"/>
                  <a:ext cx="71438" cy="77788"/>
                </a:xfrm>
                <a:custGeom>
                  <a:avLst/>
                  <a:gdLst>
                    <a:gd name="T0" fmla="*/ 35 w 45"/>
                    <a:gd name="T1" fmla="*/ 0 h 49"/>
                    <a:gd name="T2" fmla="*/ 33 w 45"/>
                    <a:gd name="T3" fmla="*/ 1 h 49"/>
                    <a:gd name="T4" fmla="*/ 35 w 45"/>
                    <a:gd name="T5" fmla="*/ 2 h 49"/>
                    <a:gd name="T6" fmla="*/ 37 w 45"/>
                    <a:gd name="T7" fmla="*/ 4 h 49"/>
                    <a:gd name="T8" fmla="*/ 40 w 45"/>
                    <a:gd name="T9" fmla="*/ 5 h 49"/>
                    <a:gd name="T10" fmla="*/ 45 w 45"/>
                    <a:gd name="T11" fmla="*/ 7 h 49"/>
                    <a:gd name="T12" fmla="*/ 32 w 45"/>
                    <a:gd name="T13" fmla="*/ 49 h 49"/>
                    <a:gd name="T14" fmla="*/ 0 w 45"/>
                    <a:gd name="T15" fmla="*/ 4 h 49"/>
                    <a:gd name="T16" fmla="*/ 1 w 45"/>
                    <a:gd name="T17" fmla="*/ 4 h 49"/>
                    <a:gd name="T18" fmla="*/ 0 w 45"/>
                    <a:gd name="T19" fmla="*/ 4 h 49"/>
                    <a:gd name="T20" fmla="*/ 7 w 45"/>
                    <a:gd name="T21" fmla="*/ 1 h 49"/>
                    <a:gd name="T22" fmla="*/ 10 w 45"/>
                    <a:gd name="T23" fmla="*/ 4 h 49"/>
                    <a:gd name="T24" fmla="*/ 13 w 45"/>
                    <a:gd name="T25" fmla="*/ 7 h 49"/>
                    <a:gd name="T26" fmla="*/ 16 w 45"/>
                    <a:gd name="T27" fmla="*/ 11 h 49"/>
                    <a:gd name="T28" fmla="*/ 16 w 45"/>
                    <a:gd name="T29" fmla="*/ 17 h 49"/>
                    <a:gd name="T30" fmla="*/ 20 w 45"/>
                    <a:gd name="T31" fmla="*/ 14 h 49"/>
                    <a:gd name="T32" fmla="*/ 24 w 45"/>
                    <a:gd name="T33" fmla="*/ 13 h 49"/>
                    <a:gd name="T34" fmla="*/ 29 w 45"/>
                    <a:gd name="T35" fmla="*/ 10 h 49"/>
                    <a:gd name="T36" fmla="*/ 32 w 45"/>
                    <a:gd name="T37" fmla="*/ 5 h 49"/>
                    <a:gd name="T38" fmla="*/ 33 w 45"/>
                    <a:gd name="T39" fmla="*/ 2 h 49"/>
                    <a:gd name="T40" fmla="*/ 35 w 45"/>
                    <a:gd name="T41" fmla="*/ 0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45" h="49">
                      <a:moveTo>
                        <a:pt x="35" y="0"/>
                      </a:moveTo>
                      <a:lnTo>
                        <a:pt x="33" y="1"/>
                      </a:lnTo>
                      <a:lnTo>
                        <a:pt x="35" y="2"/>
                      </a:lnTo>
                      <a:lnTo>
                        <a:pt x="37" y="4"/>
                      </a:lnTo>
                      <a:lnTo>
                        <a:pt x="40" y="5"/>
                      </a:lnTo>
                      <a:lnTo>
                        <a:pt x="45" y="7"/>
                      </a:lnTo>
                      <a:lnTo>
                        <a:pt x="32" y="49"/>
                      </a:ln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0" y="4"/>
                      </a:lnTo>
                      <a:lnTo>
                        <a:pt x="7" y="1"/>
                      </a:lnTo>
                      <a:lnTo>
                        <a:pt x="10" y="4"/>
                      </a:lnTo>
                      <a:lnTo>
                        <a:pt x="13" y="7"/>
                      </a:lnTo>
                      <a:lnTo>
                        <a:pt x="16" y="11"/>
                      </a:lnTo>
                      <a:lnTo>
                        <a:pt x="16" y="17"/>
                      </a:lnTo>
                      <a:lnTo>
                        <a:pt x="20" y="14"/>
                      </a:lnTo>
                      <a:lnTo>
                        <a:pt x="24" y="13"/>
                      </a:lnTo>
                      <a:lnTo>
                        <a:pt x="29" y="10"/>
                      </a:lnTo>
                      <a:lnTo>
                        <a:pt x="32" y="5"/>
                      </a:lnTo>
                      <a:lnTo>
                        <a:pt x="33" y="2"/>
                      </a:lnTo>
                      <a:lnTo>
                        <a:pt x="35" y="0"/>
                      </a:lnTo>
                      <a:close/>
                    </a:path>
                  </a:pathLst>
                </a:custGeom>
                <a:solidFill>
                  <a:srgbClr val="1EA6B3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40" name="Freeform 121"/>
                <p:cNvSpPr>
                  <a:spLocks/>
                </p:cNvSpPr>
                <p:nvPr/>
              </p:nvSpPr>
              <p:spPr bwMode="auto">
                <a:xfrm>
                  <a:off x="5187951" y="3667125"/>
                  <a:ext cx="34925" cy="49213"/>
                </a:xfrm>
                <a:custGeom>
                  <a:avLst/>
                  <a:gdLst>
                    <a:gd name="T0" fmla="*/ 22 w 22"/>
                    <a:gd name="T1" fmla="*/ 0 h 31"/>
                    <a:gd name="T2" fmla="*/ 12 w 22"/>
                    <a:gd name="T3" fmla="*/ 31 h 31"/>
                    <a:gd name="T4" fmla="*/ 7 w 22"/>
                    <a:gd name="T5" fmla="*/ 29 h 31"/>
                    <a:gd name="T6" fmla="*/ 4 w 22"/>
                    <a:gd name="T7" fmla="*/ 28 h 31"/>
                    <a:gd name="T8" fmla="*/ 2 w 22"/>
                    <a:gd name="T9" fmla="*/ 26 h 31"/>
                    <a:gd name="T10" fmla="*/ 0 w 22"/>
                    <a:gd name="T11" fmla="*/ 25 h 31"/>
                    <a:gd name="T12" fmla="*/ 2 w 22"/>
                    <a:gd name="T13" fmla="*/ 24 h 31"/>
                    <a:gd name="T14" fmla="*/ 3 w 22"/>
                    <a:gd name="T15" fmla="*/ 21 h 31"/>
                    <a:gd name="T16" fmla="*/ 7 w 22"/>
                    <a:gd name="T17" fmla="*/ 18 h 31"/>
                    <a:gd name="T18" fmla="*/ 10 w 22"/>
                    <a:gd name="T19" fmla="*/ 16 h 31"/>
                    <a:gd name="T20" fmla="*/ 10 w 22"/>
                    <a:gd name="T21" fmla="*/ 11 h 31"/>
                    <a:gd name="T22" fmla="*/ 10 w 22"/>
                    <a:gd name="T23" fmla="*/ 6 h 31"/>
                    <a:gd name="T24" fmla="*/ 22 w 22"/>
                    <a:gd name="T25" fmla="*/ 0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2" h="31">
                      <a:moveTo>
                        <a:pt x="22" y="0"/>
                      </a:moveTo>
                      <a:lnTo>
                        <a:pt x="12" y="31"/>
                      </a:lnTo>
                      <a:lnTo>
                        <a:pt x="7" y="29"/>
                      </a:lnTo>
                      <a:lnTo>
                        <a:pt x="4" y="28"/>
                      </a:lnTo>
                      <a:lnTo>
                        <a:pt x="2" y="26"/>
                      </a:lnTo>
                      <a:lnTo>
                        <a:pt x="0" y="25"/>
                      </a:lnTo>
                      <a:lnTo>
                        <a:pt x="2" y="24"/>
                      </a:lnTo>
                      <a:lnTo>
                        <a:pt x="3" y="21"/>
                      </a:lnTo>
                      <a:lnTo>
                        <a:pt x="7" y="18"/>
                      </a:lnTo>
                      <a:lnTo>
                        <a:pt x="10" y="16"/>
                      </a:lnTo>
                      <a:lnTo>
                        <a:pt x="10" y="11"/>
                      </a:lnTo>
                      <a:lnTo>
                        <a:pt x="10" y="6"/>
                      </a:lnTo>
                      <a:lnTo>
                        <a:pt x="22" y="0"/>
                      </a:lnTo>
                      <a:close/>
                    </a:path>
                  </a:pathLst>
                </a:custGeom>
                <a:solidFill>
                  <a:srgbClr val="0B90B2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41" name="Freeform 122"/>
                <p:cNvSpPr>
                  <a:spLocks/>
                </p:cNvSpPr>
                <p:nvPr/>
              </p:nvSpPr>
              <p:spPr bwMode="auto">
                <a:xfrm>
                  <a:off x="5146676" y="3676650"/>
                  <a:ext cx="57150" cy="55563"/>
                </a:xfrm>
                <a:custGeom>
                  <a:avLst/>
                  <a:gdLst>
                    <a:gd name="T0" fmla="*/ 36 w 36"/>
                    <a:gd name="T1" fmla="*/ 0 h 35"/>
                    <a:gd name="T2" fmla="*/ 36 w 36"/>
                    <a:gd name="T3" fmla="*/ 5 h 35"/>
                    <a:gd name="T4" fmla="*/ 36 w 36"/>
                    <a:gd name="T5" fmla="*/ 10 h 35"/>
                    <a:gd name="T6" fmla="*/ 33 w 36"/>
                    <a:gd name="T7" fmla="*/ 12 h 35"/>
                    <a:gd name="T8" fmla="*/ 29 w 36"/>
                    <a:gd name="T9" fmla="*/ 15 h 35"/>
                    <a:gd name="T10" fmla="*/ 28 w 36"/>
                    <a:gd name="T11" fmla="*/ 18 h 35"/>
                    <a:gd name="T12" fmla="*/ 26 w 36"/>
                    <a:gd name="T13" fmla="*/ 20 h 35"/>
                    <a:gd name="T14" fmla="*/ 25 w 36"/>
                    <a:gd name="T15" fmla="*/ 23 h 35"/>
                    <a:gd name="T16" fmla="*/ 22 w 36"/>
                    <a:gd name="T17" fmla="*/ 28 h 35"/>
                    <a:gd name="T18" fmla="*/ 17 w 36"/>
                    <a:gd name="T19" fmla="*/ 31 h 35"/>
                    <a:gd name="T20" fmla="*/ 13 w 36"/>
                    <a:gd name="T21" fmla="*/ 32 h 35"/>
                    <a:gd name="T22" fmla="*/ 9 w 36"/>
                    <a:gd name="T23" fmla="*/ 35 h 35"/>
                    <a:gd name="T24" fmla="*/ 9 w 36"/>
                    <a:gd name="T25" fmla="*/ 29 h 35"/>
                    <a:gd name="T26" fmla="*/ 6 w 36"/>
                    <a:gd name="T27" fmla="*/ 25 h 35"/>
                    <a:gd name="T28" fmla="*/ 3 w 36"/>
                    <a:gd name="T29" fmla="*/ 22 h 35"/>
                    <a:gd name="T30" fmla="*/ 0 w 36"/>
                    <a:gd name="T31" fmla="*/ 19 h 35"/>
                    <a:gd name="T32" fmla="*/ 36 w 36"/>
                    <a:gd name="T33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6" h="35">
                      <a:moveTo>
                        <a:pt x="36" y="0"/>
                      </a:moveTo>
                      <a:lnTo>
                        <a:pt x="36" y="5"/>
                      </a:lnTo>
                      <a:lnTo>
                        <a:pt x="36" y="10"/>
                      </a:lnTo>
                      <a:lnTo>
                        <a:pt x="33" y="12"/>
                      </a:lnTo>
                      <a:lnTo>
                        <a:pt x="29" y="15"/>
                      </a:lnTo>
                      <a:lnTo>
                        <a:pt x="28" y="18"/>
                      </a:lnTo>
                      <a:lnTo>
                        <a:pt x="26" y="20"/>
                      </a:lnTo>
                      <a:lnTo>
                        <a:pt x="25" y="23"/>
                      </a:lnTo>
                      <a:lnTo>
                        <a:pt x="22" y="28"/>
                      </a:lnTo>
                      <a:lnTo>
                        <a:pt x="17" y="31"/>
                      </a:lnTo>
                      <a:lnTo>
                        <a:pt x="13" y="32"/>
                      </a:lnTo>
                      <a:lnTo>
                        <a:pt x="9" y="35"/>
                      </a:lnTo>
                      <a:lnTo>
                        <a:pt x="9" y="29"/>
                      </a:lnTo>
                      <a:lnTo>
                        <a:pt x="6" y="25"/>
                      </a:lnTo>
                      <a:lnTo>
                        <a:pt x="3" y="22"/>
                      </a:lnTo>
                      <a:lnTo>
                        <a:pt x="0" y="19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solidFill>
                  <a:srgbClr val="529B96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42" name="Freeform 123"/>
                <p:cNvSpPr>
                  <a:spLocks/>
                </p:cNvSpPr>
                <p:nvPr/>
              </p:nvSpPr>
              <p:spPr bwMode="auto">
                <a:xfrm>
                  <a:off x="5046663" y="3667125"/>
                  <a:ext cx="88900" cy="115888"/>
                </a:xfrm>
                <a:custGeom>
                  <a:avLst/>
                  <a:gdLst>
                    <a:gd name="T0" fmla="*/ 0 w 56"/>
                    <a:gd name="T1" fmla="*/ 0 h 73"/>
                    <a:gd name="T2" fmla="*/ 6 w 56"/>
                    <a:gd name="T3" fmla="*/ 3 h 73"/>
                    <a:gd name="T4" fmla="*/ 15 w 56"/>
                    <a:gd name="T5" fmla="*/ 22 h 73"/>
                    <a:gd name="T6" fmla="*/ 22 w 56"/>
                    <a:gd name="T7" fmla="*/ 42 h 73"/>
                    <a:gd name="T8" fmla="*/ 27 w 56"/>
                    <a:gd name="T9" fmla="*/ 51 h 73"/>
                    <a:gd name="T10" fmla="*/ 29 w 56"/>
                    <a:gd name="T11" fmla="*/ 47 h 73"/>
                    <a:gd name="T12" fmla="*/ 34 w 56"/>
                    <a:gd name="T13" fmla="*/ 44 h 73"/>
                    <a:gd name="T14" fmla="*/ 37 w 56"/>
                    <a:gd name="T15" fmla="*/ 40 h 73"/>
                    <a:gd name="T16" fmla="*/ 40 w 56"/>
                    <a:gd name="T17" fmla="*/ 35 h 73"/>
                    <a:gd name="T18" fmla="*/ 41 w 56"/>
                    <a:gd name="T19" fmla="*/ 29 h 73"/>
                    <a:gd name="T20" fmla="*/ 44 w 56"/>
                    <a:gd name="T21" fmla="*/ 26 h 73"/>
                    <a:gd name="T22" fmla="*/ 48 w 56"/>
                    <a:gd name="T23" fmla="*/ 24 h 73"/>
                    <a:gd name="T24" fmla="*/ 56 w 56"/>
                    <a:gd name="T25" fmla="*/ 28 h 73"/>
                    <a:gd name="T26" fmla="*/ 56 w 56"/>
                    <a:gd name="T27" fmla="*/ 28 h 73"/>
                    <a:gd name="T28" fmla="*/ 56 w 56"/>
                    <a:gd name="T29" fmla="*/ 28 h 73"/>
                    <a:gd name="T30" fmla="*/ 24 w 56"/>
                    <a:gd name="T31" fmla="*/ 73 h 73"/>
                    <a:gd name="T32" fmla="*/ 0 w 56"/>
                    <a:gd name="T33" fmla="*/ 3 h 73"/>
                    <a:gd name="T34" fmla="*/ 0 w 56"/>
                    <a:gd name="T35" fmla="*/ 0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56" h="73">
                      <a:moveTo>
                        <a:pt x="0" y="0"/>
                      </a:moveTo>
                      <a:lnTo>
                        <a:pt x="6" y="3"/>
                      </a:lnTo>
                      <a:lnTo>
                        <a:pt x="15" y="22"/>
                      </a:lnTo>
                      <a:lnTo>
                        <a:pt x="22" y="42"/>
                      </a:lnTo>
                      <a:lnTo>
                        <a:pt x="27" y="51"/>
                      </a:lnTo>
                      <a:lnTo>
                        <a:pt x="29" y="47"/>
                      </a:lnTo>
                      <a:lnTo>
                        <a:pt x="34" y="44"/>
                      </a:lnTo>
                      <a:lnTo>
                        <a:pt x="37" y="40"/>
                      </a:lnTo>
                      <a:lnTo>
                        <a:pt x="40" y="35"/>
                      </a:lnTo>
                      <a:lnTo>
                        <a:pt x="41" y="29"/>
                      </a:lnTo>
                      <a:lnTo>
                        <a:pt x="44" y="26"/>
                      </a:lnTo>
                      <a:lnTo>
                        <a:pt x="48" y="24"/>
                      </a:lnTo>
                      <a:lnTo>
                        <a:pt x="56" y="28"/>
                      </a:lnTo>
                      <a:lnTo>
                        <a:pt x="56" y="28"/>
                      </a:lnTo>
                      <a:lnTo>
                        <a:pt x="56" y="28"/>
                      </a:lnTo>
                      <a:lnTo>
                        <a:pt x="24" y="73"/>
                      </a:lnTo>
                      <a:lnTo>
                        <a:pt x="0" y="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1EA6B3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43" name="Freeform 124"/>
                <p:cNvSpPr>
                  <a:spLocks/>
                </p:cNvSpPr>
                <p:nvPr/>
              </p:nvSpPr>
              <p:spPr bwMode="auto">
                <a:xfrm>
                  <a:off x="5045076" y="3667125"/>
                  <a:ext cx="1588" cy="4763"/>
                </a:xfrm>
                <a:custGeom>
                  <a:avLst/>
                  <a:gdLst>
                    <a:gd name="T0" fmla="*/ 0 w 1"/>
                    <a:gd name="T1" fmla="*/ 0 h 3"/>
                    <a:gd name="T2" fmla="*/ 1 w 1"/>
                    <a:gd name="T3" fmla="*/ 0 h 3"/>
                    <a:gd name="T4" fmla="*/ 1 w 1"/>
                    <a:gd name="T5" fmla="*/ 3 h 3"/>
                    <a:gd name="T6" fmla="*/ 0 w 1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3">
                      <a:moveTo>
                        <a:pt x="0" y="0"/>
                      </a:moveTo>
                      <a:lnTo>
                        <a:pt x="1" y="0"/>
                      </a:lnTo>
                      <a:lnTo>
                        <a:pt x="1" y="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1EA6B3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44" name="Freeform 125"/>
                <p:cNvSpPr>
                  <a:spLocks/>
                </p:cNvSpPr>
                <p:nvPr/>
              </p:nvSpPr>
              <p:spPr bwMode="auto">
                <a:xfrm>
                  <a:off x="5056188" y="3671888"/>
                  <a:ext cx="66675" cy="76200"/>
                </a:xfrm>
                <a:custGeom>
                  <a:avLst/>
                  <a:gdLst>
                    <a:gd name="T0" fmla="*/ 0 w 42"/>
                    <a:gd name="T1" fmla="*/ 0 h 48"/>
                    <a:gd name="T2" fmla="*/ 42 w 42"/>
                    <a:gd name="T3" fmla="*/ 21 h 48"/>
                    <a:gd name="T4" fmla="*/ 38 w 42"/>
                    <a:gd name="T5" fmla="*/ 23 h 48"/>
                    <a:gd name="T6" fmla="*/ 35 w 42"/>
                    <a:gd name="T7" fmla="*/ 26 h 48"/>
                    <a:gd name="T8" fmla="*/ 34 w 42"/>
                    <a:gd name="T9" fmla="*/ 32 h 48"/>
                    <a:gd name="T10" fmla="*/ 31 w 42"/>
                    <a:gd name="T11" fmla="*/ 37 h 48"/>
                    <a:gd name="T12" fmla="*/ 28 w 42"/>
                    <a:gd name="T13" fmla="*/ 41 h 48"/>
                    <a:gd name="T14" fmla="*/ 23 w 42"/>
                    <a:gd name="T15" fmla="*/ 44 h 48"/>
                    <a:gd name="T16" fmla="*/ 21 w 42"/>
                    <a:gd name="T17" fmla="*/ 48 h 48"/>
                    <a:gd name="T18" fmla="*/ 16 w 42"/>
                    <a:gd name="T19" fmla="*/ 39 h 48"/>
                    <a:gd name="T20" fmla="*/ 9 w 42"/>
                    <a:gd name="T21" fmla="*/ 19 h 48"/>
                    <a:gd name="T22" fmla="*/ 0 w 42"/>
                    <a:gd name="T23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2" h="48">
                      <a:moveTo>
                        <a:pt x="0" y="0"/>
                      </a:moveTo>
                      <a:lnTo>
                        <a:pt x="42" y="21"/>
                      </a:lnTo>
                      <a:lnTo>
                        <a:pt x="38" y="23"/>
                      </a:lnTo>
                      <a:lnTo>
                        <a:pt x="35" y="26"/>
                      </a:lnTo>
                      <a:lnTo>
                        <a:pt x="34" y="32"/>
                      </a:lnTo>
                      <a:lnTo>
                        <a:pt x="31" y="37"/>
                      </a:lnTo>
                      <a:lnTo>
                        <a:pt x="28" y="41"/>
                      </a:lnTo>
                      <a:lnTo>
                        <a:pt x="23" y="44"/>
                      </a:lnTo>
                      <a:lnTo>
                        <a:pt x="21" y="48"/>
                      </a:lnTo>
                      <a:lnTo>
                        <a:pt x="16" y="39"/>
                      </a:lnTo>
                      <a:lnTo>
                        <a:pt x="9" y="1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529B96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45" name="Freeform 126"/>
                <p:cNvSpPr>
                  <a:spLocks/>
                </p:cNvSpPr>
                <p:nvPr/>
              </p:nvSpPr>
              <p:spPr bwMode="auto">
                <a:xfrm>
                  <a:off x="5135563" y="3711575"/>
                  <a:ext cx="1588" cy="0"/>
                </a:xfrm>
                <a:custGeom>
                  <a:avLst/>
                  <a:gdLst>
                    <a:gd name="T0" fmla="*/ 0 w 1"/>
                    <a:gd name="T1" fmla="*/ 1 w 1"/>
                    <a:gd name="T2" fmla="*/ 0 w 1"/>
                    <a:gd name="T3" fmla="*/ 0 w 1"/>
                    <a:gd name="T4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B90B2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46" name="Freeform 127"/>
                <p:cNvSpPr>
                  <a:spLocks/>
                </p:cNvSpPr>
                <p:nvPr/>
              </p:nvSpPr>
              <p:spPr bwMode="auto">
                <a:xfrm>
                  <a:off x="5132388" y="3659188"/>
                  <a:ext cx="85725" cy="114300"/>
                </a:xfrm>
                <a:custGeom>
                  <a:avLst/>
                  <a:gdLst>
                    <a:gd name="T0" fmla="*/ 54 w 54"/>
                    <a:gd name="T1" fmla="*/ 0 h 72"/>
                    <a:gd name="T2" fmla="*/ 31 w 54"/>
                    <a:gd name="T3" fmla="*/ 72 h 72"/>
                    <a:gd name="T4" fmla="*/ 0 w 54"/>
                    <a:gd name="T5" fmla="*/ 27 h 72"/>
                    <a:gd name="T6" fmla="*/ 54 w 54"/>
                    <a:gd name="T7" fmla="*/ 0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4" h="72">
                      <a:moveTo>
                        <a:pt x="54" y="0"/>
                      </a:moveTo>
                      <a:lnTo>
                        <a:pt x="31" y="72"/>
                      </a:lnTo>
                      <a:lnTo>
                        <a:pt x="0" y="27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51BFB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47" name="Freeform 128"/>
                <p:cNvSpPr>
                  <a:spLocks/>
                </p:cNvSpPr>
                <p:nvPr/>
              </p:nvSpPr>
              <p:spPr bwMode="auto">
                <a:xfrm>
                  <a:off x="5045076" y="3659188"/>
                  <a:ext cx="87313" cy="114300"/>
                </a:xfrm>
                <a:custGeom>
                  <a:avLst/>
                  <a:gdLst>
                    <a:gd name="T0" fmla="*/ 0 w 55"/>
                    <a:gd name="T1" fmla="*/ 0 h 72"/>
                    <a:gd name="T2" fmla="*/ 55 w 55"/>
                    <a:gd name="T3" fmla="*/ 27 h 72"/>
                    <a:gd name="T4" fmla="*/ 23 w 55"/>
                    <a:gd name="T5" fmla="*/ 72 h 72"/>
                    <a:gd name="T6" fmla="*/ 0 w 55"/>
                    <a:gd name="T7" fmla="*/ 0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5" h="72">
                      <a:moveTo>
                        <a:pt x="0" y="0"/>
                      </a:moveTo>
                      <a:lnTo>
                        <a:pt x="55" y="27"/>
                      </a:lnTo>
                      <a:lnTo>
                        <a:pt x="23" y="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51BFB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48" name="Freeform 129"/>
                <p:cNvSpPr>
                  <a:spLocks/>
                </p:cNvSpPr>
                <p:nvPr/>
              </p:nvSpPr>
              <p:spPr bwMode="auto">
                <a:xfrm>
                  <a:off x="4965701" y="3163888"/>
                  <a:ext cx="328613" cy="501650"/>
                </a:xfrm>
                <a:custGeom>
                  <a:avLst/>
                  <a:gdLst>
                    <a:gd name="T0" fmla="*/ 104 w 207"/>
                    <a:gd name="T1" fmla="*/ 0 h 316"/>
                    <a:gd name="T2" fmla="*/ 127 w 207"/>
                    <a:gd name="T3" fmla="*/ 5 h 316"/>
                    <a:gd name="T4" fmla="*/ 149 w 207"/>
                    <a:gd name="T5" fmla="*/ 16 h 316"/>
                    <a:gd name="T6" fmla="*/ 168 w 207"/>
                    <a:gd name="T7" fmla="*/ 34 h 316"/>
                    <a:gd name="T8" fmla="*/ 184 w 207"/>
                    <a:gd name="T9" fmla="*/ 57 h 316"/>
                    <a:gd name="T10" fmla="*/ 195 w 207"/>
                    <a:gd name="T11" fmla="*/ 85 h 316"/>
                    <a:gd name="T12" fmla="*/ 204 w 207"/>
                    <a:gd name="T13" fmla="*/ 118 h 316"/>
                    <a:gd name="T14" fmla="*/ 207 w 207"/>
                    <a:gd name="T15" fmla="*/ 155 h 316"/>
                    <a:gd name="T16" fmla="*/ 203 w 207"/>
                    <a:gd name="T17" fmla="*/ 192 h 316"/>
                    <a:gd name="T18" fmla="*/ 194 w 207"/>
                    <a:gd name="T19" fmla="*/ 226 h 316"/>
                    <a:gd name="T20" fmla="*/ 179 w 207"/>
                    <a:gd name="T21" fmla="*/ 256 h 316"/>
                    <a:gd name="T22" fmla="*/ 162 w 207"/>
                    <a:gd name="T23" fmla="*/ 281 h 316"/>
                    <a:gd name="T24" fmla="*/ 143 w 207"/>
                    <a:gd name="T25" fmla="*/ 300 h 316"/>
                    <a:gd name="T26" fmla="*/ 123 w 207"/>
                    <a:gd name="T27" fmla="*/ 312 h 316"/>
                    <a:gd name="T28" fmla="*/ 104 w 207"/>
                    <a:gd name="T29" fmla="*/ 316 h 316"/>
                    <a:gd name="T30" fmla="*/ 85 w 207"/>
                    <a:gd name="T31" fmla="*/ 312 h 316"/>
                    <a:gd name="T32" fmla="*/ 64 w 207"/>
                    <a:gd name="T33" fmla="*/ 300 h 316"/>
                    <a:gd name="T34" fmla="*/ 46 w 207"/>
                    <a:gd name="T35" fmla="*/ 281 h 316"/>
                    <a:gd name="T36" fmla="*/ 27 w 207"/>
                    <a:gd name="T37" fmla="*/ 256 h 316"/>
                    <a:gd name="T38" fmla="*/ 14 w 207"/>
                    <a:gd name="T39" fmla="*/ 226 h 316"/>
                    <a:gd name="T40" fmla="*/ 3 w 207"/>
                    <a:gd name="T41" fmla="*/ 192 h 316"/>
                    <a:gd name="T42" fmla="*/ 0 w 207"/>
                    <a:gd name="T43" fmla="*/ 155 h 316"/>
                    <a:gd name="T44" fmla="*/ 2 w 207"/>
                    <a:gd name="T45" fmla="*/ 118 h 316"/>
                    <a:gd name="T46" fmla="*/ 11 w 207"/>
                    <a:gd name="T47" fmla="*/ 85 h 316"/>
                    <a:gd name="T48" fmla="*/ 22 w 207"/>
                    <a:gd name="T49" fmla="*/ 57 h 316"/>
                    <a:gd name="T50" fmla="*/ 38 w 207"/>
                    <a:gd name="T51" fmla="*/ 34 h 316"/>
                    <a:gd name="T52" fmla="*/ 57 w 207"/>
                    <a:gd name="T53" fmla="*/ 16 h 316"/>
                    <a:gd name="T54" fmla="*/ 79 w 207"/>
                    <a:gd name="T55" fmla="*/ 5 h 316"/>
                    <a:gd name="T56" fmla="*/ 104 w 207"/>
                    <a:gd name="T57" fmla="*/ 0 h 3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207" h="316">
                      <a:moveTo>
                        <a:pt x="104" y="0"/>
                      </a:moveTo>
                      <a:lnTo>
                        <a:pt x="127" y="5"/>
                      </a:lnTo>
                      <a:lnTo>
                        <a:pt x="149" y="16"/>
                      </a:lnTo>
                      <a:lnTo>
                        <a:pt x="168" y="34"/>
                      </a:lnTo>
                      <a:lnTo>
                        <a:pt x="184" y="57"/>
                      </a:lnTo>
                      <a:lnTo>
                        <a:pt x="195" y="85"/>
                      </a:lnTo>
                      <a:lnTo>
                        <a:pt x="204" y="118"/>
                      </a:lnTo>
                      <a:lnTo>
                        <a:pt x="207" y="155"/>
                      </a:lnTo>
                      <a:lnTo>
                        <a:pt x="203" y="192"/>
                      </a:lnTo>
                      <a:lnTo>
                        <a:pt x="194" y="226"/>
                      </a:lnTo>
                      <a:lnTo>
                        <a:pt x="179" y="256"/>
                      </a:lnTo>
                      <a:lnTo>
                        <a:pt x="162" y="281"/>
                      </a:lnTo>
                      <a:lnTo>
                        <a:pt x="143" y="300"/>
                      </a:lnTo>
                      <a:lnTo>
                        <a:pt x="123" y="312"/>
                      </a:lnTo>
                      <a:lnTo>
                        <a:pt x="104" y="316"/>
                      </a:lnTo>
                      <a:lnTo>
                        <a:pt x="85" y="312"/>
                      </a:lnTo>
                      <a:lnTo>
                        <a:pt x="64" y="300"/>
                      </a:lnTo>
                      <a:lnTo>
                        <a:pt x="46" y="281"/>
                      </a:lnTo>
                      <a:lnTo>
                        <a:pt x="27" y="256"/>
                      </a:lnTo>
                      <a:lnTo>
                        <a:pt x="14" y="226"/>
                      </a:lnTo>
                      <a:lnTo>
                        <a:pt x="3" y="192"/>
                      </a:lnTo>
                      <a:lnTo>
                        <a:pt x="0" y="155"/>
                      </a:lnTo>
                      <a:lnTo>
                        <a:pt x="2" y="118"/>
                      </a:lnTo>
                      <a:lnTo>
                        <a:pt x="11" y="85"/>
                      </a:lnTo>
                      <a:lnTo>
                        <a:pt x="22" y="57"/>
                      </a:lnTo>
                      <a:lnTo>
                        <a:pt x="38" y="34"/>
                      </a:lnTo>
                      <a:lnTo>
                        <a:pt x="57" y="16"/>
                      </a:lnTo>
                      <a:lnTo>
                        <a:pt x="79" y="5"/>
                      </a:lnTo>
                      <a:lnTo>
                        <a:pt x="104" y="0"/>
                      </a:lnTo>
                      <a:close/>
                    </a:path>
                  </a:pathLst>
                </a:custGeom>
                <a:solidFill>
                  <a:srgbClr val="FFDEB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49" name="Freeform 130"/>
                <p:cNvSpPr>
                  <a:spLocks noEditPoints="1"/>
                </p:cNvSpPr>
                <p:nvPr/>
              </p:nvSpPr>
              <p:spPr bwMode="auto">
                <a:xfrm>
                  <a:off x="5130801" y="3286125"/>
                  <a:ext cx="163513" cy="379413"/>
                </a:xfrm>
                <a:custGeom>
                  <a:avLst/>
                  <a:gdLst>
                    <a:gd name="T0" fmla="*/ 102 w 103"/>
                    <a:gd name="T1" fmla="*/ 86 h 239"/>
                    <a:gd name="T2" fmla="*/ 97 w 103"/>
                    <a:gd name="T3" fmla="*/ 123 h 239"/>
                    <a:gd name="T4" fmla="*/ 87 w 103"/>
                    <a:gd name="T5" fmla="*/ 155 h 239"/>
                    <a:gd name="T6" fmla="*/ 74 w 103"/>
                    <a:gd name="T7" fmla="*/ 182 h 239"/>
                    <a:gd name="T8" fmla="*/ 56 w 103"/>
                    <a:gd name="T9" fmla="*/ 205 h 239"/>
                    <a:gd name="T10" fmla="*/ 38 w 103"/>
                    <a:gd name="T11" fmla="*/ 224 h 239"/>
                    <a:gd name="T12" fmla="*/ 19 w 103"/>
                    <a:gd name="T13" fmla="*/ 236 h 239"/>
                    <a:gd name="T14" fmla="*/ 0 w 103"/>
                    <a:gd name="T15" fmla="*/ 239 h 239"/>
                    <a:gd name="T16" fmla="*/ 3 w 103"/>
                    <a:gd name="T17" fmla="*/ 237 h 239"/>
                    <a:gd name="T18" fmla="*/ 11 w 103"/>
                    <a:gd name="T19" fmla="*/ 233 h 239"/>
                    <a:gd name="T20" fmla="*/ 23 w 103"/>
                    <a:gd name="T21" fmla="*/ 224 h 239"/>
                    <a:gd name="T22" fmla="*/ 38 w 103"/>
                    <a:gd name="T23" fmla="*/ 211 h 239"/>
                    <a:gd name="T24" fmla="*/ 54 w 103"/>
                    <a:gd name="T25" fmla="*/ 195 h 239"/>
                    <a:gd name="T26" fmla="*/ 68 w 103"/>
                    <a:gd name="T27" fmla="*/ 175 h 239"/>
                    <a:gd name="T28" fmla="*/ 80 w 103"/>
                    <a:gd name="T29" fmla="*/ 150 h 239"/>
                    <a:gd name="T30" fmla="*/ 88 w 103"/>
                    <a:gd name="T31" fmla="*/ 121 h 239"/>
                    <a:gd name="T32" fmla="*/ 91 w 103"/>
                    <a:gd name="T33" fmla="*/ 115 h 239"/>
                    <a:gd name="T34" fmla="*/ 94 w 103"/>
                    <a:gd name="T35" fmla="*/ 110 h 239"/>
                    <a:gd name="T36" fmla="*/ 96 w 103"/>
                    <a:gd name="T37" fmla="*/ 102 h 239"/>
                    <a:gd name="T38" fmla="*/ 96 w 103"/>
                    <a:gd name="T39" fmla="*/ 99 h 239"/>
                    <a:gd name="T40" fmla="*/ 96 w 103"/>
                    <a:gd name="T41" fmla="*/ 96 h 239"/>
                    <a:gd name="T42" fmla="*/ 97 w 103"/>
                    <a:gd name="T43" fmla="*/ 92 h 239"/>
                    <a:gd name="T44" fmla="*/ 97 w 103"/>
                    <a:gd name="T45" fmla="*/ 91 h 239"/>
                    <a:gd name="T46" fmla="*/ 99 w 103"/>
                    <a:gd name="T47" fmla="*/ 88 h 239"/>
                    <a:gd name="T48" fmla="*/ 102 w 103"/>
                    <a:gd name="T49" fmla="*/ 88 h 239"/>
                    <a:gd name="T50" fmla="*/ 102 w 103"/>
                    <a:gd name="T51" fmla="*/ 86 h 239"/>
                    <a:gd name="T52" fmla="*/ 103 w 103"/>
                    <a:gd name="T53" fmla="*/ 79 h 239"/>
                    <a:gd name="T54" fmla="*/ 103 w 103"/>
                    <a:gd name="T55" fmla="*/ 80 h 239"/>
                    <a:gd name="T56" fmla="*/ 102 w 103"/>
                    <a:gd name="T57" fmla="*/ 79 h 239"/>
                    <a:gd name="T58" fmla="*/ 103 w 103"/>
                    <a:gd name="T59" fmla="*/ 79 h 239"/>
                    <a:gd name="T60" fmla="*/ 68 w 103"/>
                    <a:gd name="T61" fmla="*/ 0 h 239"/>
                    <a:gd name="T62" fmla="*/ 71 w 103"/>
                    <a:gd name="T63" fmla="*/ 2 h 239"/>
                    <a:gd name="T64" fmla="*/ 74 w 103"/>
                    <a:gd name="T65" fmla="*/ 5 h 239"/>
                    <a:gd name="T66" fmla="*/ 83 w 103"/>
                    <a:gd name="T67" fmla="*/ 18 h 239"/>
                    <a:gd name="T68" fmla="*/ 90 w 103"/>
                    <a:gd name="T69" fmla="*/ 37 h 239"/>
                    <a:gd name="T70" fmla="*/ 97 w 103"/>
                    <a:gd name="T71" fmla="*/ 57 h 239"/>
                    <a:gd name="T72" fmla="*/ 99 w 103"/>
                    <a:gd name="T73" fmla="*/ 78 h 239"/>
                    <a:gd name="T74" fmla="*/ 91 w 103"/>
                    <a:gd name="T75" fmla="*/ 76 h 239"/>
                    <a:gd name="T76" fmla="*/ 87 w 103"/>
                    <a:gd name="T77" fmla="*/ 47 h 239"/>
                    <a:gd name="T78" fmla="*/ 80 w 103"/>
                    <a:gd name="T79" fmla="*/ 22 h 239"/>
                    <a:gd name="T80" fmla="*/ 68 w 103"/>
                    <a:gd name="T81" fmla="*/ 0 h 2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103" h="239">
                      <a:moveTo>
                        <a:pt x="102" y="86"/>
                      </a:moveTo>
                      <a:lnTo>
                        <a:pt x="97" y="123"/>
                      </a:lnTo>
                      <a:lnTo>
                        <a:pt x="87" y="155"/>
                      </a:lnTo>
                      <a:lnTo>
                        <a:pt x="74" y="182"/>
                      </a:lnTo>
                      <a:lnTo>
                        <a:pt x="56" y="205"/>
                      </a:lnTo>
                      <a:lnTo>
                        <a:pt x="38" y="224"/>
                      </a:lnTo>
                      <a:lnTo>
                        <a:pt x="19" y="236"/>
                      </a:lnTo>
                      <a:lnTo>
                        <a:pt x="0" y="239"/>
                      </a:lnTo>
                      <a:lnTo>
                        <a:pt x="3" y="237"/>
                      </a:lnTo>
                      <a:lnTo>
                        <a:pt x="11" y="233"/>
                      </a:lnTo>
                      <a:lnTo>
                        <a:pt x="23" y="224"/>
                      </a:lnTo>
                      <a:lnTo>
                        <a:pt x="38" y="211"/>
                      </a:lnTo>
                      <a:lnTo>
                        <a:pt x="54" y="195"/>
                      </a:lnTo>
                      <a:lnTo>
                        <a:pt x="68" y="175"/>
                      </a:lnTo>
                      <a:lnTo>
                        <a:pt x="80" y="150"/>
                      </a:lnTo>
                      <a:lnTo>
                        <a:pt x="88" y="121"/>
                      </a:lnTo>
                      <a:lnTo>
                        <a:pt x="91" y="115"/>
                      </a:lnTo>
                      <a:lnTo>
                        <a:pt x="94" y="110"/>
                      </a:lnTo>
                      <a:lnTo>
                        <a:pt x="96" y="102"/>
                      </a:lnTo>
                      <a:lnTo>
                        <a:pt x="96" y="99"/>
                      </a:lnTo>
                      <a:lnTo>
                        <a:pt x="96" y="96"/>
                      </a:lnTo>
                      <a:lnTo>
                        <a:pt x="97" y="92"/>
                      </a:lnTo>
                      <a:lnTo>
                        <a:pt x="97" y="91"/>
                      </a:lnTo>
                      <a:lnTo>
                        <a:pt x="99" y="88"/>
                      </a:lnTo>
                      <a:lnTo>
                        <a:pt x="102" y="88"/>
                      </a:lnTo>
                      <a:lnTo>
                        <a:pt x="102" y="86"/>
                      </a:lnTo>
                      <a:close/>
                      <a:moveTo>
                        <a:pt x="103" y="79"/>
                      </a:moveTo>
                      <a:lnTo>
                        <a:pt x="103" y="80"/>
                      </a:lnTo>
                      <a:lnTo>
                        <a:pt x="102" y="79"/>
                      </a:lnTo>
                      <a:lnTo>
                        <a:pt x="103" y="79"/>
                      </a:lnTo>
                      <a:close/>
                      <a:moveTo>
                        <a:pt x="68" y="0"/>
                      </a:moveTo>
                      <a:lnTo>
                        <a:pt x="71" y="2"/>
                      </a:lnTo>
                      <a:lnTo>
                        <a:pt x="74" y="5"/>
                      </a:lnTo>
                      <a:lnTo>
                        <a:pt x="83" y="18"/>
                      </a:lnTo>
                      <a:lnTo>
                        <a:pt x="90" y="37"/>
                      </a:lnTo>
                      <a:lnTo>
                        <a:pt x="97" y="57"/>
                      </a:lnTo>
                      <a:lnTo>
                        <a:pt x="99" y="78"/>
                      </a:lnTo>
                      <a:lnTo>
                        <a:pt x="91" y="76"/>
                      </a:lnTo>
                      <a:lnTo>
                        <a:pt x="87" y="47"/>
                      </a:lnTo>
                      <a:lnTo>
                        <a:pt x="80" y="22"/>
                      </a:lnTo>
                      <a:lnTo>
                        <a:pt x="68" y="0"/>
                      </a:lnTo>
                      <a:close/>
                    </a:path>
                  </a:pathLst>
                </a:custGeom>
                <a:solidFill>
                  <a:srgbClr val="F2B78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50" name="Freeform 131"/>
                <p:cNvSpPr>
                  <a:spLocks noEditPoints="1"/>
                </p:cNvSpPr>
                <p:nvPr/>
              </p:nvSpPr>
              <p:spPr bwMode="auto">
                <a:xfrm>
                  <a:off x="4962526" y="3397250"/>
                  <a:ext cx="152400" cy="104775"/>
                </a:xfrm>
                <a:custGeom>
                  <a:avLst/>
                  <a:gdLst>
                    <a:gd name="T0" fmla="*/ 50 w 96"/>
                    <a:gd name="T1" fmla="*/ 3 h 66"/>
                    <a:gd name="T2" fmla="*/ 34 w 96"/>
                    <a:gd name="T3" fmla="*/ 5 h 66"/>
                    <a:gd name="T4" fmla="*/ 23 w 96"/>
                    <a:gd name="T5" fmla="*/ 6 h 66"/>
                    <a:gd name="T6" fmla="*/ 17 w 96"/>
                    <a:gd name="T7" fmla="*/ 9 h 66"/>
                    <a:gd name="T8" fmla="*/ 13 w 96"/>
                    <a:gd name="T9" fmla="*/ 15 h 66"/>
                    <a:gd name="T10" fmla="*/ 13 w 96"/>
                    <a:gd name="T11" fmla="*/ 22 h 66"/>
                    <a:gd name="T12" fmla="*/ 11 w 96"/>
                    <a:gd name="T13" fmla="*/ 29 h 66"/>
                    <a:gd name="T14" fmla="*/ 14 w 96"/>
                    <a:gd name="T15" fmla="*/ 42 h 66"/>
                    <a:gd name="T16" fmla="*/ 23 w 96"/>
                    <a:gd name="T17" fmla="*/ 53 h 66"/>
                    <a:gd name="T18" fmla="*/ 34 w 96"/>
                    <a:gd name="T19" fmla="*/ 60 h 66"/>
                    <a:gd name="T20" fmla="*/ 49 w 96"/>
                    <a:gd name="T21" fmla="*/ 63 h 66"/>
                    <a:gd name="T22" fmla="*/ 62 w 96"/>
                    <a:gd name="T23" fmla="*/ 61 h 66"/>
                    <a:gd name="T24" fmla="*/ 74 w 96"/>
                    <a:gd name="T25" fmla="*/ 54 h 66"/>
                    <a:gd name="T26" fmla="*/ 84 w 96"/>
                    <a:gd name="T27" fmla="*/ 45 h 66"/>
                    <a:gd name="T28" fmla="*/ 90 w 96"/>
                    <a:gd name="T29" fmla="*/ 32 h 66"/>
                    <a:gd name="T30" fmla="*/ 90 w 96"/>
                    <a:gd name="T31" fmla="*/ 18 h 66"/>
                    <a:gd name="T32" fmla="*/ 84 w 96"/>
                    <a:gd name="T33" fmla="*/ 10 h 66"/>
                    <a:gd name="T34" fmla="*/ 69 w 96"/>
                    <a:gd name="T35" fmla="*/ 6 h 66"/>
                    <a:gd name="T36" fmla="*/ 50 w 96"/>
                    <a:gd name="T37" fmla="*/ 3 h 66"/>
                    <a:gd name="T38" fmla="*/ 52 w 96"/>
                    <a:gd name="T39" fmla="*/ 0 h 66"/>
                    <a:gd name="T40" fmla="*/ 71 w 96"/>
                    <a:gd name="T41" fmla="*/ 2 h 66"/>
                    <a:gd name="T42" fmla="*/ 85 w 96"/>
                    <a:gd name="T43" fmla="*/ 5 h 66"/>
                    <a:gd name="T44" fmla="*/ 96 w 96"/>
                    <a:gd name="T45" fmla="*/ 10 h 66"/>
                    <a:gd name="T46" fmla="*/ 96 w 96"/>
                    <a:gd name="T47" fmla="*/ 12 h 66"/>
                    <a:gd name="T48" fmla="*/ 96 w 96"/>
                    <a:gd name="T49" fmla="*/ 13 h 66"/>
                    <a:gd name="T50" fmla="*/ 96 w 96"/>
                    <a:gd name="T51" fmla="*/ 16 h 66"/>
                    <a:gd name="T52" fmla="*/ 94 w 96"/>
                    <a:gd name="T53" fmla="*/ 32 h 66"/>
                    <a:gd name="T54" fmla="*/ 88 w 96"/>
                    <a:gd name="T55" fmla="*/ 47 h 66"/>
                    <a:gd name="T56" fmla="*/ 77 w 96"/>
                    <a:gd name="T57" fmla="*/ 57 h 66"/>
                    <a:gd name="T58" fmla="*/ 64 w 96"/>
                    <a:gd name="T59" fmla="*/ 64 h 66"/>
                    <a:gd name="T60" fmla="*/ 50 w 96"/>
                    <a:gd name="T61" fmla="*/ 66 h 66"/>
                    <a:gd name="T62" fmla="*/ 33 w 96"/>
                    <a:gd name="T63" fmla="*/ 63 h 66"/>
                    <a:gd name="T64" fmla="*/ 20 w 96"/>
                    <a:gd name="T65" fmla="*/ 55 h 66"/>
                    <a:gd name="T66" fmla="*/ 10 w 96"/>
                    <a:gd name="T67" fmla="*/ 44 h 66"/>
                    <a:gd name="T68" fmla="*/ 5 w 96"/>
                    <a:gd name="T69" fmla="*/ 28 h 66"/>
                    <a:gd name="T70" fmla="*/ 5 w 96"/>
                    <a:gd name="T71" fmla="*/ 25 h 66"/>
                    <a:gd name="T72" fmla="*/ 5 w 96"/>
                    <a:gd name="T73" fmla="*/ 22 h 66"/>
                    <a:gd name="T74" fmla="*/ 5 w 96"/>
                    <a:gd name="T75" fmla="*/ 19 h 66"/>
                    <a:gd name="T76" fmla="*/ 5 w 96"/>
                    <a:gd name="T77" fmla="*/ 16 h 66"/>
                    <a:gd name="T78" fmla="*/ 4 w 96"/>
                    <a:gd name="T79" fmla="*/ 13 h 66"/>
                    <a:gd name="T80" fmla="*/ 1 w 96"/>
                    <a:gd name="T81" fmla="*/ 13 h 66"/>
                    <a:gd name="T82" fmla="*/ 0 w 96"/>
                    <a:gd name="T83" fmla="*/ 12 h 66"/>
                    <a:gd name="T84" fmla="*/ 0 w 96"/>
                    <a:gd name="T85" fmla="*/ 10 h 66"/>
                    <a:gd name="T86" fmla="*/ 0 w 96"/>
                    <a:gd name="T87" fmla="*/ 8 h 66"/>
                    <a:gd name="T88" fmla="*/ 1 w 96"/>
                    <a:gd name="T89" fmla="*/ 6 h 66"/>
                    <a:gd name="T90" fmla="*/ 1 w 96"/>
                    <a:gd name="T91" fmla="*/ 5 h 66"/>
                    <a:gd name="T92" fmla="*/ 2 w 96"/>
                    <a:gd name="T93" fmla="*/ 3 h 66"/>
                    <a:gd name="T94" fmla="*/ 16 w 96"/>
                    <a:gd name="T95" fmla="*/ 2 h 66"/>
                    <a:gd name="T96" fmla="*/ 32 w 96"/>
                    <a:gd name="T97" fmla="*/ 0 h 66"/>
                    <a:gd name="T98" fmla="*/ 52 w 96"/>
                    <a:gd name="T99" fmla="*/ 0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96" h="66">
                      <a:moveTo>
                        <a:pt x="50" y="3"/>
                      </a:moveTo>
                      <a:lnTo>
                        <a:pt x="34" y="5"/>
                      </a:lnTo>
                      <a:lnTo>
                        <a:pt x="23" y="6"/>
                      </a:lnTo>
                      <a:lnTo>
                        <a:pt x="17" y="9"/>
                      </a:lnTo>
                      <a:lnTo>
                        <a:pt x="13" y="15"/>
                      </a:lnTo>
                      <a:lnTo>
                        <a:pt x="13" y="22"/>
                      </a:lnTo>
                      <a:lnTo>
                        <a:pt x="11" y="29"/>
                      </a:lnTo>
                      <a:lnTo>
                        <a:pt x="14" y="42"/>
                      </a:lnTo>
                      <a:lnTo>
                        <a:pt x="23" y="53"/>
                      </a:lnTo>
                      <a:lnTo>
                        <a:pt x="34" y="60"/>
                      </a:lnTo>
                      <a:lnTo>
                        <a:pt x="49" y="63"/>
                      </a:lnTo>
                      <a:lnTo>
                        <a:pt x="62" y="61"/>
                      </a:lnTo>
                      <a:lnTo>
                        <a:pt x="74" y="54"/>
                      </a:lnTo>
                      <a:lnTo>
                        <a:pt x="84" y="45"/>
                      </a:lnTo>
                      <a:lnTo>
                        <a:pt x="90" y="32"/>
                      </a:lnTo>
                      <a:lnTo>
                        <a:pt x="90" y="18"/>
                      </a:lnTo>
                      <a:lnTo>
                        <a:pt x="84" y="10"/>
                      </a:lnTo>
                      <a:lnTo>
                        <a:pt x="69" y="6"/>
                      </a:lnTo>
                      <a:lnTo>
                        <a:pt x="50" y="3"/>
                      </a:lnTo>
                      <a:close/>
                      <a:moveTo>
                        <a:pt x="52" y="0"/>
                      </a:moveTo>
                      <a:lnTo>
                        <a:pt x="71" y="2"/>
                      </a:lnTo>
                      <a:lnTo>
                        <a:pt x="85" y="5"/>
                      </a:lnTo>
                      <a:lnTo>
                        <a:pt x="96" y="10"/>
                      </a:lnTo>
                      <a:lnTo>
                        <a:pt x="96" y="12"/>
                      </a:lnTo>
                      <a:lnTo>
                        <a:pt x="96" y="13"/>
                      </a:lnTo>
                      <a:lnTo>
                        <a:pt x="96" y="16"/>
                      </a:lnTo>
                      <a:lnTo>
                        <a:pt x="94" y="32"/>
                      </a:lnTo>
                      <a:lnTo>
                        <a:pt x="88" y="47"/>
                      </a:lnTo>
                      <a:lnTo>
                        <a:pt x="77" y="57"/>
                      </a:lnTo>
                      <a:lnTo>
                        <a:pt x="64" y="64"/>
                      </a:lnTo>
                      <a:lnTo>
                        <a:pt x="50" y="66"/>
                      </a:lnTo>
                      <a:lnTo>
                        <a:pt x="33" y="63"/>
                      </a:lnTo>
                      <a:lnTo>
                        <a:pt x="20" y="55"/>
                      </a:lnTo>
                      <a:lnTo>
                        <a:pt x="10" y="44"/>
                      </a:lnTo>
                      <a:lnTo>
                        <a:pt x="5" y="28"/>
                      </a:lnTo>
                      <a:lnTo>
                        <a:pt x="5" y="25"/>
                      </a:lnTo>
                      <a:lnTo>
                        <a:pt x="5" y="22"/>
                      </a:lnTo>
                      <a:lnTo>
                        <a:pt x="5" y="19"/>
                      </a:lnTo>
                      <a:lnTo>
                        <a:pt x="5" y="16"/>
                      </a:lnTo>
                      <a:lnTo>
                        <a:pt x="4" y="13"/>
                      </a:lnTo>
                      <a:lnTo>
                        <a:pt x="1" y="13"/>
                      </a:lnTo>
                      <a:lnTo>
                        <a:pt x="0" y="12"/>
                      </a:lnTo>
                      <a:lnTo>
                        <a:pt x="0" y="10"/>
                      </a:lnTo>
                      <a:lnTo>
                        <a:pt x="0" y="8"/>
                      </a:lnTo>
                      <a:lnTo>
                        <a:pt x="1" y="6"/>
                      </a:lnTo>
                      <a:lnTo>
                        <a:pt x="1" y="5"/>
                      </a:lnTo>
                      <a:lnTo>
                        <a:pt x="2" y="3"/>
                      </a:lnTo>
                      <a:lnTo>
                        <a:pt x="16" y="2"/>
                      </a:lnTo>
                      <a:lnTo>
                        <a:pt x="32" y="0"/>
                      </a:lnTo>
                      <a:lnTo>
                        <a:pt x="52" y="0"/>
                      </a:lnTo>
                      <a:close/>
                    </a:path>
                  </a:pathLst>
                </a:custGeom>
                <a:solidFill>
                  <a:srgbClr val="38485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51" name="Freeform 132"/>
                <p:cNvSpPr>
                  <a:spLocks noEditPoints="1"/>
                </p:cNvSpPr>
                <p:nvPr/>
              </p:nvSpPr>
              <p:spPr bwMode="auto">
                <a:xfrm>
                  <a:off x="5141913" y="3400425"/>
                  <a:ext cx="152400" cy="106363"/>
                </a:xfrm>
                <a:custGeom>
                  <a:avLst/>
                  <a:gdLst>
                    <a:gd name="T0" fmla="*/ 45 w 96"/>
                    <a:gd name="T1" fmla="*/ 4 h 67"/>
                    <a:gd name="T2" fmla="*/ 26 w 96"/>
                    <a:gd name="T3" fmla="*/ 6 h 67"/>
                    <a:gd name="T4" fmla="*/ 13 w 96"/>
                    <a:gd name="T5" fmla="*/ 8 h 67"/>
                    <a:gd name="T6" fmla="*/ 6 w 96"/>
                    <a:gd name="T7" fmla="*/ 16 h 67"/>
                    <a:gd name="T8" fmla="*/ 6 w 96"/>
                    <a:gd name="T9" fmla="*/ 30 h 67"/>
                    <a:gd name="T10" fmla="*/ 10 w 96"/>
                    <a:gd name="T11" fmla="*/ 43 h 67"/>
                    <a:gd name="T12" fmla="*/ 19 w 96"/>
                    <a:gd name="T13" fmla="*/ 53 h 67"/>
                    <a:gd name="T14" fmla="*/ 31 w 96"/>
                    <a:gd name="T15" fmla="*/ 61 h 67"/>
                    <a:gd name="T16" fmla="*/ 44 w 96"/>
                    <a:gd name="T17" fmla="*/ 62 h 67"/>
                    <a:gd name="T18" fmla="*/ 58 w 96"/>
                    <a:gd name="T19" fmla="*/ 61 h 67"/>
                    <a:gd name="T20" fmla="*/ 71 w 96"/>
                    <a:gd name="T21" fmla="*/ 53 h 67"/>
                    <a:gd name="T22" fmla="*/ 80 w 96"/>
                    <a:gd name="T23" fmla="*/ 43 h 67"/>
                    <a:gd name="T24" fmla="*/ 83 w 96"/>
                    <a:gd name="T25" fmla="*/ 32 h 67"/>
                    <a:gd name="T26" fmla="*/ 83 w 96"/>
                    <a:gd name="T27" fmla="*/ 23 h 67"/>
                    <a:gd name="T28" fmla="*/ 83 w 96"/>
                    <a:gd name="T29" fmla="*/ 17 h 67"/>
                    <a:gd name="T30" fmla="*/ 80 w 96"/>
                    <a:gd name="T31" fmla="*/ 11 h 67"/>
                    <a:gd name="T32" fmla="*/ 73 w 96"/>
                    <a:gd name="T33" fmla="*/ 7 h 67"/>
                    <a:gd name="T34" fmla="*/ 63 w 96"/>
                    <a:gd name="T35" fmla="*/ 6 h 67"/>
                    <a:gd name="T36" fmla="*/ 45 w 96"/>
                    <a:gd name="T37" fmla="*/ 4 h 67"/>
                    <a:gd name="T38" fmla="*/ 45 w 96"/>
                    <a:gd name="T39" fmla="*/ 0 h 67"/>
                    <a:gd name="T40" fmla="*/ 64 w 96"/>
                    <a:gd name="T41" fmla="*/ 1 h 67"/>
                    <a:gd name="T42" fmla="*/ 80 w 96"/>
                    <a:gd name="T43" fmla="*/ 4 h 67"/>
                    <a:gd name="T44" fmla="*/ 93 w 96"/>
                    <a:gd name="T45" fmla="*/ 6 h 67"/>
                    <a:gd name="T46" fmla="*/ 95 w 96"/>
                    <a:gd name="T47" fmla="*/ 7 h 67"/>
                    <a:gd name="T48" fmla="*/ 96 w 96"/>
                    <a:gd name="T49" fmla="*/ 8 h 67"/>
                    <a:gd name="T50" fmla="*/ 96 w 96"/>
                    <a:gd name="T51" fmla="*/ 10 h 67"/>
                    <a:gd name="T52" fmla="*/ 96 w 96"/>
                    <a:gd name="T53" fmla="*/ 13 h 67"/>
                    <a:gd name="T54" fmla="*/ 96 w 96"/>
                    <a:gd name="T55" fmla="*/ 14 h 67"/>
                    <a:gd name="T56" fmla="*/ 95 w 96"/>
                    <a:gd name="T57" fmla="*/ 16 h 67"/>
                    <a:gd name="T58" fmla="*/ 92 w 96"/>
                    <a:gd name="T59" fmla="*/ 16 h 67"/>
                    <a:gd name="T60" fmla="*/ 90 w 96"/>
                    <a:gd name="T61" fmla="*/ 19 h 67"/>
                    <a:gd name="T62" fmla="*/ 90 w 96"/>
                    <a:gd name="T63" fmla="*/ 20 h 67"/>
                    <a:gd name="T64" fmla="*/ 89 w 96"/>
                    <a:gd name="T65" fmla="*/ 24 h 67"/>
                    <a:gd name="T66" fmla="*/ 89 w 96"/>
                    <a:gd name="T67" fmla="*/ 27 h 67"/>
                    <a:gd name="T68" fmla="*/ 89 w 96"/>
                    <a:gd name="T69" fmla="*/ 30 h 67"/>
                    <a:gd name="T70" fmla="*/ 84 w 96"/>
                    <a:gd name="T71" fmla="*/ 45 h 67"/>
                    <a:gd name="T72" fmla="*/ 74 w 96"/>
                    <a:gd name="T73" fmla="*/ 56 h 67"/>
                    <a:gd name="T74" fmla="*/ 60 w 96"/>
                    <a:gd name="T75" fmla="*/ 64 h 67"/>
                    <a:gd name="T76" fmla="*/ 42 w 96"/>
                    <a:gd name="T77" fmla="*/ 67 h 67"/>
                    <a:gd name="T78" fmla="*/ 29 w 96"/>
                    <a:gd name="T79" fmla="*/ 64 h 67"/>
                    <a:gd name="T80" fmla="*/ 16 w 96"/>
                    <a:gd name="T81" fmla="*/ 56 h 67"/>
                    <a:gd name="T82" fmla="*/ 6 w 96"/>
                    <a:gd name="T83" fmla="*/ 45 h 67"/>
                    <a:gd name="T84" fmla="*/ 0 w 96"/>
                    <a:gd name="T85" fmla="*/ 30 h 67"/>
                    <a:gd name="T86" fmla="*/ 0 w 96"/>
                    <a:gd name="T87" fmla="*/ 14 h 67"/>
                    <a:gd name="T88" fmla="*/ 0 w 96"/>
                    <a:gd name="T89" fmla="*/ 13 h 67"/>
                    <a:gd name="T90" fmla="*/ 0 w 96"/>
                    <a:gd name="T91" fmla="*/ 10 h 67"/>
                    <a:gd name="T92" fmla="*/ 1 w 96"/>
                    <a:gd name="T93" fmla="*/ 8 h 67"/>
                    <a:gd name="T94" fmla="*/ 10 w 96"/>
                    <a:gd name="T95" fmla="*/ 4 h 67"/>
                    <a:gd name="T96" fmla="*/ 26 w 96"/>
                    <a:gd name="T97" fmla="*/ 1 h 67"/>
                    <a:gd name="T98" fmla="*/ 45 w 96"/>
                    <a:gd name="T99" fmla="*/ 0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96" h="67">
                      <a:moveTo>
                        <a:pt x="45" y="4"/>
                      </a:moveTo>
                      <a:lnTo>
                        <a:pt x="26" y="6"/>
                      </a:lnTo>
                      <a:lnTo>
                        <a:pt x="13" y="8"/>
                      </a:lnTo>
                      <a:lnTo>
                        <a:pt x="6" y="16"/>
                      </a:lnTo>
                      <a:lnTo>
                        <a:pt x="6" y="30"/>
                      </a:lnTo>
                      <a:lnTo>
                        <a:pt x="10" y="43"/>
                      </a:lnTo>
                      <a:lnTo>
                        <a:pt x="19" y="53"/>
                      </a:lnTo>
                      <a:lnTo>
                        <a:pt x="31" y="61"/>
                      </a:lnTo>
                      <a:lnTo>
                        <a:pt x="44" y="62"/>
                      </a:lnTo>
                      <a:lnTo>
                        <a:pt x="58" y="61"/>
                      </a:lnTo>
                      <a:lnTo>
                        <a:pt x="71" y="53"/>
                      </a:lnTo>
                      <a:lnTo>
                        <a:pt x="80" y="43"/>
                      </a:lnTo>
                      <a:lnTo>
                        <a:pt x="83" y="32"/>
                      </a:lnTo>
                      <a:lnTo>
                        <a:pt x="83" y="23"/>
                      </a:lnTo>
                      <a:lnTo>
                        <a:pt x="83" y="17"/>
                      </a:lnTo>
                      <a:lnTo>
                        <a:pt x="80" y="11"/>
                      </a:lnTo>
                      <a:lnTo>
                        <a:pt x="73" y="7"/>
                      </a:lnTo>
                      <a:lnTo>
                        <a:pt x="63" y="6"/>
                      </a:lnTo>
                      <a:lnTo>
                        <a:pt x="45" y="4"/>
                      </a:lnTo>
                      <a:close/>
                      <a:moveTo>
                        <a:pt x="45" y="0"/>
                      </a:moveTo>
                      <a:lnTo>
                        <a:pt x="64" y="1"/>
                      </a:lnTo>
                      <a:lnTo>
                        <a:pt x="80" y="4"/>
                      </a:lnTo>
                      <a:lnTo>
                        <a:pt x="93" y="6"/>
                      </a:lnTo>
                      <a:lnTo>
                        <a:pt x="95" y="7"/>
                      </a:lnTo>
                      <a:lnTo>
                        <a:pt x="96" y="8"/>
                      </a:lnTo>
                      <a:lnTo>
                        <a:pt x="96" y="10"/>
                      </a:lnTo>
                      <a:lnTo>
                        <a:pt x="96" y="13"/>
                      </a:lnTo>
                      <a:lnTo>
                        <a:pt x="96" y="14"/>
                      </a:lnTo>
                      <a:lnTo>
                        <a:pt x="95" y="16"/>
                      </a:lnTo>
                      <a:lnTo>
                        <a:pt x="92" y="16"/>
                      </a:lnTo>
                      <a:lnTo>
                        <a:pt x="90" y="19"/>
                      </a:lnTo>
                      <a:lnTo>
                        <a:pt x="90" y="20"/>
                      </a:lnTo>
                      <a:lnTo>
                        <a:pt x="89" y="24"/>
                      </a:lnTo>
                      <a:lnTo>
                        <a:pt x="89" y="27"/>
                      </a:lnTo>
                      <a:lnTo>
                        <a:pt x="89" y="30"/>
                      </a:lnTo>
                      <a:lnTo>
                        <a:pt x="84" y="45"/>
                      </a:lnTo>
                      <a:lnTo>
                        <a:pt x="74" y="56"/>
                      </a:lnTo>
                      <a:lnTo>
                        <a:pt x="60" y="64"/>
                      </a:lnTo>
                      <a:lnTo>
                        <a:pt x="42" y="67"/>
                      </a:lnTo>
                      <a:lnTo>
                        <a:pt x="29" y="64"/>
                      </a:lnTo>
                      <a:lnTo>
                        <a:pt x="16" y="56"/>
                      </a:lnTo>
                      <a:lnTo>
                        <a:pt x="6" y="45"/>
                      </a:lnTo>
                      <a:lnTo>
                        <a:pt x="0" y="30"/>
                      </a:lnTo>
                      <a:lnTo>
                        <a:pt x="0" y="14"/>
                      </a:lnTo>
                      <a:lnTo>
                        <a:pt x="0" y="13"/>
                      </a:lnTo>
                      <a:lnTo>
                        <a:pt x="0" y="10"/>
                      </a:lnTo>
                      <a:lnTo>
                        <a:pt x="1" y="8"/>
                      </a:lnTo>
                      <a:lnTo>
                        <a:pt x="10" y="4"/>
                      </a:lnTo>
                      <a:lnTo>
                        <a:pt x="26" y="1"/>
                      </a:lnTo>
                      <a:lnTo>
                        <a:pt x="45" y="0"/>
                      </a:lnTo>
                      <a:close/>
                    </a:path>
                  </a:pathLst>
                </a:custGeom>
                <a:solidFill>
                  <a:srgbClr val="38485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52" name="Freeform 133"/>
                <p:cNvSpPr>
                  <a:spLocks noEditPoints="1"/>
                </p:cNvSpPr>
                <p:nvPr/>
              </p:nvSpPr>
              <p:spPr bwMode="auto">
                <a:xfrm>
                  <a:off x="4999038" y="3405188"/>
                  <a:ext cx="106363" cy="92075"/>
                </a:xfrm>
                <a:custGeom>
                  <a:avLst/>
                  <a:gdLst>
                    <a:gd name="T0" fmla="*/ 42 w 67"/>
                    <a:gd name="T1" fmla="*/ 55 h 58"/>
                    <a:gd name="T2" fmla="*/ 41 w 67"/>
                    <a:gd name="T3" fmla="*/ 55 h 58"/>
                    <a:gd name="T4" fmla="*/ 41 w 67"/>
                    <a:gd name="T5" fmla="*/ 55 h 58"/>
                    <a:gd name="T6" fmla="*/ 42 w 67"/>
                    <a:gd name="T7" fmla="*/ 55 h 58"/>
                    <a:gd name="T8" fmla="*/ 46 w 67"/>
                    <a:gd name="T9" fmla="*/ 52 h 58"/>
                    <a:gd name="T10" fmla="*/ 43 w 67"/>
                    <a:gd name="T11" fmla="*/ 53 h 58"/>
                    <a:gd name="T12" fmla="*/ 42 w 67"/>
                    <a:gd name="T13" fmla="*/ 55 h 58"/>
                    <a:gd name="T14" fmla="*/ 46 w 67"/>
                    <a:gd name="T15" fmla="*/ 52 h 58"/>
                    <a:gd name="T16" fmla="*/ 55 w 67"/>
                    <a:gd name="T17" fmla="*/ 46 h 58"/>
                    <a:gd name="T18" fmla="*/ 52 w 67"/>
                    <a:gd name="T19" fmla="*/ 49 h 58"/>
                    <a:gd name="T20" fmla="*/ 46 w 67"/>
                    <a:gd name="T21" fmla="*/ 52 h 58"/>
                    <a:gd name="T22" fmla="*/ 55 w 67"/>
                    <a:gd name="T23" fmla="*/ 46 h 58"/>
                    <a:gd name="T24" fmla="*/ 59 w 67"/>
                    <a:gd name="T25" fmla="*/ 40 h 58"/>
                    <a:gd name="T26" fmla="*/ 58 w 67"/>
                    <a:gd name="T27" fmla="*/ 43 h 58"/>
                    <a:gd name="T28" fmla="*/ 55 w 67"/>
                    <a:gd name="T29" fmla="*/ 46 h 58"/>
                    <a:gd name="T30" fmla="*/ 59 w 67"/>
                    <a:gd name="T31" fmla="*/ 40 h 58"/>
                    <a:gd name="T32" fmla="*/ 62 w 67"/>
                    <a:gd name="T33" fmla="*/ 37 h 58"/>
                    <a:gd name="T34" fmla="*/ 62 w 67"/>
                    <a:gd name="T35" fmla="*/ 39 h 58"/>
                    <a:gd name="T36" fmla="*/ 59 w 67"/>
                    <a:gd name="T37" fmla="*/ 40 h 58"/>
                    <a:gd name="T38" fmla="*/ 62 w 67"/>
                    <a:gd name="T39" fmla="*/ 37 h 58"/>
                    <a:gd name="T40" fmla="*/ 67 w 67"/>
                    <a:gd name="T41" fmla="*/ 27 h 58"/>
                    <a:gd name="T42" fmla="*/ 64 w 67"/>
                    <a:gd name="T43" fmla="*/ 35 h 58"/>
                    <a:gd name="T44" fmla="*/ 62 w 67"/>
                    <a:gd name="T45" fmla="*/ 37 h 58"/>
                    <a:gd name="T46" fmla="*/ 67 w 67"/>
                    <a:gd name="T47" fmla="*/ 27 h 58"/>
                    <a:gd name="T48" fmla="*/ 67 w 67"/>
                    <a:gd name="T49" fmla="*/ 26 h 58"/>
                    <a:gd name="T50" fmla="*/ 67 w 67"/>
                    <a:gd name="T51" fmla="*/ 27 h 58"/>
                    <a:gd name="T52" fmla="*/ 67 w 67"/>
                    <a:gd name="T53" fmla="*/ 26 h 58"/>
                    <a:gd name="T54" fmla="*/ 67 w 67"/>
                    <a:gd name="T55" fmla="*/ 26 h 58"/>
                    <a:gd name="T56" fmla="*/ 42 w 67"/>
                    <a:gd name="T57" fmla="*/ 0 h 58"/>
                    <a:gd name="T58" fmla="*/ 54 w 67"/>
                    <a:gd name="T59" fmla="*/ 3 h 58"/>
                    <a:gd name="T60" fmla="*/ 62 w 67"/>
                    <a:gd name="T61" fmla="*/ 7 h 58"/>
                    <a:gd name="T62" fmla="*/ 67 w 67"/>
                    <a:gd name="T63" fmla="*/ 13 h 58"/>
                    <a:gd name="T64" fmla="*/ 67 w 67"/>
                    <a:gd name="T65" fmla="*/ 24 h 58"/>
                    <a:gd name="T66" fmla="*/ 67 w 67"/>
                    <a:gd name="T67" fmla="*/ 26 h 58"/>
                    <a:gd name="T68" fmla="*/ 46 w 67"/>
                    <a:gd name="T69" fmla="*/ 48 h 58"/>
                    <a:gd name="T70" fmla="*/ 41 w 67"/>
                    <a:gd name="T71" fmla="*/ 55 h 58"/>
                    <a:gd name="T72" fmla="*/ 27 w 67"/>
                    <a:gd name="T73" fmla="*/ 58 h 58"/>
                    <a:gd name="T74" fmla="*/ 26 w 67"/>
                    <a:gd name="T75" fmla="*/ 58 h 58"/>
                    <a:gd name="T76" fmla="*/ 11 w 67"/>
                    <a:gd name="T77" fmla="*/ 55 h 58"/>
                    <a:gd name="T78" fmla="*/ 0 w 67"/>
                    <a:gd name="T79" fmla="*/ 48 h 58"/>
                    <a:gd name="T80" fmla="*/ 14 w 67"/>
                    <a:gd name="T81" fmla="*/ 32 h 58"/>
                    <a:gd name="T82" fmla="*/ 42 w 67"/>
                    <a:gd name="T83" fmla="*/ 0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67" h="58">
                      <a:moveTo>
                        <a:pt x="42" y="55"/>
                      </a:moveTo>
                      <a:lnTo>
                        <a:pt x="41" y="55"/>
                      </a:lnTo>
                      <a:lnTo>
                        <a:pt x="41" y="55"/>
                      </a:lnTo>
                      <a:lnTo>
                        <a:pt x="42" y="55"/>
                      </a:lnTo>
                      <a:close/>
                      <a:moveTo>
                        <a:pt x="46" y="52"/>
                      </a:moveTo>
                      <a:lnTo>
                        <a:pt x="43" y="53"/>
                      </a:lnTo>
                      <a:lnTo>
                        <a:pt x="42" y="55"/>
                      </a:lnTo>
                      <a:lnTo>
                        <a:pt x="46" y="52"/>
                      </a:lnTo>
                      <a:close/>
                      <a:moveTo>
                        <a:pt x="55" y="46"/>
                      </a:moveTo>
                      <a:lnTo>
                        <a:pt x="52" y="49"/>
                      </a:lnTo>
                      <a:lnTo>
                        <a:pt x="46" y="52"/>
                      </a:lnTo>
                      <a:lnTo>
                        <a:pt x="55" y="46"/>
                      </a:lnTo>
                      <a:close/>
                      <a:moveTo>
                        <a:pt x="59" y="40"/>
                      </a:moveTo>
                      <a:lnTo>
                        <a:pt x="58" y="43"/>
                      </a:lnTo>
                      <a:lnTo>
                        <a:pt x="55" y="46"/>
                      </a:lnTo>
                      <a:lnTo>
                        <a:pt x="59" y="40"/>
                      </a:lnTo>
                      <a:close/>
                      <a:moveTo>
                        <a:pt x="62" y="37"/>
                      </a:moveTo>
                      <a:lnTo>
                        <a:pt x="62" y="39"/>
                      </a:lnTo>
                      <a:lnTo>
                        <a:pt x="59" y="40"/>
                      </a:lnTo>
                      <a:lnTo>
                        <a:pt x="62" y="37"/>
                      </a:lnTo>
                      <a:close/>
                      <a:moveTo>
                        <a:pt x="67" y="27"/>
                      </a:moveTo>
                      <a:lnTo>
                        <a:pt x="64" y="35"/>
                      </a:lnTo>
                      <a:lnTo>
                        <a:pt x="62" y="37"/>
                      </a:lnTo>
                      <a:lnTo>
                        <a:pt x="67" y="27"/>
                      </a:lnTo>
                      <a:close/>
                      <a:moveTo>
                        <a:pt x="67" y="26"/>
                      </a:moveTo>
                      <a:lnTo>
                        <a:pt x="67" y="27"/>
                      </a:lnTo>
                      <a:lnTo>
                        <a:pt x="67" y="26"/>
                      </a:lnTo>
                      <a:lnTo>
                        <a:pt x="67" y="26"/>
                      </a:lnTo>
                      <a:close/>
                      <a:moveTo>
                        <a:pt x="42" y="0"/>
                      </a:moveTo>
                      <a:lnTo>
                        <a:pt x="54" y="3"/>
                      </a:lnTo>
                      <a:lnTo>
                        <a:pt x="62" y="7"/>
                      </a:lnTo>
                      <a:lnTo>
                        <a:pt x="67" y="13"/>
                      </a:lnTo>
                      <a:lnTo>
                        <a:pt x="67" y="24"/>
                      </a:lnTo>
                      <a:lnTo>
                        <a:pt x="67" y="26"/>
                      </a:lnTo>
                      <a:lnTo>
                        <a:pt x="46" y="48"/>
                      </a:lnTo>
                      <a:lnTo>
                        <a:pt x="41" y="55"/>
                      </a:lnTo>
                      <a:lnTo>
                        <a:pt x="27" y="58"/>
                      </a:lnTo>
                      <a:lnTo>
                        <a:pt x="26" y="58"/>
                      </a:lnTo>
                      <a:lnTo>
                        <a:pt x="11" y="55"/>
                      </a:lnTo>
                      <a:lnTo>
                        <a:pt x="0" y="48"/>
                      </a:lnTo>
                      <a:lnTo>
                        <a:pt x="14" y="32"/>
                      </a:lnTo>
                      <a:lnTo>
                        <a:pt x="42" y="0"/>
                      </a:lnTo>
                      <a:close/>
                    </a:path>
                  </a:pathLst>
                </a:custGeom>
                <a:solidFill>
                  <a:srgbClr val="DFDEC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53" name="Freeform 134"/>
                <p:cNvSpPr>
                  <a:spLocks noEditPoints="1"/>
                </p:cNvSpPr>
                <p:nvPr/>
              </p:nvSpPr>
              <p:spPr bwMode="auto">
                <a:xfrm>
                  <a:off x="4983163" y="3455988"/>
                  <a:ext cx="107950" cy="41275"/>
                </a:xfrm>
                <a:custGeom>
                  <a:avLst/>
                  <a:gdLst>
                    <a:gd name="T0" fmla="*/ 20 w 68"/>
                    <a:gd name="T1" fmla="*/ 23 h 26"/>
                    <a:gd name="T2" fmla="*/ 36 w 68"/>
                    <a:gd name="T3" fmla="*/ 26 h 26"/>
                    <a:gd name="T4" fmla="*/ 21 w 68"/>
                    <a:gd name="T5" fmla="*/ 23 h 26"/>
                    <a:gd name="T6" fmla="*/ 20 w 68"/>
                    <a:gd name="T7" fmla="*/ 23 h 26"/>
                    <a:gd name="T8" fmla="*/ 16 w 68"/>
                    <a:gd name="T9" fmla="*/ 20 h 26"/>
                    <a:gd name="T10" fmla="*/ 20 w 68"/>
                    <a:gd name="T11" fmla="*/ 23 h 26"/>
                    <a:gd name="T12" fmla="*/ 19 w 68"/>
                    <a:gd name="T13" fmla="*/ 21 h 26"/>
                    <a:gd name="T14" fmla="*/ 16 w 68"/>
                    <a:gd name="T15" fmla="*/ 20 h 26"/>
                    <a:gd name="T16" fmla="*/ 7 w 68"/>
                    <a:gd name="T17" fmla="*/ 13 h 26"/>
                    <a:gd name="T18" fmla="*/ 16 w 68"/>
                    <a:gd name="T19" fmla="*/ 20 h 26"/>
                    <a:gd name="T20" fmla="*/ 10 w 68"/>
                    <a:gd name="T21" fmla="*/ 16 h 26"/>
                    <a:gd name="T22" fmla="*/ 10 w 68"/>
                    <a:gd name="T23" fmla="*/ 16 h 26"/>
                    <a:gd name="T24" fmla="*/ 7 w 68"/>
                    <a:gd name="T25" fmla="*/ 13 h 26"/>
                    <a:gd name="T26" fmla="*/ 5 w 68"/>
                    <a:gd name="T27" fmla="*/ 13 h 26"/>
                    <a:gd name="T28" fmla="*/ 7 w 68"/>
                    <a:gd name="T29" fmla="*/ 13 h 26"/>
                    <a:gd name="T30" fmla="*/ 7 w 68"/>
                    <a:gd name="T31" fmla="*/ 13 h 26"/>
                    <a:gd name="T32" fmla="*/ 5 w 68"/>
                    <a:gd name="T33" fmla="*/ 13 h 26"/>
                    <a:gd name="T34" fmla="*/ 68 w 68"/>
                    <a:gd name="T35" fmla="*/ 11 h 26"/>
                    <a:gd name="T36" fmla="*/ 53 w 68"/>
                    <a:gd name="T37" fmla="*/ 21 h 26"/>
                    <a:gd name="T38" fmla="*/ 37 w 68"/>
                    <a:gd name="T39" fmla="*/ 26 h 26"/>
                    <a:gd name="T40" fmla="*/ 36 w 68"/>
                    <a:gd name="T41" fmla="*/ 26 h 26"/>
                    <a:gd name="T42" fmla="*/ 36 w 68"/>
                    <a:gd name="T43" fmla="*/ 26 h 26"/>
                    <a:gd name="T44" fmla="*/ 36 w 68"/>
                    <a:gd name="T45" fmla="*/ 26 h 26"/>
                    <a:gd name="T46" fmla="*/ 37 w 68"/>
                    <a:gd name="T47" fmla="*/ 26 h 26"/>
                    <a:gd name="T48" fmla="*/ 53 w 68"/>
                    <a:gd name="T49" fmla="*/ 21 h 26"/>
                    <a:gd name="T50" fmla="*/ 68 w 68"/>
                    <a:gd name="T51" fmla="*/ 11 h 26"/>
                    <a:gd name="T52" fmla="*/ 0 w 68"/>
                    <a:gd name="T53" fmla="*/ 0 h 26"/>
                    <a:gd name="T54" fmla="*/ 5 w 68"/>
                    <a:gd name="T55" fmla="*/ 13 h 26"/>
                    <a:gd name="T56" fmla="*/ 5 w 68"/>
                    <a:gd name="T57" fmla="*/ 11 h 26"/>
                    <a:gd name="T58" fmla="*/ 1 w 68"/>
                    <a:gd name="T59" fmla="*/ 5 h 26"/>
                    <a:gd name="T60" fmla="*/ 0 w 68"/>
                    <a:gd name="T61" fmla="*/ 0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68" h="26">
                      <a:moveTo>
                        <a:pt x="20" y="23"/>
                      </a:moveTo>
                      <a:lnTo>
                        <a:pt x="36" y="26"/>
                      </a:lnTo>
                      <a:lnTo>
                        <a:pt x="21" y="23"/>
                      </a:lnTo>
                      <a:lnTo>
                        <a:pt x="20" y="23"/>
                      </a:lnTo>
                      <a:close/>
                      <a:moveTo>
                        <a:pt x="16" y="20"/>
                      </a:moveTo>
                      <a:lnTo>
                        <a:pt x="20" y="23"/>
                      </a:lnTo>
                      <a:lnTo>
                        <a:pt x="19" y="21"/>
                      </a:lnTo>
                      <a:lnTo>
                        <a:pt x="16" y="20"/>
                      </a:lnTo>
                      <a:close/>
                      <a:moveTo>
                        <a:pt x="7" y="13"/>
                      </a:moveTo>
                      <a:lnTo>
                        <a:pt x="16" y="20"/>
                      </a:lnTo>
                      <a:lnTo>
                        <a:pt x="10" y="16"/>
                      </a:lnTo>
                      <a:lnTo>
                        <a:pt x="10" y="16"/>
                      </a:lnTo>
                      <a:lnTo>
                        <a:pt x="7" y="13"/>
                      </a:lnTo>
                      <a:close/>
                      <a:moveTo>
                        <a:pt x="5" y="13"/>
                      </a:moveTo>
                      <a:lnTo>
                        <a:pt x="7" y="13"/>
                      </a:lnTo>
                      <a:lnTo>
                        <a:pt x="7" y="13"/>
                      </a:lnTo>
                      <a:lnTo>
                        <a:pt x="5" y="13"/>
                      </a:lnTo>
                      <a:close/>
                      <a:moveTo>
                        <a:pt x="68" y="11"/>
                      </a:moveTo>
                      <a:lnTo>
                        <a:pt x="53" y="21"/>
                      </a:lnTo>
                      <a:lnTo>
                        <a:pt x="37" y="26"/>
                      </a:lnTo>
                      <a:lnTo>
                        <a:pt x="36" y="26"/>
                      </a:lnTo>
                      <a:lnTo>
                        <a:pt x="36" y="26"/>
                      </a:lnTo>
                      <a:lnTo>
                        <a:pt x="36" y="26"/>
                      </a:lnTo>
                      <a:lnTo>
                        <a:pt x="37" y="26"/>
                      </a:lnTo>
                      <a:lnTo>
                        <a:pt x="53" y="21"/>
                      </a:lnTo>
                      <a:lnTo>
                        <a:pt x="68" y="11"/>
                      </a:lnTo>
                      <a:close/>
                      <a:moveTo>
                        <a:pt x="0" y="0"/>
                      </a:moveTo>
                      <a:lnTo>
                        <a:pt x="5" y="13"/>
                      </a:lnTo>
                      <a:lnTo>
                        <a:pt x="5" y="11"/>
                      </a:lnTo>
                      <a:lnTo>
                        <a:pt x="1" y="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06678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54" name="Freeform 135"/>
                <p:cNvSpPr>
                  <a:spLocks noEditPoints="1"/>
                </p:cNvSpPr>
                <p:nvPr/>
              </p:nvSpPr>
              <p:spPr bwMode="auto">
                <a:xfrm>
                  <a:off x="5172076" y="3406775"/>
                  <a:ext cx="101600" cy="92075"/>
                </a:xfrm>
                <a:custGeom>
                  <a:avLst/>
                  <a:gdLst>
                    <a:gd name="T0" fmla="*/ 33 w 64"/>
                    <a:gd name="T1" fmla="*/ 0 h 58"/>
                    <a:gd name="T2" fmla="*/ 44 w 64"/>
                    <a:gd name="T3" fmla="*/ 2 h 58"/>
                    <a:gd name="T4" fmla="*/ 55 w 64"/>
                    <a:gd name="T5" fmla="*/ 4 h 58"/>
                    <a:gd name="T6" fmla="*/ 61 w 64"/>
                    <a:gd name="T7" fmla="*/ 9 h 58"/>
                    <a:gd name="T8" fmla="*/ 62 w 64"/>
                    <a:gd name="T9" fmla="*/ 12 h 58"/>
                    <a:gd name="T10" fmla="*/ 64 w 64"/>
                    <a:gd name="T11" fmla="*/ 16 h 58"/>
                    <a:gd name="T12" fmla="*/ 64 w 64"/>
                    <a:gd name="T13" fmla="*/ 20 h 58"/>
                    <a:gd name="T14" fmla="*/ 38 w 64"/>
                    <a:gd name="T15" fmla="*/ 57 h 58"/>
                    <a:gd name="T16" fmla="*/ 32 w 64"/>
                    <a:gd name="T17" fmla="*/ 58 h 58"/>
                    <a:gd name="T18" fmla="*/ 26 w 64"/>
                    <a:gd name="T19" fmla="*/ 58 h 58"/>
                    <a:gd name="T20" fmla="*/ 25 w 64"/>
                    <a:gd name="T21" fmla="*/ 58 h 58"/>
                    <a:gd name="T22" fmla="*/ 12 w 64"/>
                    <a:gd name="T23" fmla="*/ 57 h 58"/>
                    <a:gd name="T24" fmla="*/ 0 w 64"/>
                    <a:gd name="T25" fmla="*/ 49 h 58"/>
                    <a:gd name="T26" fmla="*/ 19 w 64"/>
                    <a:gd name="T27" fmla="*/ 22 h 58"/>
                    <a:gd name="T28" fmla="*/ 28 w 64"/>
                    <a:gd name="T29" fmla="*/ 10 h 58"/>
                    <a:gd name="T30" fmla="*/ 33 w 64"/>
                    <a:gd name="T31" fmla="*/ 0 h 58"/>
                    <a:gd name="T32" fmla="*/ 26 w 64"/>
                    <a:gd name="T33" fmla="*/ 0 h 58"/>
                    <a:gd name="T34" fmla="*/ 33 w 64"/>
                    <a:gd name="T35" fmla="*/ 0 h 58"/>
                    <a:gd name="T36" fmla="*/ 33 w 64"/>
                    <a:gd name="T37" fmla="*/ 0 h 58"/>
                    <a:gd name="T38" fmla="*/ 26 w 64"/>
                    <a:gd name="T39" fmla="*/ 0 h 58"/>
                    <a:gd name="T40" fmla="*/ 23 w 64"/>
                    <a:gd name="T41" fmla="*/ 0 h 58"/>
                    <a:gd name="T42" fmla="*/ 26 w 64"/>
                    <a:gd name="T43" fmla="*/ 0 h 58"/>
                    <a:gd name="T44" fmla="*/ 26 w 64"/>
                    <a:gd name="T45" fmla="*/ 0 h 58"/>
                    <a:gd name="T46" fmla="*/ 26 w 64"/>
                    <a:gd name="T47" fmla="*/ 0 h 58"/>
                    <a:gd name="T48" fmla="*/ 23 w 64"/>
                    <a:gd name="T49" fmla="*/ 0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4" h="58">
                      <a:moveTo>
                        <a:pt x="33" y="0"/>
                      </a:moveTo>
                      <a:lnTo>
                        <a:pt x="44" y="2"/>
                      </a:lnTo>
                      <a:lnTo>
                        <a:pt x="55" y="4"/>
                      </a:lnTo>
                      <a:lnTo>
                        <a:pt x="61" y="9"/>
                      </a:lnTo>
                      <a:lnTo>
                        <a:pt x="62" y="12"/>
                      </a:lnTo>
                      <a:lnTo>
                        <a:pt x="64" y="16"/>
                      </a:lnTo>
                      <a:lnTo>
                        <a:pt x="64" y="20"/>
                      </a:lnTo>
                      <a:lnTo>
                        <a:pt x="38" y="57"/>
                      </a:lnTo>
                      <a:lnTo>
                        <a:pt x="32" y="58"/>
                      </a:lnTo>
                      <a:lnTo>
                        <a:pt x="26" y="58"/>
                      </a:lnTo>
                      <a:lnTo>
                        <a:pt x="25" y="58"/>
                      </a:lnTo>
                      <a:lnTo>
                        <a:pt x="12" y="57"/>
                      </a:lnTo>
                      <a:lnTo>
                        <a:pt x="0" y="49"/>
                      </a:lnTo>
                      <a:lnTo>
                        <a:pt x="19" y="22"/>
                      </a:lnTo>
                      <a:lnTo>
                        <a:pt x="28" y="10"/>
                      </a:lnTo>
                      <a:lnTo>
                        <a:pt x="33" y="0"/>
                      </a:lnTo>
                      <a:close/>
                      <a:moveTo>
                        <a:pt x="26" y="0"/>
                      </a:moveTo>
                      <a:lnTo>
                        <a:pt x="33" y="0"/>
                      </a:lnTo>
                      <a:lnTo>
                        <a:pt x="33" y="0"/>
                      </a:lnTo>
                      <a:lnTo>
                        <a:pt x="26" y="0"/>
                      </a:lnTo>
                      <a:close/>
                      <a:moveTo>
                        <a:pt x="23" y="0"/>
                      </a:move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3" y="0"/>
                      </a:lnTo>
                      <a:close/>
                    </a:path>
                  </a:pathLst>
                </a:custGeom>
                <a:solidFill>
                  <a:srgbClr val="DFDEC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55" name="Freeform 136"/>
                <p:cNvSpPr>
                  <a:spLocks/>
                </p:cNvSpPr>
                <p:nvPr/>
              </p:nvSpPr>
              <p:spPr bwMode="auto">
                <a:xfrm>
                  <a:off x="5148263" y="3406775"/>
                  <a:ext cx="120650" cy="31750"/>
                </a:xfrm>
                <a:custGeom>
                  <a:avLst/>
                  <a:gdLst>
                    <a:gd name="T0" fmla="*/ 38 w 76"/>
                    <a:gd name="T1" fmla="*/ 0 h 20"/>
                    <a:gd name="T2" fmla="*/ 41 w 76"/>
                    <a:gd name="T3" fmla="*/ 0 h 20"/>
                    <a:gd name="T4" fmla="*/ 59 w 76"/>
                    <a:gd name="T5" fmla="*/ 2 h 20"/>
                    <a:gd name="T6" fmla="*/ 70 w 76"/>
                    <a:gd name="T7" fmla="*/ 4 h 20"/>
                    <a:gd name="T8" fmla="*/ 76 w 76"/>
                    <a:gd name="T9" fmla="*/ 9 h 20"/>
                    <a:gd name="T10" fmla="*/ 70 w 76"/>
                    <a:gd name="T11" fmla="*/ 4 h 20"/>
                    <a:gd name="T12" fmla="*/ 59 w 76"/>
                    <a:gd name="T13" fmla="*/ 2 h 20"/>
                    <a:gd name="T14" fmla="*/ 41 w 76"/>
                    <a:gd name="T15" fmla="*/ 0 h 20"/>
                    <a:gd name="T16" fmla="*/ 38 w 76"/>
                    <a:gd name="T17" fmla="*/ 0 h 20"/>
                    <a:gd name="T18" fmla="*/ 38 w 76"/>
                    <a:gd name="T19" fmla="*/ 0 h 20"/>
                    <a:gd name="T20" fmla="*/ 21 w 76"/>
                    <a:gd name="T21" fmla="*/ 2 h 20"/>
                    <a:gd name="T22" fmla="*/ 8 w 76"/>
                    <a:gd name="T23" fmla="*/ 6 h 20"/>
                    <a:gd name="T24" fmla="*/ 2 w 76"/>
                    <a:gd name="T25" fmla="*/ 12 h 20"/>
                    <a:gd name="T26" fmla="*/ 2 w 76"/>
                    <a:gd name="T27" fmla="*/ 16 h 20"/>
                    <a:gd name="T28" fmla="*/ 0 w 76"/>
                    <a:gd name="T29" fmla="*/ 20 h 20"/>
                    <a:gd name="T30" fmla="*/ 2 w 76"/>
                    <a:gd name="T31" fmla="*/ 16 h 20"/>
                    <a:gd name="T32" fmla="*/ 2 w 76"/>
                    <a:gd name="T33" fmla="*/ 12 h 20"/>
                    <a:gd name="T34" fmla="*/ 8 w 76"/>
                    <a:gd name="T35" fmla="*/ 6 h 20"/>
                    <a:gd name="T36" fmla="*/ 21 w 76"/>
                    <a:gd name="T37" fmla="*/ 2 h 20"/>
                    <a:gd name="T38" fmla="*/ 38 w 76"/>
                    <a:gd name="T39" fmla="*/ 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76" h="20">
                      <a:moveTo>
                        <a:pt x="38" y="0"/>
                      </a:moveTo>
                      <a:lnTo>
                        <a:pt x="41" y="0"/>
                      </a:lnTo>
                      <a:lnTo>
                        <a:pt x="59" y="2"/>
                      </a:lnTo>
                      <a:lnTo>
                        <a:pt x="70" y="4"/>
                      </a:lnTo>
                      <a:lnTo>
                        <a:pt x="76" y="9"/>
                      </a:lnTo>
                      <a:lnTo>
                        <a:pt x="70" y="4"/>
                      </a:lnTo>
                      <a:lnTo>
                        <a:pt x="59" y="2"/>
                      </a:lnTo>
                      <a:lnTo>
                        <a:pt x="41" y="0"/>
                      </a:lnTo>
                      <a:lnTo>
                        <a:pt x="38" y="0"/>
                      </a:lnTo>
                      <a:lnTo>
                        <a:pt x="38" y="0"/>
                      </a:lnTo>
                      <a:lnTo>
                        <a:pt x="21" y="2"/>
                      </a:lnTo>
                      <a:lnTo>
                        <a:pt x="8" y="6"/>
                      </a:lnTo>
                      <a:lnTo>
                        <a:pt x="2" y="12"/>
                      </a:lnTo>
                      <a:lnTo>
                        <a:pt x="2" y="16"/>
                      </a:lnTo>
                      <a:lnTo>
                        <a:pt x="0" y="20"/>
                      </a:lnTo>
                      <a:lnTo>
                        <a:pt x="2" y="16"/>
                      </a:lnTo>
                      <a:lnTo>
                        <a:pt x="2" y="12"/>
                      </a:lnTo>
                      <a:lnTo>
                        <a:pt x="8" y="6"/>
                      </a:lnTo>
                      <a:lnTo>
                        <a:pt x="21" y="2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406678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56" name="Freeform 137"/>
                <p:cNvSpPr>
                  <a:spLocks/>
                </p:cNvSpPr>
                <p:nvPr/>
              </p:nvSpPr>
              <p:spPr bwMode="auto">
                <a:xfrm>
                  <a:off x="5064126" y="3446463"/>
                  <a:ext cx="41275" cy="46038"/>
                </a:xfrm>
                <a:custGeom>
                  <a:avLst/>
                  <a:gdLst>
                    <a:gd name="T0" fmla="*/ 26 w 26"/>
                    <a:gd name="T1" fmla="*/ 0 h 29"/>
                    <a:gd name="T2" fmla="*/ 21 w 26"/>
                    <a:gd name="T3" fmla="*/ 13 h 29"/>
                    <a:gd name="T4" fmla="*/ 11 w 26"/>
                    <a:gd name="T5" fmla="*/ 23 h 29"/>
                    <a:gd name="T6" fmla="*/ 0 w 26"/>
                    <a:gd name="T7" fmla="*/ 29 h 29"/>
                    <a:gd name="T8" fmla="*/ 5 w 26"/>
                    <a:gd name="T9" fmla="*/ 22 h 29"/>
                    <a:gd name="T10" fmla="*/ 26 w 26"/>
                    <a:gd name="T11" fmla="*/ 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6" h="29">
                      <a:moveTo>
                        <a:pt x="26" y="0"/>
                      </a:moveTo>
                      <a:lnTo>
                        <a:pt x="21" y="13"/>
                      </a:lnTo>
                      <a:lnTo>
                        <a:pt x="11" y="23"/>
                      </a:lnTo>
                      <a:lnTo>
                        <a:pt x="0" y="29"/>
                      </a:lnTo>
                      <a:lnTo>
                        <a:pt x="5" y="22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solidFill>
                  <a:srgbClr val="C3D8C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57" name="Freeform 138"/>
                <p:cNvSpPr>
                  <a:spLocks noEditPoints="1"/>
                </p:cNvSpPr>
                <p:nvPr/>
              </p:nvSpPr>
              <p:spPr bwMode="auto">
                <a:xfrm>
                  <a:off x="4979988" y="3441700"/>
                  <a:ext cx="3175" cy="14288"/>
                </a:xfrm>
                <a:custGeom>
                  <a:avLst/>
                  <a:gdLst>
                    <a:gd name="T0" fmla="*/ 0 w 2"/>
                    <a:gd name="T1" fmla="*/ 1 h 9"/>
                    <a:gd name="T2" fmla="*/ 2 w 2"/>
                    <a:gd name="T3" fmla="*/ 9 h 9"/>
                    <a:gd name="T4" fmla="*/ 0 w 2"/>
                    <a:gd name="T5" fmla="*/ 1 h 9"/>
                    <a:gd name="T6" fmla="*/ 0 w 2"/>
                    <a:gd name="T7" fmla="*/ 1 h 9"/>
                    <a:gd name="T8" fmla="*/ 0 w 2"/>
                    <a:gd name="T9" fmla="*/ 0 h 9"/>
                    <a:gd name="T10" fmla="*/ 0 w 2"/>
                    <a:gd name="T11" fmla="*/ 1 h 9"/>
                    <a:gd name="T12" fmla="*/ 0 w 2"/>
                    <a:gd name="T13" fmla="*/ 1 h 9"/>
                    <a:gd name="T14" fmla="*/ 0 w 2"/>
                    <a:gd name="T15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" h="9">
                      <a:moveTo>
                        <a:pt x="0" y="1"/>
                      </a:moveTo>
                      <a:lnTo>
                        <a:pt x="2" y="9"/>
                      </a:lnTo>
                      <a:lnTo>
                        <a:pt x="0" y="1"/>
                      </a:lnTo>
                      <a:lnTo>
                        <a:pt x="0" y="1"/>
                      </a:lnTo>
                      <a:close/>
                      <a:moveTo>
                        <a:pt x="0" y="0"/>
                      </a:move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31465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58" name="Freeform 139"/>
                <p:cNvSpPr>
                  <a:spLocks/>
                </p:cNvSpPr>
                <p:nvPr/>
              </p:nvSpPr>
              <p:spPr bwMode="auto">
                <a:xfrm>
                  <a:off x="4991101" y="3402013"/>
                  <a:ext cx="74613" cy="9525"/>
                </a:xfrm>
                <a:custGeom>
                  <a:avLst/>
                  <a:gdLst>
                    <a:gd name="T0" fmla="*/ 28 w 47"/>
                    <a:gd name="T1" fmla="*/ 0 h 6"/>
                    <a:gd name="T2" fmla="*/ 28 w 47"/>
                    <a:gd name="T3" fmla="*/ 0 h 6"/>
                    <a:gd name="T4" fmla="*/ 32 w 47"/>
                    <a:gd name="T5" fmla="*/ 0 h 6"/>
                    <a:gd name="T6" fmla="*/ 40 w 47"/>
                    <a:gd name="T7" fmla="*/ 0 h 6"/>
                    <a:gd name="T8" fmla="*/ 46 w 47"/>
                    <a:gd name="T9" fmla="*/ 2 h 6"/>
                    <a:gd name="T10" fmla="*/ 47 w 47"/>
                    <a:gd name="T11" fmla="*/ 2 h 6"/>
                    <a:gd name="T12" fmla="*/ 47 w 47"/>
                    <a:gd name="T13" fmla="*/ 2 h 6"/>
                    <a:gd name="T14" fmla="*/ 40 w 47"/>
                    <a:gd name="T15" fmla="*/ 0 h 6"/>
                    <a:gd name="T16" fmla="*/ 32 w 47"/>
                    <a:gd name="T17" fmla="*/ 0 h 6"/>
                    <a:gd name="T18" fmla="*/ 28 w 47"/>
                    <a:gd name="T19" fmla="*/ 0 h 6"/>
                    <a:gd name="T20" fmla="*/ 15 w 47"/>
                    <a:gd name="T21" fmla="*/ 2 h 6"/>
                    <a:gd name="T22" fmla="*/ 6 w 47"/>
                    <a:gd name="T23" fmla="*/ 3 h 6"/>
                    <a:gd name="T24" fmla="*/ 0 w 47"/>
                    <a:gd name="T25" fmla="*/ 6 h 6"/>
                    <a:gd name="T26" fmla="*/ 6 w 47"/>
                    <a:gd name="T27" fmla="*/ 3 h 6"/>
                    <a:gd name="T28" fmla="*/ 15 w 47"/>
                    <a:gd name="T29" fmla="*/ 2 h 6"/>
                    <a:gd name="T30" fmla="*/ 28 w 47"/>
                    <a:gd name="T31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47" h="6">
                      <a:moveTo>
                        <a:pt x="28" y="0"/>
                      </a:moveTo>
                      <a:lnTo>
                        <a:pt x="28" y="0"/>
                      </a:lnTo>
                      <a:lnTo>
                        <a:pt x="32" y="0"/>
                      </a:lnTo>
                      <a:lnTo>
                        <a:pt x="40" y="0"/>
                      </a:lnTo>
                      <a:lnTo>
                        <a:pt x="46" y="2"/>
                      </a:lnTo>
                      <a:lnTo>
                        <a:pt x="47" y="2"/>
                      </a:lnTo>
                      <a:lnTo>
                        <a:pt x="47" y="2"/>
                      </a:lnTo>
                      <a:lnTo>
                        <a:pt x="40" y="0"/>
                      </a:lnTo>
                      <a:lnTo>
                        <a:pt x="32" y="0"/>
                      </a:lnTo>
                      <a:lnTo>
                        <a:pt x="28" y="0"/>
                      </a:lnTo>
                      <a:lnTo>
                        <a:pt x="15" y="2"/>
                      </a:lnTo>
                      <a:lnTo>
                        <a:pt x="6" y="3"/>
                      </a:lnTo>
                      <a:lnTo>
                        <a:pt x="0" y="6"/>
                      </a:lnTo>
                      <a:lnTo>
                        <a:pt x="6" y="3"/>
                      </a:lnTo>
                      <a:lnTo>
                        <a:pt x="15" y="2"/>
                      </a:lnTo>
                      <a:lnTo>
                        <a:pt x="28" y="0"/>
                      </a:lnTo>
                      <a:close/>
                    </a:path>
                  </a:pathLst>
                </a:custGeom>
                <a:solidFill>
                  <a:srgbClr val="DFD8B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59" name="Freeform 140"/>
                <p:cNvSpPr>
                  <a:spLocks noEditPoints="1"/>
                </p:cNvSpPr>
                <p:nvPr/>
              </p:nvSpPr>
              <p:spPr bwMode="auto">
                <a:xfrm>
                  <a:off x="4983163" y="3402013"/>
                  <a:ext cx="52388" cy="23813"/>
                </a:xfrm>
                <a:custGeom>
                  <a:avLst/>
                  <a:gdLst>
                    <a:gd name="T0" fmla="*/ 1 w 33"/>
                    <a:gd name="T1" fmla="*/ 9 h 15"/>
                    <a:gd name="T2" fmla="*/ 0 w 33"/>
                    <a:gd name="T3" fmla="*/ 15 h 15"/>
                    <a:gd name="T4" fmla="*/ 1 w 33"/>
                    <a:gd name="T5" fmla="*/ 10 h 15"/>
                    <a:gd name="T6" fmla="*/ 1 w 33"/>
                    <a:gd name="T7" fmla="*/ 9 h 15"/>
                    <a:gd name="T8" fmla="*/ 3 w 33"/>
                    <a:gd name="T9" fmla="*/ 9 h 15"/>
                    <a:gd name="T10" fmla="*/ 1 w 33"/>
                    <a:gd name="T11" fmla="*/ 9 h 15"/>
                    <a:gd name="T12" fmla="*/ 1 w 33"/>
                    <a:gd name="T13" fmla="*/ 9 h 15"/>
                    <a:gd name="T14" fmla="*/ 3 w 33"/>
                    <a:gd name="T15" fmla="*/ 9 h 15"/>
                    <a:gd name="T16" fmla="*/ 7 w 33"/>
                    <a:gd name="T17" fmla="*/ 5 h 15"/>
                    <a:gd name="T18" fmla="*/ 3 w 33"/>
                    <a:gd name="T19" fmla="*/ 9 h 15"/>
                    <a:gd name="T20" fmla="*/ 3 w 33"/>
                    <a:gd name="T21" fmla="*/ 7 h 15"/>
                    <a:gd name="T22" fmla="*/ 5 w 33"/>
                    <a:gd name="T23" fmla="*/ 6 h 15"/>
                    <a:gd name="T24" fmla="*/ 7 w 33"/>
                    <a:gd name="T25" fmla="*/ 5 h 15"/>
                    <a:gd name="T26" fmla="*/ 8 w 33"/>
                    <a:gd name="T27" fmla="*/ 3 h 15"/>
                    <a:gd name="T28" fmla="*/ 7 w 33"/>
                    <a:gd name="T29" fmla="*/ 5 h 15"/>
                    <a:gd name="T30" fmla="*/ 7 w 33"/>
                    <a:gd name="T31" fmla="*/ 5 h 15"/>
                    <a:gd name="T32" fmla="*/ 8 w 33"/>
                    <a:gd name="T33" fmla="*/ 3 h 15"/>
                    <a:gd name="T34" fmla="*/ 16 w 33"/>
                    <a:gd name="T35" fmla="*/ 2 h 15"/>
                    <a:gd name="T36" fmla="*/ 8 w 33"/>
                    <a:gd name="T37" fmla="*/ 3 h 15"/>
                    <a:gd name="T38" fmla="*/ 11 w 33"/>
                    <a:gd name="T39" fmla="*/ 3 h 15"/>
                    <a:gd name="T40" fmla="*/ 16 w 33"/>
                    <a:gd name="T41" fmla="*/ 2 h 15"/>
                    <a:gd name="T42" fmla="*/ 19 w 33"/>
                    <a:gd name="T43" fmla="*/ 2 h 15"/>
                    <a:gd name="T44" fmla="*/ 16 w 33"/>
                    <a:gd name="T45" fmla="*/ 2 h 15"/>
                    <a:gd name="T46" fmla="*/ 17 w 33"/>
                    <a:gd name="T47" fmla="*/ 2 h 15"/>
                    <a:gd name="T48" fmla="*/ 19 w 33"/>
                    <a:gd name="T49" fmla="*/ 2 h 15"/>
                    <a:gd name="T50" fmla="*/ 33 w 33"/>
                    <a:gd name="T51" fmla="*/ 0 h 15"/>
                    <a:gd name="T52" fmla="*/ 19 w 33"/>
                    <a:gd name="T53" fmla="*/ 2 h 15"/>
                    <a:gd name="T54" fmla="*/ 20 w 33"/>
                    <a:gd name="T55" fmla="*/ 2 h 15"/>
                    <a:gd name="T56" fmla="*/ 33 w 33"/>
                    <a:gd name="T57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3" h="15">
                      <a:moveTo>
                        <a:pt x="1" y="9"/>
                      </a:moveTo>
                      <a:lnTo>
                        <a:pt x="0" y="15"/>
                      </a:lnTo>
                      <a:lnTo>
                        <a:pt x="1" y="10"/>
                      </a:lnTo>
                      <a:lnTo>
                        <a:pt x="1" y="9"/>
                      </a:lnTo>
                      <a:close/>
                      <a:moveTo>
                        <a:pt x="3" y="9"/>
                      </a:moveTo>
                      <a:lnTo>
                        <a:pt x="1" y="9"/>
                      </a:lnTo>
                      <a:lnTo>
                        <a:pt x="1" y="9"/>
                      </a:lnTo>
                      <a:lnTo>
                        <a:pt x="3" y="9"/>
                      </a:lnTo>
                      <a:close/>
                      <a:moveTo>
                        <a:pt x="7" y="5"/>
                      </a:moveTo>
                      <a:lnTo>
                        <a:pt x="3" y="9"/>
                      </a:lnTo>
                      <a:lnTo>
                        <a:pt x="3" y="7"/>
                      </a:lnTo>
                      <a:lnTo>
                        <a:pt x="5" y="6"/>
                      </a:lnTo>
                      <a:lnTo>
                        <a:pt x="7" y="5"/>
                      </a:lnTo>
                      <a:close/>
                      <a:moveTo>
                        <a:pt x="8" y="3"/>
                      </a:moveTo>
                      <a:lnTo>
                        <a:pt x="7" y="5"/>
                      </a:lnTo>
                      <a:lnTo>
                        <a:pt x="7" y="5"/>
                      </a:lnTo>
                      <a:lnTo>
                        <a:pt x="8" y="3"/>
                      </a:lnTo>
                      <a:close/>
                      <a:moveTo>
                        <a:pt x="16" y="2"/>
                      </a:moveTo>
                      <a:lnTo>
                        <a:pt x="8" y="3"/>
                      </a:lnTo>
                      <a:lnTo>
                        <a:pt x="11" y="3"/>
                      </a:lnTo>
                      <a:lnTo>
                        <a:pt x="16" y="2"/>
                      </a:lnTo>
                      <a:close/>
                      <a:moveTo>
                        <a:pt x="19" y="2"/>
                      </a:moveTo>
                      <a:lnTo>
                        <a:pt x="16" y="2"/>
                      </a:lnTo>
                      <a:lnTo>
                        <a:pt x="17" y="2"/>
                      </a:lnTo>
                      <a:lnTo>
                        <a:pt x="19" y="2"/>
                      </a:lnTo>
                      <a:close/>
                      <a:moveTo>
                        <a:pt x="33" y="0"/>
                      </a:moveTo>
                      <a:lnTo>
                        <a:pt x="19" y="2"/>
                      </a:lnTo>
                      <a:lnTo>
                        <a:pt x="20" y="2"/>
                      </a:lnTo>
                      <a:lnTo>
                        <a:pt x="33" y="0"/>
                      </a:lnTo>
                      <a:close/>
                    </a:path>
                  </a:pathLst>
                </a:custGeom>
                <a:solidFill>
                  <a:srgbClr val="31465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60" name="Freeform 141"/>
                <p:cNvSpPr>
                  <a:spLocks/>
                </p:cNvSpPr>
                <p:nvPr/>
              </p:nvSpPr>
              <p:spPr bwMode="auto">
                <a:xfrm>
                  <a:off x="4979988" y="3402013"/>
                  <a:ext cx="85725" cy="79375"/>
                </a:xfrm>
                <a:custGeom>
                  <a:avLst/>
                  <a:gdLst>
                    <a:gd name="T0" fmla="*/ 35 w 54"/>
                    <a:gd name="T1" fmla="*/ 0 h 50"/>
                    <a:gd name="T2" fmla="*/ 39 w 54"/>
                    <a:gd name="T3" fmla="*/ 0 h 50"/>
                    <a:gd name="T4" fmla="*/ 47 w 54"/>
                    <a:gd name="T5" fmla="*/ 0 h 50"/>
                    <a:gd name="T6" fmla="*/ 54 w 54"/>
                    <a:gd name="T7" fmla="*/ 2 h 50"/>
                    <a:gd name="T8" fmla="*/ 26 w 54"/>
                    <a:gd name="T9" fmla="*/ 34 h 50"/>
                    <a:gd name="T10" fmla="*/ 12 w 54"/>
                    <a:gd name="T11" fmla="*/ 50 h 50"/>
                    <a:gd name="T12" fmla="*/ 7 w 54"/>
                    <a:gd name="T13" fmla="*/ 45 h 50"/>
                    <a:gd name="T14" fmla="*/ 3 w 54"/>
                    <a:gd name="T15" fmla="*/ 39 h 50"/>
                    <a:gd name="T16" fmla="*/ 2 w 54"/>
                    <a:gd name="T17" fmla="*/ 34 h 50"/>
                    <a:gd name="T18" fmla="*/ 0 w 54"/>
                    <a:gd name="T19" fmla="*/ 26 h 50"/>
                    <a:gd name="T20" fmla="*/ 2 w 54"/>
                    <a:gd name="T21" fmla="*/ 21 h 50"/>
                    <a:gd name="T22" fmla="*/ 2 w 54"/>
                    <a:gd name="T23" fmla="*/ 16 h 50"/>
                    <a:gd name="T24" fmla="*/ 2 w 54"/>
                    <a:gd name="T25" fmla="*/ 12 h 50"/>
                    <a:gd name="T26" fmla="*/ 5 w 54"/>
                    <a:gd name="T27" fmla="*/ 9 h 50"/>
                    <a:gd name="T28" fmla="*/ 7 w 54"/>
                    <a:gd name="T29" fmla="*/ 6 h 50"/>
                    <a:gd name="T30" fmla="*/ 13 w 54"/>
                    <a:gd name="T31" fmla="*/ 3 h 50"/>
                    <a:gd name="T32" fmla="*/ 22 w 54"/>
                    <a:gd name="T33" fmla="*/ 2 h 50"/>
                    <a:gd name="T34" fmla="*/ 35 w 54"/>
                    <a:gd name="T35" fmla="*/ 0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54" h="50">
                      <a:moveTo>
                        <a:pt x="35" y="0"/>
                      </a:moveTo>
                      <a:lnTo>
                        <a:pt x="39" y="0"/>
                      </a:lnTo>
                      <a:lnTo>
                        <a:pt x="47" y="0"/>
                      </a:lnTo>
                      <a:lnTo>
                        <a:pt x="54" y="2"/>
                      </a:lnTo>
                      <a:lnTo>
                        <a:pt x="26" y="34"/>
                      </a:lnTo>
                      <a:lnTo>
                        <a:pt x="12" y="50"/>
                      </a:lnTo>
                      <a:lnTo>
                        <a:pt x="7" y="45"/>
                      </a:lnTo>
                      <a:lnTo>
                        <a:pt x="3" y="39"/>
                      </a:lnTo>
                      <a:lnTo>
                        <a:pt x="2" y="34"/>
                      </a:lnTo>
                      <a:lnTo>
                        <a:pt x="0" y="26"/>
                      </a:lnTo>
                      <a:lnTo>
                        <a:pt x="2" y="21"/>
                      </a:lnTo>
                      <a:lnTo>
                        <a:pt x="2" y="16"/>
                      </a:lnTo>
                      <a:lnTo>
                        <a:pt x="2" y="12"/>
                      </a:lnTo>
                      <a:lnTo>
                        <a:pt x="5" y="9"/>
                      </a:lnTo>
                      <a:lnTo>
                        <a:pt x="7" y="6"/>
                      </a:lnTo>
                      <a:lnTo>
                        <a:pt x="13" y="3"/>
                      </a:lnTo>
                      <a:lnTo>
                        <a:pt x="22" y="2"/>
                      </a:lnTo>
                      <a:lnTo>
                        <a:pt x="35" y="0"/>
                      </a:lnTo>
                      <a:close/>
                    </a:path>
                  </a:pathLst>
                </a:custGeom>
                <a:solidFill>
                  <a:srgbClr val="C3D8C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61" name="Freeform 142"/>
                <p:cNvSpPr>
                  <a:spLocks noEditPoints="1"/>
                </p:cNvSpPr>
                <p:nvPr/>
              </p:nvSpPr>
              <p:spPr bwMode="auto">
                <a:xfrm>
                  <a:off x="4979988" y="3411538"/>
                  <a:ext cx="19050" cy="69850"/>
                </a:xfrm>
                <a:custGeom>
                  <a:avLst/>
                  <a:gdLst>
                    <a:gd name="T0" fmla="*/ 3 w 12"/>
                    <a:gd name="T1" fmla="*/ 33 h 44"/>
                    <a:gd name="T2" fmla="*/ 7 w 12"/>
                    <a:gd name="T3" fmla="*/ 39 h 44"/>
                    <a:gd name="T4" fmla="*/ 12 w 12"/>
                    <a:gd name="T5" fmla="*/ 44 h 44"/>
                    <a:gd name="T6" fmla="*/ 12 w 12"/>
                    <a:gd name="T7" fmla="*/ 44 h 44"/>
                    <a:gd name="T8" fmla="*/ 7 w 12"/>
                    <a:gd name="T9" fmla="*/ 39 h 44"/>
                    <a:gd name="T10" fmla="*/ 3 w 12"/>
                    <a:gd name="T11" fmla="*/ 33 h 44"/>
                    <a:gd name="T12" fmla="*/ 3 w 12"/>
                    <a:gd name="T13" fmla="*/ 33 h 44"/>
                    <a:gd name="T14" fmla="*/ 3 w 12"/>
                    <a:gd name="T15" fmla="*/ 33 h 44"/>
                    <a:gd name="T16" fmla="*/ 3 w 12"/>
                    <a:gd name="T17" fmla="*/ 33 h 44"/>
                    <a:gd name="T18" fmla="*/ 3 w 12"/>
                    <a:gd name="T19" fmla="*/ 33 h 44"/>
                    <a:gd name="T20" fmla="*/ 3 w 12"/>
                    <a:gd name="T21" fmla="*/ 33 h 44"/>
                    <a:gd name="T22" fmla="*/ 2 w 12"/>
                    <a:gd name="T23" fmla="*/ 28 h 44"/>
                    <a:gd name="T24" fmla="*/ 3 w 12"/>
                    <a:gd name="T25" fmla="*/ 33 h 44"/>
                    <a:gd name="T26" fmla="*/ 2 w 12"/>
                    <a:gd name="T27" fmla="*/ 28 h 44"/>
                    <a:gd name="T28" fmla="*/ 2 w 12"/>
                    <a:gd name="T29" fmla="*/ 28 h 44"/>
                    <a:gd name="T30" fmla="*/ 2 w 12"/>
                    <a:gd name="T31" fmla="*/ 28 h 44"/>
                    <a:gd name="T32" fmla="*/ 2 w 12"/>
                    <a:gd name="T33" fmla="*/ 28 h 44"/>
                    <a:gd name="T34" fmla="*/ 2 w 12"/>
                    <a:gd name="T35" fmla="*/ 26 h 44"/>
                    <a:gd name="T36" fmla="*/ 2 w 12"/>
                    <a:gd name="T37" fmla="*/ 28 h 44"/>
                    <a:gd name="T38" fmla="*/ 2 w 12"/>
                    <a:gd name="T39" fmla="*/ 28 h 44"/>
                    <a:gd name="T40" fmla="*/ 2 w 12"/>
                    <a:gd name="T41" fmla="*/ 26 h 44"/>
                    <a:gd name="T42" fmla="*/ 2 w 12"/>
                    <a:gd name="T43" fmla="*/ 12 h 44"/>
                    <a:gd name="T44" fmla="*/ 2 w 12"/>
                    <a:gd name="T45" fmla="*/ 15 h 44"/>
                    <a:gd name="T46" fmla="*/ 0 w 12"/>
                    <a:gd name="T47" fmla="*/ 20 h 44"/>
                    <a:gd name="T48" fmla="*/ 2 w 12"/>
                    <a:gd name="T49" fmla="*/ 26 h 44"/>
                    <a:gd name="T50" fmla="*/ 0 w 12"/>
                    <a:gd name="T51" fmla="*/ 20 h 44"/>
                    <a:gd name="T52" fmla="*/ 0 w 12"/>
                    <a:gd name="T53" fmla="*/ 19 h 44"/>
                    <a:gd name="T54" fmla="*/ 2 w 12"/>
                    <a:gd name="T55" fmla="*/ 13 h 44"/>
                    <a:gd name="T56" fmla="*/ 2 w 12"/>
                    <a:gd name="T57" fmla="*/ 12 h 44"/>
                    <a:gd name="T58" fmla="*/ 2 w 12"/>
                    <a:gd name="T59" fmla="*/ 10 h 44"/>
                    <a:gd name="T60" fmla="*/ 2 w 12"/>
                    <a:gd name="T61" fmla="*/ 12 h 44"/>
                    <a:gd name="T62" fmla="*/ 2 w 12"/>
                    <a:gd name="T63" fmla="*/ 10 h 44"/>
                    <a:gd name="T64" fmla="*/ 2 w 12"/>
                    <a:gd name="T65" fmla="*/ 10 h 44"/>
                    <a:gd name="T66" fmla="*/ 2 w 12"/>
                    <a:gd name="T67" fmla="*/ 7 h 44"/>
                    <a:gd name="T68" fmla="*/ 2 w 12"/>
                    <a:gd name="T69" fmla="*/ 10 h 44"/>
                    <a:gd name="T70" fmla="*/ 2 w 12"/>
                    <a:gd name="T71" fmla="*/ 9 h 44"/>
                    <a:gd name="T72" fmla="*/ 2 w 12"/>
                    <a:gd name="T73" fmla="*/ 7 h 44"/>
                    <a:gd name="T74" fmla="*/ 2 w 12"/>
                    <a:gd name="T75" fmla="*/ 6 h 44"/>
                    <a:gd name="T76" fmla="*/ 2 w 12"/>
                    <a:gd name="T77" fmla="*/ 7 h 44"/>
                    <a:gd name="T78" fmla="*/ 2 w 12"/>
                    <a:gd name="T79" fmla="*/ 6 h 44"/>
                    <a:gd name="T80" fmla="*/ 2 w 12"/>
                    <a:gd name="T81" fmla="*/ 6 h 44"/>
                    <a:gd name="T82" fmla="*/ 3 w 12"/>
                    <a:gd name="T83" fmla="*/ 3 h 44"/>
                    <a:gd name="T84" fmla="*/ 2 w 12"/>
                    <a:gd name="T85" fmla="*/ 6 h 44"/>
                    <a:gd name="T86" fmla="*/ 3 w 12"/>
                    <a:gd name="T87" fmla="*/ 4 h 44"/>
                    <a:gd name="T88" fmla="*/ 3 w 12"/>
                    <a:gd name="T89" fmla="*/ 3 h 44"/>
                    <a:gd name="T90" fmla="*/ 5 w 12"/>
                    <a:gd name="T91" fmla="*/ 1 h 44"/>
                    <a:gd name="T92" fmla="*/ 3 w 12"/>
                    <a:gd name="T93" fmla="*/ 3 h 44"/>
                    <a:gd name="T94" fmla="*/ 5 w 12"/>
                    <a:gd name="T95" fmla="*/ 3 h 44"/>
                    <a:gd name="T96" fmla="*/ 5 w 12"/>
                    <a:gd name="T97" fmla="*/ 1 h 44"/>
                    <a:gd name="T98" fmla="*/ 7 w 12"/>
                    <a:gd name="T99" fmla="*/ 0 h 44"/>
                    <a:gd name="T100" fmla="*/ 5 w 12"/>
                    <a:gd name="T101" fmla="*/ 1 h 44"/>
                    <a:gd name="T102" fmla="*/ 5 w 12"/>
                    <a:gd name="T103" fmla="*/ 1 h 44"/>
                    <a:gd name="T104" fmla="*/ 7 w 12"/>
                    <a:gd name="T105" fmla="*/ 0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2" h="44">
                      <a:moveTo>
                        <a:pt x="3" y="33"/>
                      </a:moveTo>
                      <a:lnTo>
                        <a:pt x="7" y="39"/>
                      </a:lnTo>
                      <a:lnTo>
                        <a:pt x="12" y="44"/>
                      </a:lnTo>
                      <a:lnTo>
                        <a:pt x="12" y="44"/>
                      </a:lnTo>
                      <a:lnTo>
                        <a:pt x="7" y="39"/>
                      </a:lnTo>
                      <a:lnTo>
                        <a:pt x="3" y="33"/>
                      </a:lnTo>
                      <a:lnTo>
                        <a:pt x="3" y="33"/>
                      </a:lnTo>
                      <a:close/>
                      <a:moveTo>
                        <a:pt x="3" y="33"/>
                      </a:moveTo>
                      <a:lnTo>
                        <a:pt x="3" y="33"/>
                      </a:lnTo>
                      <a:lnTo>
                        <a:pt x="3" y="33"/>
                      </a:lnTo>
                      <a:lnTo>
                        <a:pt x="3" y="33"/>
                      </a:lnTo>
                      <a:close/>
                      <a:moveTo>
                        <a:pt x="2" y="28"/>
                      </a:moveTo>
                      <a:lnTo>
                        <a:pt x="3" y="33"/>
                      </a:lnTo>
                      <a:lnTo>
                        <a:pt x="2" y="28"/>
                      </a:lnTo>
                      <a:lnTo>
                        <a:pt x="2" y="28"/>
                      </a:lnTo>
                      <a:lnTo>
                        <a:pt x="2" y="28"/>
                      </a:lnTo>
                      <a:lnTo>
                        <a:pt x="2" y="28"/>
                      </a:lnTo>
                      <a:close/>
                      <a:moveTo>
                        <a:pt x="2" y="26"/>
                      </a:moveTo>
                      <a:lnTo>
                        <a:pt x="2" y="28"/>
                      </a:lnTo>
                      <a:lnTo>
                        <a:pt x="2" y="28"/>
                      </a:lnTo>
                      <a:lnTo>
                        <a:pt x="2" y="26"/>
                      </a:lnTo>
                      <a:close/>
                      <a:moveTo>
                        <a:pt x="2" y="12"/>
                      </a:moveTo>
                      <a:lnTo>
                        <a:pt x="2" y="15"/>
                      </a:lnTo>
                      <a:lnTo>
                        <a:pt x="0" y="20"/>
                      </a:lnTo>
                      <a:lnTo>
                        <a:pt x="2" y="26"/>
                      </a:lnTo>
                      <a:lnTo>
                        <a:pt x="0" y="20"/>
                      </a:lnTo>
                      <a:lnTo>
                        <a:pt x="0" y="19"/>
                      </a:lnTo>
                      <a:lnTo>
                        <a:pt x="2" y="13"/>
                      </a:lnTo>
                      <a:lnTo>
                        <a:pt x="2" y="12"/>
                      </a:lnTo>
                      <a:close/>
                      <a:moveTo>
                        <a:pt x="2" y="10"/>
                      </a:moveTo>
                      <a:lnTo>
                        <a:pt x="2" y="12"/>
                      </a:lnTo>
                      <a:lnTo>
                        <a:pt x="2" y="10"/>
                      </a:lnTo>
                      <a:lnTo>
                        <a:pt x="2" y="10"/>
                      </a:lnTo>
                      <a:close/>
                      <a:moveTo>
                        <a:pt x="2" y="7"/>
                      </a:moveTo>
                      <a:lnTo>
                        <a:pt x="2" y="10"/>
                      </a:lnTo>
                      <a:lnTo>
                        <a:pt x="2" y="9"/>
                      </a:lnTo>
                      <a:lnTo>
                        <a:pt x="2" y="7"/>
                      </a:lnTo>
                      <a:close/>
                      <a:moveTo>
                        <a:pt x="2" y="6"/>
                      </a:moveTo>
                      <a:lnTo>
                        <a:pt x="2" y="7"/>
                      </a:lnTo>
                      <a:lnTo>
                        <a:pt x="2" y="6"/>
                      </a:lnTo>
                      <a:lnTo>
                        <a:pt x="2" y="6"/>
                      </a:lnTo>
                      <a:close/>
                      <a:moveTo>
                        <a:pt x="3" y="3"/>
                      </a:moveTo>
                      <a:lnTo>
                        <a:pt x="2" y="6"/>
                      </a:lnTo>
                      <a:lnTo>
                        <a:pt x="3" y="4"/>
                      </a:lnTo>
                      <a:lnTo>
                        <a:pt x="3" y="3"/>
                      </a:lnTo>
                      <a:close/>
                      <a:moveTo>
                        <a:pt x="5" y="1"/>
                      </a:moveTo>
                      <a:lnTo>
                        <a:pt x="3" y="3"/>
                      </a:lnTo>
                      <a:lnTo>
                        <a:pt x="5" y="3"/>
                      </a:lnTo>
                      <a:lnTo>
                        <a:pt x="5" y="1"/>
                      </a:lnTo>
                      <a:close/>
                      <a:moveTo>
                        <a:pt x="7" y="0"/>
                      </a:moveTo>
                      <a:lnTo>
                        <a:pt x="5" y="1"/>
                      </a:lnTo>
                      <a:lnTo>
                        <a:pt x="5" y="1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386378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62" name="Freeform 143"/>
                <p:cNvSpPr>
                  <a:spLocks/>
                </p:cNvSpPr>
                <p:nvPr/>
              </p:nvSpPr>
              <p:spPr bwMode="auto">
                <a:xfrm>
                  <a:off x="5162551" y="3476625"/>
                  <a:ext cx="9525" cy="7938"/>
                </a:xfrm>
                <a:custGeom>
                  <a:avLst/>
                  <a:gdLst>
                    <a:gd name="T0" fmla="*/ 0 w 6"/>
                    <a:gd name="T1" fmla="*/ 0 h 5"/>
                    <a:gd name="T2" fmla="*/ 6 w 6"/>
                    <a:gd name="T3" fmla="*/ 5 h 5"/>
                    <a:gd name="T4" fmla="*/ 6 w 6"/>
                    <a:gd name="T5" fmla="*/ 5 h 5"/>
                    <a:gd name="T6" fmla="*/ 2 w 6"/>
                    <a:gd name="T7" fmla="*/ 3 h 5"/>
                    <a:gd name="T8" fmla="*/ 0 w 6"/>
                    <a:gd name="T9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5">
                      <a:moveTo>
                        <a:pt x="0" y="0"/>
                      </a:moveTo>
                      <a:lnTo>
                        <a:pt x="6" y="5"/>
                      </a:lnTo>
                      <a:lnTo>
                        <a:pt x="6" y="5"/>
                      </a:lnTo>
                      <a:lnTo>
                        <a:pt x="2" y="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FD8B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63" name="Freeform 144"/>
                <p:cNvSpPr>
                  <a:spLocks noEditPoints="1"/>
                </p:cNvSpPr>
                <p:nvPr/>
              </p:nvSpPr>
              <p:spPr bwMode="auto">
                <a:xfrm>
                  <a:off x="5148263" y="3438525"/>
                  <a:ext cx="17463" cy="42863"/>
                </a:xfrm>
                <a:custGeom>
                  <a:avLst/>
                  <a:gdLst>
                    <a:gd name="T0" fmla="*/ 3 w 11"/>
                    <a:gd name="T1" fmla="*/ 15 h 27"/>
                    <a:gd name="T2" fmla="*/ 11 w 11"/>
                    <a:gd name="T3" fmla="*/ 27 h 27"/>
                    <a:gd name="T4" fmla="*/ 9 w 11"/>
                    <a:gd name="T5" fmla="*/ 24 h 27"/>
                    <a:gd name="T6" fmla="*/ 5 w 11"/>
                    <a:gd name="T7" fmla="*/ 16 h 27"/>
                    <a:gd name="T8" fmla="*/ 3 w 11"/>
                    <a:gd name="T9" fmla="*/ 15 h 27"/>
                    <a:gd name="T10" fmla="*/ 3 w 11"/>
                    <a:gd name="T11" fmla="*/ 14 h 27"/>
                    <a:gd name="T12" fmla="*/ 3 w 11"/>
                    <a:gd name="T13" fmla="*/ 15 h 27"/>
                    <a:gd name="T14" fmla="*/ 3 w 11"/>
                    <a:gd name="T15" fmla="*/ 15 h 27"/>
                    <a:gd name="T16" fmla="*/ 3 w 11"/>
                    <a:gd name="T17" fmla="*/ 14 h 27"/>
                    <a:gd name="T18" fmla="*/ 0 w 11"/>
                    <a:gd name="T19" fmla="*/ 0 h 27"/>
                    <a:gd name="T20" fmla="*/ 3 w 11"/>
                    <a:gd name="T21" fmla="*/ 14 h 27"/>
                    <a:gd name="T22" fmla="*/ 2 w 11"/>
                    <a:gd name="T23" fmla="*/ 9 h 27"/>
                    <a:gd name="T24" fmla="*/ 0 w 11"/>
                    <a:gd name="T25" fmla="*/ 0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1" h="27">
                      <a:moveTo>
                        <a:pt x="3" y="15"/>
                      </a:moveTo>
                      <a:lnTo>
                        <a:pt x="11" y="27"/>
                      </a:lnTo>
                      <a:lnTo>
                        <a:pt x="9" y="24"/>
                      </a:lnTo>
                      <a:lnTo>
                        <a:pt x="5" y="16"/>
                      </a:lnTo>
                      <a:lnTo>
                        <a:pt x="3" y="15"/>
                      </a:lnTo>
                      <a:close/>
                      <a:moveTo>
                        <a:pt x="3" y="14"/>
                      </a:moveTo>
                      <a:lnTo>
                        <a:pt x="3" y="15"/>
                      </a:lnTo>
                      <a:lnTo>
                        <a:pt x="3" y="15"/>
                      </a:lnTo>
                      <a:lnTo>
                        <a:pt x="3" y="14"/>
                      </a:lnTo>
                      <a:close/>
                      <a:moveTo>
                        <a:pt x="0" y="0"/>
                      </a:moveTo>
                      <a:lnTo>
                        <a:pt x="3" y="14"/>
                      </a:lnTo>
                      <a:lnTo>
                        <a:pt x="2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31465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64" name="Freeform 145"/>
                <p:cNvSpPr>
                  <a:spLocks/>
                </p:cNvSpPr>
                <p:nvPr/>
              </p:nvSpPr>
              <p:spPr bwMode="auto">
                <a:xfrm>
                  <a:off x="5148263" y="3406775"/>
                  <a:ext cx="76200" cy="77788"/>
                </a:xfrm>
                <a:custGeom>
                  <a:avLst/>
                  <a:gdLst>
                    <a:gd name="T0" fmla="*/ 38 w 48"/>
                    <a:gd name="T1" fmla="*/ 0 h 49"/>
                    <a:gd name="T2" fmla="*/ 38 w 48"/>
                    <a:gd name="T3" fmla="*/ 0 h 49"/>
                    <a:gd name="T4" fmla="*/ 41 w 48"/>
                    <a:gd name="T5" fmla="*/ 0 h 49"/>
                    <a:gd name="T6" fmla="*/ 48 w 48"/>
                    <a:gd name="T7" fmla="*/ 0 h 49"/>
                    <a:gd name="T8" fmla="*/ 43 w 48"/>
                    <a:gd name="T9" fmla="*/ 10 h 49"/>
                    <a:gd name="T10" fmla="*/ 34 w 48"/>
                    <a:gd name="T11" fmla="*/ 22 h 49"/>
                    <a:gd name="T12" fmla="*/ 15 w 48"/>
                    <a:gd name="T13" fmla="*/ 49 h 49"/>
                    <a:gd name="T14" fmla="*/ 9 w 48"/>
                    <a:gd name="T15" fmla="*/ 44 h 49"/>
                    <a:gd name="T16" fmla="*/ 3 w 48"/>
                    <a:gd name="T17" fmla="*/ 34 h 49"/>
                    <a:gd name="T18" fmla="*/ 0 w 48"/>
                    <a:gd name="T19" fmla="*/ 23 h 49"/>
                    <a:gd name="T20" fmla="*/ 2 w 48"/>
                    <a:gd name="T21" fmla="*/ 12 h 49"/>
                    <a:gd name="T22" fmla="*/ 8 w 48"/>
                    <a:gd name="T23" fmla="*/ 6 h 49"/>
                    <a:gd name="T24" fmla="*/ 21 w 48"/>
                    <a:gd name="T25" fmla="*/ 2 h 49"/>
                    <a:gd name="T26" fmla="*/ 38 w 48"/>
                    <a:gd name="T27" fmla="*/ 0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8" h="49">
                      <a:moveTo>
                        <a:pt x="38" y="0"/>
                      </a:moveTo>
                      <a:lnTo>
                        <a:pt x="38" y="0"/>
                      </a:lnTo>
                      <a:lnTo>
                        <a:pt x="41" y="0"/>
                      </a:lnTo>
                      <a:lnTo>
                        <a:pt x="48" y="0"/>
                      </a:lnTo>
                      <a:lnTo>
                        <a:pt x="43" y="10"/>
                      </a:lnTo>
                      <a:lnTo>
                        <a:pt x="34" y="22"/>
                      </a:lnTo>
                      <a:lnTo>
                        <a:pt x="15" y="49"/>
                      </a:lnTo>
                      <a:lnTo>
                        <a:pt x="9" y="44"/>
                      </a:lnTo>
                      <a:lnTo>
                        <a:pt x="3" y="34"/>
                      </a:lnTo>
                      <a:lnTo>
                        <a:pt x="0" y="23"/>
                      </a:lnTo>
                      <a:lnTo>
                        <a:pt x="2" y="12"/>
                      </a:lnTo>
                      <a:lnTo>
                        <a:pt x="8" y="6"/>
                      </a:lnTo>
                      <a:lnTo>
                        <a:pt x="21" y="2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C3D8C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65" name="Freeform 146"/>
                <p:cNvSpPr>
                  <a:spLocks noEditPoints="1"/>
                </p:cNvSpPr>
                <p:nvPr/>
              </p:nvSpPr>
              <p:spPr bwMode="auto">
                <a:xfrm>
                  <a:off x="5148263" y="3406775"/>
                  <a:ext cx="60325" cy="69850"/>
                </a:xfrm>
                <a:custGeom>
                  <a:avLst/>
                  <a:gdLst>
                    <a:gd name="T0" fmla="*/ 3 w 38"/>
                    <a:gd name="T1" fmla="*/ 35 h 44"/>
                    <a:gd name="T2" fmla="*/ 9 w 38"/>
                    <a:gd name="T3" fmla="*/ 44 h 44"/>
                    <a:gd name="T4" fmla="*/ 5 w 38"/>
                    <a:gd name="T5" fmla="*/ 36 h 44"/>
                    <a:gd name="T6" fmla="*/ 3 w 38"/>
                    <a:gd name="T7" fmla="*/ 35 h 44"/>
                    <a:gd name="T8" fmla="*/ 3 w 38"/>
                    <a:gd name="T9" fmla="*/ 32 h 44"/>
                    <a:gd name="T10" fmla="*/ 3 w 38"/>
                    <a:gd name="T11" fmla="*/ 35 h 44"/>
                    <a:gd name="T12" fmla="*/ 3 w 38"/>
                    <a:gd name="T13" fmla="*/ 34 h 44"/>
                    <a:gd name="T14" fmla="*/ 3 w 38"/>
                    <a:gd name="T15" fmla="*/ 32 h 44"/>
                    <a:gd name="T16" fmla="*/ 2 w 38"/>
                    <a:gd name="T17" fmla="*/ 25 h 44"/>
                    <a:gd name="T18" fmla="*/ 3 w 38"/>
                    <a:gd name="T19" fmla="*/ 32 h 44"/>
                    <a:gd name="T20" fmla="*/ 2 w 38"/>
                    <a:gd name="T21" fmla="*/ 29 h 44"/>
                    <a:gd name="T22" fmla="*/ 2 w 38"/>
                    <a:gd name="T23" fmla="*/ 25 h 44"/>
                    <a:gd name="T24" fmla="*/ 0 w 38"/>
                    <a:gd name="T25" fmla="*/ 23 h 44"/>
                    <a:gd name="T26" fmla="*/ 2 w 38"/>
                    <a:gd name="T27" fmla="*/ 25 h 44"/>
                    <a:gd name="T28" fmla="*/ 0 w 38"/>
                    <a:gd name="T29" fmla="*/ 23 h 44"/>
                    <a:gd name="T30" fmla="*/ 0 w 38"/>
                    <a:gd name="T31" fmla="*/ 23 h 44"/>
                    <a:gd name="T32" fmla="*/ 38 w 38"/>
                    <a:gd name="T33" fmla="*/ 0 h 44"/>
                    <a:gd name="T34" fmla="*/ 38 w 38"/>
                    <a:gd name="T35" fmla="*/ 0 h 44"/>
                    <a:gd name="T36" fmla="*/ 38 w 38"/>
                    <a:gd name="T37" fmla="*/ 0 h 44"/>
                    <a:gd name="T38" fmla="*/ 21 w 38"/>
                    <a:gd name="T39" fmla="*/ 2 h 44"/>
                    <a:gd name="T40" fmla="*/ 8 w 38"/>
                    <a:gd name="T41" fmla="*/ 6 h 44"/>
                    <a:gd name="T42" fmla="*/ 2 w 38"/>
                    <a:gd name="T43" fmla="*/ 12 h 44"/>
                    <a:gd name="T44" fmla="*/ 0 w 38"/>
                    <a:gd name="T45" fmla="*/ 23 h 44"/>
                    <a:gd name="T46" fmla="*/ 0 w 38"/>
                    <a:gd name="T47" fmla="*/ 20 h 44"/>
                    <a:gd name="T48" fmla="*/ 0 w 38"/>
                    <a:gd name="T49" fmla="*/ 20 h 44"/>
                    <a:gd name="T50" fmla="*/ 2 w 38"/>
                    <a:gd name="T51" fmla="*/ 16 h 44"/>
                    <a:gd name="T52" fmla="*/ 2 w 38"/>
                    <a:gd name="T53" fmla="*/ 12 h 44"/>
                    <a:gd name="T54" fmla="*/ 8 w 38"/>
                    <a:gd name="T55" fmla="*/ 6 h 44"/>
                    <a:gd name="T56" fmla="*/ 21 w 38"/>
                    <a:gd name="T57" fmla="*/ 2 h 44"/>
                    <a:gd name="T58" fmla="*/ 38 w 38"/>
                    <a:gd name="T59" fmla="*/ 0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38" h="44">
                      <a:moveTo>
                        <a:pt x="3" y="35"/>
                      </a:moveTo>
                      <a:lnTo>
                        <a:pt x="9" y="44"/>
                      </a:lnTo>
                      <a:lnTo>
                        <a:pt x="5" y="36"/>
                      </a:lnTo>
                      <a:lnTo>
                        <a:pt x="3" y="35"/>
                      </a:lnTo>
                      <a:close/>
                      <a:moveTo>
                        <a:pt x="3" y="32"/>
                      </a:moveTo>
                      <a:lnTo>
                        <a:pt x="3" y="35"/>
                      </a:lnTo>
                      <a:lnTo>
                        <a:pt x="3" y="34"/>
                      </a:lnTo>
                      <a:lnTo>
                        <a:pt x="3" y="32"/>
                      </a:lnTo>
                      <a:close/>
                      <a:moveTo>
                        <a:pt x="2" y="25"/>
                      </a:moveTo>
                      <a:lnTo>
                        <a:pt x="3" y="32"/>
                      </a:lnTo>
                      <a:lnTo>
                        <a:pt x="2" y="29"/>
                      </a:lnTo>
                      <a:lnTo>
                        <a:pt x="2" y="25"/>
                      </a:lnTo>
                      <a:close/>
                      <a:moveTo>
                        <a:pt x="0" y="23"/>
                      </a:moveTo>
                      <a:lnTo>
                        <a:pt x="2" y="25"/>
                      </a:lnTo>
                      <a:lnTo>
                        <a:pt x="0" y="23"/>
                      </a:lnTo>
                      <a:lnTo>
                        <a:pt x="0" y="23"/>
                      </a:lnTo>
                      <a:close/>
                      <a:moveTo>
                        <a:pt x="38" y="0"/>
                      </a:moveTo>
                      <a:lnTo>
                        <a:pt x="38" y="0"/>
                      </a:lnTo>
                      <a:lnTo>
                        <a:pt x="38" y="0"/>
                      </a:lnTo>
                      <a:lnTo>
                        <a:pt x="21" y="2"/>
                      </a:lnTo>
                      <a:lnTo>
                        <a:pt x="8" y="6"/>
                      </a:lnTo>
                      <a:lnTo>
                        <a:pt x="2" y="12"/>
                      </a:lnTo>
                      <a:lnTo>
                        <a:pt x="0" y="23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2" y="16"/>
                      </a:lnTo>
                      <a:lnTo>
                        <a:pt x="2" y="12"/>
                      </a:lnTo>
                      <a:lnTo>
                        <a:pt x="8" y="6"/>
                      </a:lnTo>
                      <a:lnTo>
                        <a:pt x="21" y="2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386378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66" name="Freeform 147"/>
                <p:cNvSpPr>
                  <a:spLocks noEditPoints="1"/>
                </p:cNvSpPr>
                <p:nvPr/>
              </p:nvSpPr>
              <p:spPr bwMode="auto">
                <a:xfrm>
                  <a:off x="5232401" y="3438525"/>
                  <a:ext cx="41275" cy="58738"/>
                </a:xfrm>
                <a:custGeom>
                  <a:avLst/>
                  <a:gdLst>
                    <a:gd name="T0" fmla="*/ 26 w 26"/>
                    <a:gd name="T1" fmla="*/ 3 h 37"/>
                    <a:gd name="T2" fmla="*/ 26 w 26"/>
                    <a:gd name="T3" fmla="*/ 8 h 37"/>
                    <a:gd name="T4" fmla="*/ 22 w 26"/>
                    <a:gd name="T5" fmla="*/ 21 h 37"/>
                    <a:gd name="T6" fmla="*/ 13 w 26"/>
                    <a:gd name="T7" fmla="*/ 31 h 37"/>
                    <a:gd name="T8" fmla="*/ 0 w 26"/>
                    <a:gd name="T9" fmla="*/ 37 h 37"/>
                    <a:gd name="T10" fmla="*/ 0 w 26"/>
                    <a:gd name="T11" fmla="*/ 37 h 37"/>
                    <a:gd name="T12" fmla="*/ 13 w 26"/>
                    <a:gd name="T13" fmla="*/ 31 h 37"/>
                    <a:gd name="T14" fmla="*/ 22 w 26"/>
                    <a:gd name="T15" fmla="*/ 21 h 37"/>
                    <a:gd name="T16" fmla="*/ 26 w 26"/>
                    <a:gd name="T17" fmla="*/ 8 h 37"/>
                    <a:gd name="T18" fmla="*/ 26 w 26"/>
                    <a:gd name="T19" fmla="*/ 3 h 37"/>
                    <a:gd name="T20" fmla="*/ 26 w 26"/>
                    <a:gd name="T21" fmla="*/ 0 h 37"/>
                    <a:gd name="T22" fmla="*/ 26 w 26"/>
                    <a:gd name="T23" fmla="*/ 0 h 37"/>
                    <a:gd name="T24" fmla="*/ 26 w 26"/>
                    <a:gd name="T25" fmla="*/ 3 h 37"/>
                    <a:gd name="T26" fmla="*/ 26 w 26"/>
                    <a:gd name="T27" fmla="*/ 0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6" h="37">
                      <a:moveTo>
                        <a:pt x="26" y="3"/>
                      </a:moveTo>
                      <a:lnTo>
                        <a:pt x="26" y="8"/>
                      </a:lnTo>
                      <a:lnTo>
                        <a:pt x="22" y="21"/>
                      </a:lnTo>
                      <a:lnTo>
                        <a:pt x="13" y="31"/>
                      </a:lnTo>
                      <a:lnTo>
                        <a:pt x="0" y="37"/>
                      </a:lnTo>
                      <a:lnTo>
                        <a:pt x="0" y="37"/>
                      </a:lnTo>
                      <a:lnTo>
                        <a:pt x="13" y="31"/>
                      </a:lnTo>
                      <a:lnTo>
                        <a:pt x="22" y="21"/>
                      </a:lnTo>
                      <a:lnTo>
                        <a:pt x="26" y="8"/>
                      </a:lnTo>
                      <a:lnTo>
                        <a:pt x="26" y="3"/>
                      </a:lnTo>
                      <a:close/>
                      <a:moveTo>
                        <a:pt x="26" y="0"/>
                      </a:moveTo>
                      <a:lnTo>
                        <a:pt x="26" y="0"/>
                      </a:lnTo>
                      <a:lnTo>
                        <a:pt x="26" y="3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solidFill>
                  <a:srgbClr val="DFD8B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67" name="Freeform 148"/>
                <p:cNvSpPr>
                  <a:spLocks/>
                </p:cNvSpPr>
                <p:nvPr/>
              </p:nvSpPr>
              <p:spPr bwMode="auto">
                <a:xfrm>
                  <a:off x="5232401" y="3438525"/>
                  <a:ext cx="41275" cy="58738"/>
                </a:xfrm>
                <a:custGeom>
                  <a:avLst/>
                  <a:gdLst>
                    <a:gd name="T0" fmla="*/ 26 w 26"/>
                    <a:gd name="T1" fmla="*/ 0 h 37"/>
                    <a:gd name="T2" fmla="*/ 26 w 26"/>
                    <a:gd name="T3" fmla="*/ 8 h 37"/>
                    <a:gd name="T4" fmla="*/ 22 w 26"/>
                    <a:gd name="T5" fmla="*/ 21 h 37"/>
                    <a:gd name="T6" fmla="*/ 13 w 26"/>
                    <a:gd name="T7" fmla="*/ 31 h 37"/>
                    <a:gd name="T8" fmla="*/ 0 w 26"/>
                    <a:gd name="T9" fmla="*/ 37 h 37"/>
                    <a:gd name="T10" fmla="*/ 26 w 26"/>
                    <a:gd name="T11" fmla="*/ 0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6" h="37">
                      <a:moveTo>
                        <a:pt x="26" y="0"/>
                      </a:moveTo>
                      <a:lnTo>
                        <a:pt x="26" y="8"/>
                      </a:lnTo>
                      <a:lnTo>
                        <a:pt x="22" y="21"/>
                      </a:lnTo>
                      <a:lnTo>
                        <a:pt x="13" y="31"/>
                      </a:lnTo>
                      <a:lnTo>
                        <a:pt x="0" y="37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solidFill>
                  <a:srgbClr val="C3D8C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68" name="Freeform 149"/>
                <p:cNvSpPr>
                  <a:spLocks/>
                </p:cNvSpPr>
                <p:nvPr/>
              </p:nvSpPr>
              <p:spPr bwMode="auto">
                <a:xfrm>
                  <a:off x="5106988" y="3416300"/>
                  <a:ext cx="41275" cy="14288"/>
                </a:xfrm>
                <a:custGeom>
                  <a:avLst/>
                  <a:gdLst>
                    <a:gd name="T0" fmla="*/ 5 w 26"/>
                    <a:gd name="T1" fmla="*/ 0 h 9"/>
                    <a:gd name="T2" fmla="*/ 22 w 26"/>
                    <a:gd name="T3" fmla="*/ 0 h 9"/>
                    <a:gd name="T4" fmla="*/ 25 w 26"/>
                    <a:gd name="T5" fmla="*/ 1 h 9"/>
                    <a:gd name="T6" fmla="*/ 26 w 26"/>
                    <a:gd name="T7" fmla="*/ 3 h 9"/>
                    <a:gd name="T8" fmla="*/ 26 w 26"/>
                    <a:gd name="T9" fmla="*/ 4 h 9"/>
                    <a:gd name="T10" fmla="*/ 26 w 26"/>
                    <a:gd name="T11" fmla="*/ 7 h 9"/>
                    <a:gd name="T12" fmla="*/ 25 w 26"/>
                    <a:gd name="T13" fmla="*/ 9 h 9"/>
                    <a:gd name="T14" fmla="*/ 22 w 26"/>
                    <a:gd name="T15" fmla="*/ 9 h 9"/>
                    <a:gd name="T16" fmla="*/ 5 w 26"/>
                    <a:gd name="T17" fmla="*/ 9 h 9"/>
                    <a:gd name="T18" fmla="*/ 2 w 26"/>
                    <a:gd name="T19" fmla="*/ 9 h 9"/>
                    <a:gd name="T20" fmla="*/ 0 w 26"/>
                    <a:gd name="T21" fmla="*/ 7 h 9"/>
                    <a:gd name="T22" fmla="*/ 0 w 26"/>
                    <a:gd name="T23" fmla="*/ 4 h 9"/>
                    <a:gd name="T24" fmla="*/ 0 w 26"/>
                    <a:gd name="T25" fmla="*/ 3 h 9"/>
                    <a:gd name="T26" fmla="*/ 2 w 26"/>
                    <a:gd name="T27" fmla="*/ 1 h 9"/>
                    <a:gd name="T28" fmla="*/ 5 w 26"/>
                    <a:gd name="T29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6" h="9">
                      <a:moveTo>
                        <a:pt x="5" y="0"/>
                      </a:moveTo>
                      <a:lnTo>
                        <a:pt x="22" y="0"/>
                      </a:lnTo>
                      <a:lnTo>
                        <a:pt x="25" y="1"/>
                      </a:lnTo>
                      <a:lnTo>
                        <a:pt x="26" y="3"/>
                      </a:lnTo>
                      <a:lnTo>
                        <a:pt x="26" y="4"/>
                      </a:lnTo>
                      <a:lnTo>
                        <a:pt x="26" y="7"/>
                      </a:lnTo>
                      <a:lnTo>
                        <a:pt x="25" y="9"/>
                      </a:lnTo>
                      <a:lnTo>
                        <a:pt x="22" y="9"/>
                      </a:lnTo>
                      <a:lnTo>
                        <a:pt x="5" y="9"/>
                      </a:lnTo>
                      <a:lnTo>
                        <a:pt x="2" y="9"/>
                      </a:lnTo>
                      <a:lnTo>
                        <a:pt x="0" y="7"/>
                      </a:lnTo>
                      <a:lnTo>
                        <a:pt x="0" y="4"/>
                      </a:lnTo>
                      <a:lnTo>
                        <a:pt x="0" y="3"/>
                      </a:lnTo>
                      <a:lnTo>
                        <a:pt x="2" y="1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38485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69" name="Freeform 150"/>
                <p:cNvSpPr>
                  <a:spLocks/>
                </p:cNvSpPr>
                <p:nvPr/>
              </p:nvSpPr>
              <p:spPr bwMode="auto">
                <a:xfrm>
                  <a:off x="5275263" y="4073525"/>
                  <a:ext cx="406400" cy="249238"/>
                </a:xfrm>
                <a:custGeom>
                  <a:avLst/>
                  <a:gdLst>
                    <a:gd name="T0" fmla="*/ 86 w 256"/>
                    <a:gd name="T1" fmla="*/ 0 h 157"/>
                    <a:gd name="T2" fmla="*/ 245 w 256"/>
                    <a:gd name="T3" fmla="*/ 61 h 157"/>
                    <a:gd name="T4" fmla="*/ 252 w 256"/>
                    <a:gd name="T5" fmla="*/ 68 h 157"/>
                    <a:gd name="T6" fmla="*/ 255 w 256"/>
                    <a:gd name="T7" fmla="*/ 79 h 157"/>
                    <a:gd name="T8" fmla="*/ 256 w 256"/>
                    <a:gd name="T9" fmla="*/ 89 h 157"/>
                    <a:gd name="T10" fmla="*/ 255 w 256"/>
                    <a:gd name="T11" fmla="*/ 98 h 157"/>
                    <a:gd name="T12" fmla="*/ 240 w 256"/>
                    <a:gd name="T13" fmla="*/ 130 h 157"/>
                    <a:gd name="T14" fmla="*/ 236 w 256"/>
                    <a:gd name="T15" fmla="*/ 135 h 157"/>
                    <a:gd name="T16" fmla="*/ 229 w 256"/>
                    <a:gd name="T17" fmla="*/ 143 h 157"/>
                    <a:gd name="T18" fmla="*/ 219 w 256"/>
                    <a:gd name="T19" fmla="*/ 148 h 157"/>
                    <a:gd name="T20" fmla="*/ 208 w 256"/>
                    <a:gd name="T21" fmla="*/ 154 h 157"/>
                    <a:gd name="T22" fmla="*/ 198 w 256"/>
                    <a:gd name="T23" fmla="*/ 157 h 157"/>
                    <a:gd name="T24" fmla="*/ 191 w 256"/>
                    <a:gd name="T25" fmla="*/ 157 h 157"/>
                    <a:gd name="T26" fmla="*/ 15 w 256"/>
                    <a:gd name="T27" fmla="*/ 48 h 157"/>
                    <a:gd name="T28" fmla="*/ 6 w 256"/>
                    <a:gd name="T29" fmla="*/ 41 h 157"/>
                    <a:gd name="T30" fmla="*/ 0 w 256"/>
                    <a:gd name="T31" fmla="*/ 32 h 157"/>
                    <a:gd name="T32" fmla="*/ 2 w 256"/>
                    <a:gd name="T33" fmla="*/ 22 h 157"/>
                    <a:gd name="T34" fmla="*/ 93 w 256"/>
                    <a:gd name="T35" fmla="*/ 64 h 157"/>
                    <a:gd name="T36" fmla="*/ 93 w 256"/>
                    <a:gd name="T37" fmla="*/ 58 h 157"/>
                    <a:gd name="T38" fmla="*/ 92 w 256"/>
                    <a:gd name="T39" fmla="*/ 50 h 157"/>
                    <a:gd name="T40" fmla="*/ 89 w 256"/>
                    <a:gd name="T41" fmla="*/ 38 h 157"/>
                    <a:gd name="T42" fmla="*/ 86 w 256"/>
                    <a:gd name="T43" fmla="*/ 26 h 157"/>
                    <a:gd name="T44" fmla="*/ 85 w 256"/>
                    <a:gd name="T45" fmla="*/ 16 h 157"/>
                    <a:gd name="T46" fmla="*/ 83 w 256"/>
                    <a:gd name="T47" fmla="*/ 7 h 157"/>
                    <a:gd name="T48" fmla="*/ 83 w 256"/>
                    <a:gd name="T49" fmla="*/ 2 h 157"/>
                    <a:gd name="T50" fmla="*/ 86 w 256"/>
                    <a:gd name="T51" fmla="*/ 0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256" h="157">
                      <a:moveTo>
                        <a:pt x="86" y="0"/>
                      </a:moveTo>
                      <a:lnTo>
                        <a:pt x="245" y="61"/>
                      </a:lnTo>
                      <a:lnTo>
                        <a:pt x="252" y="68"/>
                      </a:lnTo>
                      <a:lnTo>
                        <a:pt x="255" y="79"/>
                      </a:lnTo>
                      <a:lnTo>
                        <a:pt x="256" y="89"/>
                      </a:lnTo>
                      <a:lnTo>
                        <a:pt x="255" y="98"/>
                      </a:lnTo>
                      <a:lnTo>
                        <a:pt x="240" y="130"/>
                      </a:lnTo>
                      <a:lnTo>
                        <a:pt x="236" y="135"/>
                      </a:lnTo>
                      <a:lnTo>
                        <a:pt x="229" y="143"/>
                      </a:lnTo>
                      <a:lnTo>
                        <a:pt x="219" y="148"/>
                      </a:lnTo>
                      <a:lnTo>
                        <a:pt x="208" y="154"/>
                      </a:lnTo>
                      <a:lnTo>
                        <a:pt x="198" y="157"/>
                      </a:lnTo>
                      <a:lnTo>
                        <a:pt x="191" y="157"/>
                      </a:lnTo>
                      <a:lnTo>
                        <a:pt x="15" y="48"/>
                      </a:lnTo>
                      <a:lnTo>
                        <a:pt x="6" y="41"/>
                      </a:lnTo>
                      <a:lnTo>
                        <a:pt x="0" y="32"/>
                      </a:lnTo>
                      <a:lnTo>
                        <a:pt x="2" y="22"/>
                      </a:lnTo>
                      <a:lnTo>
                        <a:pt x="93" y="64"/>
                      </a:lnTo>
                      <a:lnTo>
                        <a:pt x="93" y="58"/>
                      </a:lnTo>
                      <a:lnTo>
                        <a:pt x="92" y="50"/>
                      </a:lnTo>
                      <a:lnTo>
                        <a:pt x="89" y="38"/>
                      </a:lnTo>
                      <a:lnTo>
                        <a:pt x="86" y="26"/>
                      </a:lnTo>
                      <a:lnTo>
                        <a:pt x="85" y="16"/>
                      </a:lnTo>
                      <a:lnTo>
                        <a:pt x="83" y="7"/>
                      </a:lnTo>
                      <a:lnTo>
                        <a:pt x="83" y="2"/>
                      </a:lnTo>
                      <a:lnTo>
                        <a:pt x="86" y="0"/>
                      </a:lnTo>
                      <a:close/>
                    </a:path>
                  </a:pathLst>
                </a:custGeom>
                <a:solidFill>
                  <a:srgbClr val="51BFB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70" name="Freeform 151"/>
                <p:cNvSpPr>
                  <a:spLocks/>
                </p:cNvSpPr>
                <p:nvPr/>
              </p:nvSpPr>
              <p:spPr bwMode="auto">
                <a:xfrm>
                  <a:off x="4716463" y="4046538"/>
                  <a:ext cx="300038" cy="204788"/>
                </a:xfrm>
                <a:custGeom>
                  <a:avLst/>
                  <a:gdLst>
                    <a:gd name="T0" fmla="*/ 179 w 189"/>
                    <a:gd name="T1" fmla="*/ 0 h 129"/>
                    <a:gd name="T2" fmla="*/ 187 w 189"/>
                    <a:gd name="T3" fmla="*/ 19 h 129"/>
                    <a:gd name="T4" fmla="*/ 189 w 189"/>
                    <a:gd name="T5" fmla="*/ 32 h 129"/>
                    <a:gd name="T6" fmla="*/ 189 w 189"/>
                    <a:gd name="T7" fmla="*/ 43 h 129"/>
                    <a:gd name="T8" fmla="*/ 187 w 189"/>
                    <a:gd name="T9" fmla="*/ 54 h 129"/>
                    <a:gd name="T10" fmla="*/ 179 w 189"/>
                    <a:gd name="T11" fmla="*/ 59 h 129"/>
                    <a:gd name="T12" fmla="*/ 44 w 189"/>
                    <a:gd name="T13" fmla="*/ 128 h 129"/>
                    <a:gd name="T14" fmla="*/ 37 w 189"/>
                    <a:gd name="T15" fmla="*/ 129 h 129"/>
                    <a:gd name="T16" fmla="*/ 27 w 189"/>
                    <a:gd name="T17" fmla="*/ 129 h 129"/>
                    <a:gd name="T18" fmla="*/ 18 w 189"/>
                    <a:gd name="T19" fmla="*/ 126 h 129"/>
                    <a:gd name="T20" fmla="*/ 9 w 189"/>
                    <a:gd name="T21" fmla="*/ 120 h 129"/>
                    <a:gd name="T22" fmla="*/ 3 w 189"/>
                    <a:gd name="T23" fmla="*/ 112 h 129"/>
                    <a:gd name="T24" fmla="*/ 0 w 189"/>
                    <a:gd name="T25" fmla="*/ 87 h 129"/>
                    <a:gd name="T26" fmla="*/ 2 w 189"/>
                    <a:gd name="T27" fmla="*/ 67 h 129"/>
                    <a:gd name="T28" fmla="*/ 6 w 189"/>
                    <a:gd name="T29" fmla="*/ 52 h 129"/>
                    <a:gd name="T30" fmla="*/ 13 w 189"/>
                    <a:gd name="T31" fmla="*/ 43 h 129"/>
                    <a:gd name="T32" fmla="*/ 147 w 189"/>
                    <a:gd name="T33" fmla="*/ 8 h 129"/>
                    <a:gd name="T34" fmla="*/ 155 w 189"/>
                    <a:gd name="T35" fmla="*/ 6 h 129"/>
                    <a:gd name="T36" fmla="*/ 160 w 189"/>
                    <a:gd name="T37" fmla="*/ 1 h 129"/>
                    <a:gd name="T38" fmla="*/ 169 w 189"/>
                    <a:gd name="T39" fmla="*/ 0 h 129"/>
                    <a:gd name="T40" fmla="*/ 179 w 189"/>
                    <a:gd name="T41" fmla="*/ 0 h 1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89" h="129">
                      <a:moveTo>
                        <a:pt x="179" y="0"/>
                      </a:moveTo>
                      <a:lnTo>
                        <a:pt x="187" y="19"/>
                      </a:lnTo>
                      <a:lnTo>
                        <a:pt x="189" y="32"/>
                      </a:lnTo>
                      <a:lnTo>
                        <a:pt x="189" y="43"/>
                      </a:lnTo>
                      <a:lnTo>
                        <a:pt x="187" y="54"/>
                      </a:lnTo>
                      <a:lnTo>
                        <a:pt x="179" y="59"/>
                      </a:lnTo>
                      <a:lnTo>
                        <a:pt x="44" y="128"/>
                      </a:lnTo>
                      <a:lnTo>
                        <a:pt x="37" y="129"/>
                      </a:lnTo>
                      <a:lnTo>
                        <a:pt x="27" y="129"/>
                      </a:lnTo>
                      <a:lnTo>
                        <a:pt x="18" y="126"/>
                      </a:lnTo>
                      <a:lnTo>
                        <a:pt x="9" y="120"/>
                      </a:lnTo>
                      <a:lnTo>
                        <a:pt x="3" y="112"/>
                      </a:lnTo>
                      <a:lnTo>
                        <a:pt x="0" y="87"/>
                      </a:lnTo>
                      <a:lnTo>
                        <a:pt x="2" y="67"/>
                      </a:lnTo>
                      <a:lnTo>
                        <a:pt x="6" y="52"/>
                      </a:lnTo>
                      <a:lnTo>
                        <a:pt x="13" y="43"/>
                      </a:lnTo>
                      <a:lnTo>
                        <a:pt x="147" y="8"/>
                      </a:lnTo>
                      <a:lnTo>
                        <a:pt x="155" y="6"/>
                      </a:lnTo>
                      <a:lnTo>
                        <a:pt x="160" y="1"/>
                      </a:lnTo>
                      <a:lnTo>
                        <a:pt x="169" y="0"/>
                      </a:lnTo>
                      <a:lnTo>
                        <a:pt x="179" y="0"/>
                      </a:lnTo>
                      <a:close/>
                    </a:path>
                  </a:pathLst>
                </a:custGeom>
                <a:solidFill>
                  <a:srgbClr val="51BFB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71" name="Rectangle 152"/>
                <p:cNvSpPr>
                  <a:spLocks noChangeArrowheads="1"/>
                </p:cNvSpPr>
                <p:nvPr/>
              </p:nvSpPr>
              <p:spPr bwMode="auto">
                <a:xfrm>
                  <a:off x="4781551" y="4251325"/>
                  <a:ext cx="1588" cy="1588"/>
                </a:xfrm>
                <a:prstGeom prst="rect">
                  <a:avLst/>
                </a:prstGeom>
                <a:solidFill>
                  <a:srgbClr val="13292C"/>
                </a:soli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72" name="Freeform 153"/>
                <p:cNvSpPr>
                  <a:spLocks/>
                </p:cNvSpPr>
                <p:nvPr/>
              </p:nvSpPr>
              <p:spPr bwMode="auto">
                <a:xfrm>
                  <a:off x="4927601" y="4067175"/>
                  <a:ext cx="1588" cy="0"/>
                </a:xfrm>
                <a:custGeom>
                  <a:avLst/>
                  <a:gdLst>
                    <a:gd name="T0" fmla="*/ 1 w 1"/>
                    <a:gd name="T1" fmla="*/ 1 w 1"/>
                    <a:gd name="T2" fmla="*/ 0 w 1"/>
                    <a:gd name="T3" fmla="*/ 1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solidFill>
                  <a:srgbClr val="42513A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73" name="Freeform 154"/>
                <p:cNvSpPr>
                  <a:spLocks noEditPoints="1"/>
                </p:cNvSpPr>
                <p:nvPr/>
              </p:nvSpPr>
              <p:spPr bwMode="auto">
                <a:xfrm>
                  <a:off x="4779963" y="4067175"/>
                  <a:ext cx="163513" cy="184150"/>
                </a:xfrm>
                <a:custGeom>
                  <a:avLst/>
                  <a:gdLst>
                    <a:gd name="T0" fmla="*/ 78 w 103"/>
                    <a:gd name="T1" fmla="*/ 58 h 116"/>
                    <a:gd name="T2" fmla="*/ 81 w 103"/>
                    <a:gd name="T3" fmla="*/ 59 h 116"/>
                    <a:gd name="T4" fmla="*/ 84 w 103"/>
                    <a:gd name="T5" fmla="*/ 61 h 116"/>
                    <a:gd name="T6" fmla="*/ 103 w 103"/>
                    <a:gd name="T7" fmla="*/ 65 h 116"/>
                    <a:gd name="T8" fmla="*/ 91 w 103"/>
                    <a:gd name="T9" fmla="*/ 71 h 116"/>
                    <a:gd name="T10" fmla="*/ 1 w 103"/>
                    <a:gd name="T11" fmla="*/ 116 h 116"/>
                    <a:gd name="T12" fmla="*/ 1 w 103"/>
                    <a:gd name="T13" fmla="*/ 116 h 116"/>
                    <a:gd name="T14" fmla="*/ 0 w 103"/>
                    <a:gd name="T15" fmla="*/ 106 h 116"/>
                    <a:gd name="T16" fmla="*/ 4 w 103"/>
                    <a:gd name="T17" fmla="*/ 97 h 116"/>
                    <a:gd name="T18" fmla="*/ 14 w 103"/>
                    <a:gd name="T19" fmla="*/ 88 h 116"/>
                    <a:gd name="T20" fmla="*/ 27 w 103"/>
                    <a:gd name="T21" fmla="*/ 83 h 116"/>
                    <a:gd name="T22" fmla="*/ 42 w 103"/>
                    <a:gd name="T23" fmla="*/ 77 h 116"/>
                    <a:gd name="T24" fmla="*/ 55 w 103"/>
                    <a:gd name="T25" fmla="*/ 71 h 116"/>
                    <a:gd name="T26" fmla="*/ 68 w 103"/>
                    <a:gd name="T27" fmla="*/ 67 h 116"/>
                    <a:gd name="T28" fmla="*/ 75 w 103"/>
                    <a:gd name="T29" fmla="*/ 62 h 116"/>
                    <a:gd name="T30" fmla="*/ 78 w 103"/>
                    <a:gd name="T31" fmla="*/ 59 h 116"/>
                    <a:gd name="T32" fmla="*/ 78 w 103"/>
                    <a:gd name="T33" fmla="*/ 58 h 116"/>
                    <a:gd name="T34" fmla="*/ 94 w 103"/>
                    <a:gd name="T35" fmla="*/ 0 h 116"/>
                    <a:gd name="T36" fmla="*/ 91 w 103"/>
                    <a:gd name="T37" fmla="*/ 9 h 116"/>
                    <a:gd name="T38" fmla="*/ 85 w 103"/>
                    <a:gd name="T39" fmla="*/ 23 h 116"/>
                    <a:gd name="T40" fmla="*/ 81 w 103"/>
                    <a:gd name="T41" fmla="*/ 38 h 116"/>
                    <a:gd name="T42" fmla="*/ 77 w 103"/>
                    <a:gd name="T43" fmla="*/ 49 h 116"/>
                    <a:gd name="T44" fmla="*/ 77 w 103"/>
                    <a:gd name="T45" fmla="*/ 32 h 116"/>
                    <a:gd name="T46" fmla="*/ 80 w 103"/>
                    <a:gd name="T47" fmla="*/ 19 h 116"/>
                    <a:gd name="T48" fmla="*/ 84 w 103"/>
                    <a:gd name="T49" fmla="*/ 9 h 116"/>
                    <a:gd name="T50" fmla="*/ 90 w 103"/>
                    <a:gd name="T51" fmla="*/ 3 h 116"/>
                    <a:gd name="T52" fmla="*/ 93 w 103"/>
                    <a:gd name="T53" fmla="*/ 0 h 116"/>
                    <a:gd name="T54" fmla="*/ 94 w 103"/>
                    <a:gd name="T55" fmla="*/ 0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103" h="116">
                      <a:moveTo>
                        <a:pt x="78" y="58"/>
                      </a:moveTo>
                      <a:lnTo>
                        <a:pt x="81" y="59"/>
                      </a:lnTo>
                      <a:lnTo>
                        <a:pt x="84" y="61"/>
                      </a:lnTo>
                      <a:lnTo>
                        <a:pt x="103" y="65"/>
                      </a:lnTo>
                      <a:lnTo>
                        <a:pt x="91" y="71"/>
                      </a:lnTo>
                      <a:lnTo>
                        <a:pt x="1" y="116"/>
                      </a:lnTo>
                      <a:lnTo>
                        <a:pt x="1" y="116"/>
                      </a:lnTo>
                      <a:lnTo>
                        <a:pt x="0" y="106"/>
                      </a:lnTo>
                      <a:lnTo>
                        <a:pt x="4" y="97"/>
                      </a:lnTo>
                      <a:lnTo>
                        <a:pt x="14" y="88"/>
                      </a:lnTo>
                      <a:lnTo>
                        <a:pt x="27" y="83"/>
                      </a:lnTo>
                      <a:lnTo>
                        <a:pt x="42" y="77"/>
                      </a:lnTo>
                      <a:lnTo>
                        <a:pt x="55" y="71"/>
                      </a:lnTo>
                      <a:lnTo>
                        <a:pt x="68" y="67"/>
                      </a:lnTo>
                      <a:lnTo>
                        <a:pt x="75" y="62"/>
                      </a:lnTo>
                      <a:lnTo>
                        <a:pt x="78" y="59"/>
                      </a:lnTo>
                      <a:lnTo>
                        <a:pt x="78" y="58"/>
                      </a:lnTo>
                      <a:close/>
                      <a:moveTo>
                        <a:pt x="94" y="0"/>
                      </a:moveTo>
                      <a:lnTo>
                        <a:pt x="91" y="9"/>
                      </a:lnTo>
                      <a:lnTo>
                        <a:pt x="85" y="23"/>
                      </a:lnTo>
                      <a:lnTo>
                        <a:pt x="81" y="38"/>
                      </a:lnTo>
                      <a:lnTo>
                        <a:pt x="77" y="49"/>
                      </a:lnTo>
                      <a:lnTo>
                        <a:pt x="77" y="32"/>
                      </a:lnTo>
                      <a:lnTo>
                        <a:pt x="80" y="19"/>
                      </a:lnTo>
                      <a:lnTo>
                        <a:pt x="84" y="9"/>
                      </a:lnTo>
                      <a:lnTo>
                        <a:pt x="90" y="3"/>
                      </a:lnTo>
                      <a:lnTo>
                        <a:pt x="93" y="0"/>
                      </a:lnTo>
                      <a:lnTo>
                        <a:pt x="94" y="0"/>
                      </a:lnTo>
                      <a:close/>
                    </a:path>
                  </a:pathLst>
                </a:custGeom>
                <a:solidFill>
                  <a:srgbClr val="1EA6B3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74" name="Freeform 155"/>
                <p:cNvSpPr>
                  <a:spLocks/>
                </p:cNvSpPr>
                <p:nvPr/>
              </p:nvSpPr>
              <p:spPr bwMode="auto">
                <a:xfrm>
                  <a:off x="4975226" y="4084638"/>
                  <a:ext cx="127000" cy="114300"/>
                </a:xfrm>
                <a:custGeom>
                  <a:avLst/>
                  <a:gdLst>
                    <a:gd name="T0" fmla="*/ 77 w 80"/>
                    <a:gd name="T1" fmla="*/ 2 h 72"/>
                    <a:gd name="T2" fmla="*/ 80 w 80"/>
                    <a:gd name="T3" fmla="*/ 6 h 72"/>
                    <a:gd name="T4" fmla="*/ 79 w 80"/>
                    <a:gd name="T5" fmla="*/ 12 h 72"/>
                    <a:gd name="T6" fmla="*/ 76 w 80"/>
                    <a:gd name="T7" fmla="*/ 16 h 72"/>
                    <a:gd name="T8" fmla="*/ 70 w 80"/>
                    <a:gd name="T9" fmla="*/ 18 h 72"/>
                    <a:gd name="T10" fmla="*/ 64 w 80"/>
                    <a:gd name="T11" fmla="*/ 19 h 72"/>
                    <a:gd name="T12" fmla="*/ 64 w 80"/>
                    <a:gd name="T13" fmla="*/ 30 h 72"/>
                    <a:gd name="T14" fmla="*/ 60 w 80"/>
                    <a:gd name="T15" fmla="*/ 35 h 72"/>
                    <a:gd name="T16" fmla="*/ 60 w 80"/>
                    <a:gd name="T17" fmla="*/ 43 h 72"/>
                    <a:gd name="T18" fmla="*/ 56 w 80"/>
                    <a:gd name="T19" fmla="*/ 53 h 72"/>
                    <a:gd name="T20" fmla="*/ 53 w 80"/>
                    <a:gd name="T21" fmla="*/ 59 h 72"/>
                    <a:gd name="T22" fmla="*/ 53 w 80"/>
                    <a:gd name="T23" fmla="*/ 67 h 72"/>
                    <a:gd name="T24" fmla="*/ 25 w 80"/>
                    <a:gd name="T25" fmla="*/ 69 h 72"/>
                    <a:gd name="T26" fmla="*/ 0 w 80"/>
                    <a:gd name="T27" fmla="*/ 61 h 72"/>
                    <a:gd name="T28" fmla="*/ 26 w 80"/>
                    <a:gd name="T29" fmla="*/ 64 h 72"/>
                    <a:gd name="T30" fmla="*/ 35 w 80"/>
                    <a:gd name="T31" fmla="*/ 64 h 72"/>
                    <a:gd name="T32" fmla="*/ 38 w 80"/>
                    <a:gd name="T33" fmla="*/ 64 h 72"/>
                    <a:gd name="T34" fmla="*/ 38 w 80"/>
                    <a:gd name="T35" fmla="*/ 64 h 72"/>
                    <a:gd name="T36" fmla="*/ 38 w 80"/>
                    <a:gd name="T37" fmla="*/ 64 h 72"/>
                    <a:gd name="T38" fmla="*/ 38 w 80"/>
                    <a:gd name="T39" fmla="*/ 64 h 72"/>
                    <a:gd name="T40" fmla="*/ 38 w 80"/>
                    <a:gd name="T41" fmla="*/ 64 h 72"/>
                    <a:gd name="T42" fmla="*/ 38 w 80"/>
                    <a:gd name="T43" fmla="*/ 64 h 72"/>
                    <a:gd name="T44" fmla="*/ 38 w 80"/>
                    <a:gd name="T45" fmla="*/ 64 h 72"/>
                    <a:gd name="T46" fmla="*/ 38 w 80"/>
                    <a:gd name="T47" fmla="*/ 64 h 72"/>
                    <a:gd name="T48" fmla="*/ 44 w 80"/>
                    <a:gd name="T49" fmla="*/ 61 h 72"/>
                    <a:gd name="T50" fmla="*/ 48 w 80"/>
                    <a:gd name="T51" fmla="*/ 54 h 72"/>
                    <a:gd name="T52" fmla="*/ 50 w 80"/>
                    <a:gd name="T53" fmla="*/ 47 h 72"/>
                    <a:gd name="T54" fmla="*/ 50 w 80"/>
                    <a:gd name="T55" fmla="*/ 43 h 72"/>
                    <a:gd name="T56" fmla="*/ 56 w 80"/>
                    <a:gd name="T57" fmla="*/ 35 h 72"/>
                    <a:gd name="T58" fmla="*/ 56 w 80"/>
                    <a:gd name="T59" fmla="*/ 25 h 72"/>
                    <a:gd name="T60" fmla="*/ 60 w 80"/>
                    <a:gd name="T61" fmla="*/ 19 h 72"/>
                    <a:gd name="T62" fmla="*/ 61 w 80"/>
                    <a:gd name="T63" fmla="*/ 11 h 72"/>
                    <a:gd name="T64" fmla="*/ 63 w 80"/>
                    <a:gd name="T65" fmla="*/ 5 h 72"/>
                    <a:gd name="T66" fmla="*/ 70 w 80"/>
                    <a:gd name="T67" fmla="*/ 5 h 72"/>
                    <a:gd name="T68" fmla="*/ 73 w 80"/>
                    <a:gd name="T69" fmla="*/ 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80" h="72">
                      <a:moveTo>
                        <a:pt x="74" y="0"/>
                      </a:moveTo>
                      <a:lnTo>
                        <a:pt x="77" y="2"/>
                      </a:lnTo>
                      <a:lnTo>
                        <a:pt x="79" y="5"/>
                      </a:lnTo>
                      <a:lnTo>
                        <a:pt x="80" y="6"/>
                      </a:lnTo>
                      <a:lnTo>
                        <a:pt x="80" y="9"/>
                      </a:lnTo>
                      <a:lnTo>
                        <a:pt x="79" y="12"/>
                      </a:lnTo>
                      <a:lnTo>
                        <a:pt x="77" y="15"/>
                      </a:lnTo>
                      <a:lnTo>
                        <a:pt x="76" y="16"/>
                      </a:lnTo>
                      <a:lnTo>
                        <a:pt x="73" y="18"/>
                      </a:lnTo>
                      <a:lnTo>
                        <a:pt x="70" y="18"/>
                      </a:lnTo>
                      <a:lnTo>
                        <a:pt x="67" y="18"/>
                      </a:lnTo>
                      <a:lnTo>
                        <a:pt x="64" y="19"/>
                      </a:lnTo>
                      <a:lnTo>
                        <a:pt x="66" y="24"/>
                      </a:lnTo>
                      <a:lnTo>
                        <a:pt x="64" y="30"/>
                      </a:lnTo>
                      <a:lnTo>
                        <a:pt x="63" y="32"/>
                      </a:lnTo>
                      <a:lnTo>
                        <a:pt x="60" y="35"/>
                      </a:lnTo>
                      <a:lnTo>
                        <a:pt x="58" y="38"/>
                      </a:lnTo>
                      <a:lnTo>
                        <a:pt x="60" y="43"/>
                      </a:lnTo>
                      <a:lnTo>
                        <a:pt x="58" y="48"/>
                      </a:lnTo>
                      <a:lnTo>
                        <a:pt x="56" y="53"/>
                      </a:lnTo>
                      <a:lnTo>
                        <a:pt x="53" y="56"/>
                      </a:lnTo>
                      <a:lnTo>
                        <a:pt x="53" y="59"/>
                      </a:lnTo>
                      <a:lnTo>
                        <a:pt x="53" y="63"/>
                      </a:lnTo>
                      <a:lnTo>
                        <a:pt x="53" y="67"/>
                      </a:lnTo>
                      <a:lnTo>
                        <a:pt x="50" y="72"/>
                      </a:lnTo>
                      <a:lnTo>
                        <a:pt x="25" y="69"/>
                      </a:lnTo>
                      <a:lnTo>
                        <a:pt x="8" y="67"/>
                      </a:lnTo>
                      <a:lnTo>
                        <a:pt x="0" y="61"/>
                      </a:lnTo>
                      <a:lnTo>
                        <a:pt x="0" y="60"/>
                      </a:lnTo>
                      <a:lnTo>
                        <a:pt x="26" y="64"/>
                      </a:lnTo>
                      <a:lnTo>
                        <a:pt x="31" y="66"/>
                      </a:lnTo>
                      <a:lnTo>
                        <a:pt x="35" y="64"/>
                      </a:lnTo>
                      <a:lnTo>
                        <a:pt x="38" y="64"/>
                      </a:lnTo>
                      <a:lnTo>
                        <a:pt x="38" y="64"/>
                      </a:lnTo>
                      <a:lnTo>
                        <a:pt x="38" y="64"/>
                      </a:lnTo>
                      <a:lnTo>
                        <a:pt x="38" y="64"/>
                      </a:lnTo>
                      <a:lnTo>
                        <a:pt x="38" y="64"/>
                      </a:lnTo>
                      <a:lnTo>
                        <a:pt x="38" y="64"/>
                      </a:lnTo>
                      <a:lnTo>
                        <a:pt x="38" y="64"/>
                      </a:lnTo>
                      <a:lnTo>
                        <a:pt x="38" y="64"/>
                      </a:lnTo>
                      <a:lnTo>
                        <a:pt x="38" y="64"/>
                      </a:lnTo>
                      <a:lnTo>
                        <a:pt x="38" y="64"/>
                      </a:lnTo>
                      <a:lnTo>
                        <a:pt x="38" y="64"/>
                      </a:lnTo>
                      <a:lnTo>
                        <a:pt x="38" y="64"/>
                      </a:lnTo>
                      <a:lnTo>
                        <a:pt x="38" y="64"/>
                      </a:lnTo>
                      <a:lnTo>
                        <a:pt x="38" y="64"/>
                      </a:lnTo>
                      <a:lnTo>
                        <a:pt x="38" y="64"/>
                      </a:lnTo>
                      <a:lnTo>
                        <a:pt x="38" y="64"/>
                      </a:lnTo>
                      <a:lnTo>
                        <a:pt x="40" y="64"/>
                      </a:lnTo>
                      <a:lnTo>
                        <a:pt x="44" y="61"/>
                      </a:lnTo>
                      <a:lnTo>
                        <a:pt x="47" y="59"/>
                      </a:lnTo>
                      <a:lnTo>
                        <a:pt x="48" y="54"/>
                      </a:lnTo>
                      <a:lnTo>
                        <a:pt x="50" y="51"/>
                      </a:lnTo>
                      <a:lnTo>
                        <a:pt x="50" y="47"/>
                      </a:lnTo>
                      <a:lnTo>
                        <a:pt x="50" y="44"/>
                      </a:lnTo>
                      <a:lnTo>
                        <a:pt x="50" y="43"/>
                      </a:lnTo>
                      <a:lnTo>
                        <a:pt x="53" y="40"/>
                      </a:lnTo>
                      <a:lnTo>
                        <a:pt x="56" y="35"/>
                      </a:lnTo>
                      <a:lnTo>
                        <a:pt x="56" y="30"/>
                      </a:lnTo>
                      <a:lnTo>
                        <a:pt x="56" y="25"/>
                      </a:lnTo>
                      <a:lnTo>
                        <a:pt x="57" y="22"/>
                      </a:lnTo>
                      <a:lnTo>
                        <a:pt x="60" y="19"/>
                      </a:lnTo>
                      <a:lnTo>
                        <a:pt x="61" y="16"/>
                      </a:lnTo>
                      <a:lnTo>
                        <a:pt x="61" y="11"/>
                      </a:lnTo>
                      <a:lnTo>
                        <a:pt x="61" y="6"/>
                      </a:lnTo>
                      <a:lnTo>
                        <a:pt x="63" y="5"/>
                      </a:lnTo>
                      <a:lnTo>
                        <a:pt x="66" y="5"/>
                      </a:lnTo>
                      <a:lnTo>
                        <a:pt x="70" y="5"/>
                      </a:lnTo>
                      <a:lnTo>
                        <a:pt x="72" y="3"/>
                      </a:lnTo>
                      <a:lnTo>
                        <a:pt x="73" y="2"/>
                      </a:lnTo>
                      <a:lnTo>
                        <a:pt x="74" y="0"/>
                      </a:lnTo>
                      <a:close/>
                    </a:path>
                  </a:pathLst>
                </a:custGeom>
                <a:solidFill>
                  <a:srgbClr val="40978E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75" name="Freeform 156"/>
                <p:cNvSpPr>
                  <a:spLocks/>
                </p:cNvSpPr>
                <p:nvPr/>
              </p:nvSpPr>
              <p:spPr bwMode="auto">
                <a:xfrm>
                  <a:off x="4987926" y="4191000"/>
                  <a:ext cx="66675" cy="19050"/>
                </a:xfrm>
                <a:custGeom>
                  <a:avLst/>
                  <a:gdLst>
                    <a:gd name="T0" fmla="*/ 0 w 42"/>
                    <a:gd name="T1" fmla="*/ 0 h 12"/>
                    <a:gd name="T2" fmla="*/ 17 w 42"/>
                    <a:gd name="T3" fmla="*/ 2 h 12"/>
                    <a:gd name="T4" fmla="*/ 42 w 42"/>
                    <a:gd name="T5" fmla="*/ 5 h 12"/>
                    <a:gd name="T6" fmla="*/ 39 w 42"/>
                    <a:gd name="T7" fmla="*/ 8 h 12"/>
                    <a:gd name="T8" fmla="*/ 36 w 42"/>
                    <a:gd name="T9" fmla="*/ 9 h 12"/>
                    <a:gd name="T10" fmla="*/ 32 w 42"/>
                    <a:gd name="T11" fmla="*/ 10 h 12"/>
                    <a:gd name="T12" fmla="*/ 26 w 42"/>
                    <a:gd name="T13" fmla="*/ 12 h 12"/>
                    <a:gd name="T14" fmla="*/ 21 w 42"/>
                    <a:gd name="T15" fmla="*/ 10 h 12"/>
                    <a:gd name="T16" fmla="*/ 20 w 42"/>
                    <a:gd name="T17" fmla="*/ 10 h 12"/>
                    <a:gd name="T18" fmla="*/ 18 w 42"/>
                    <a:gd name="T19" fmla="*/ 9 h 12"/>
                    <a:gd name="T20" fmla="*/ 16 w 42"/>
                    <a:gd name="T21" fmla="*/ 8 h 12"/>
                    <a:gd name="T22" fmla="*/ 10 w 42"/>
                    <a:gd name="T23" fmla="*/ 6 h 12"/>
                    <a:gd name="T24" fmla="*/ 5 w 42"/>
                    <a:gd name="T25" fmla="*/ 3 h 12"/>
                    <a:gd name="T26" fmla="*/ 0 w 42"/>
                    <a:gd name="T27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2" h="12">
                      <a:moveTo>
                        <a:pt x="0" y="0"/>
                      </a:moveTo>
                      <a:lnTo>
                        <a:pt x="17" y="2"/>
                      </a:lnTo>
                      <a:lnTo>
                        <a:pt x="42" y="5"/>
                      </a:lnTo>
                      <a:lnTo>
                        <a:pt x="39" y="8"/>
                      </a:lnTo>
                      <a:lnTo>
                        <a:pt x="36" y="9"/>
                      </a:lnTo>
                      <a:lnTo>
                        <a:pt x="32" y="10"/>
                      </a:lnTo>
                      <a:lnTo>
                        <a:pt x="26" y="12"/>
                      </a:lnTo>
                      <a:lnTo>
                        <a:pt x="21" y="10"/>
                      </a:lnTo>
                      <a:lnTo>
                        <a:pt x="20" y="10"/>
                      </a:lnTo>
                      <a:lnTo>
                        <a:pt x="18" y="9"/>
                      </a:lnTo>
                      <a:lnTo>
                        <a:pt x="16" y="8"/>
                      </a:lnTo>
                      <a:lnTo>
                        <a:pt x="10" y="6"/>
                      </a:lnTo>
                      <a:lnTo>
                        <a:pt x="5" y="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18838D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76" name="Freeform 157"/>
                <p:cNvSpPr>
                  <a:spLocks/>
                </p:cNvSpPr>
                <p:nvPr/>
              </p:nvSpPr>
              <p:spPr bwMode="auto">
                <a:xfrm>
                  <a:off x="4968876" y="4178300"/>
                  <a:ext cx="6350" cy="3175"/>
                </a:xfrm>
                <a:custGeom>
                  <a:avLst/>
                  <a:gdLst>
                    <a:gd name="T0" fmla="*/ 0 w 4"/>
                    <a:gd name="T1" fmla="*/ 0 h 2"/>
                    <a:gd name="T2" fmla="*/ 4 w 4"/>
                    <a:gd name="T3" fmla="*/ 1 h 2"/>
                    <a:gd name="T4" fmla="*/ 4 w 4"/>
                    <a:gd name="T5" fmla="*/ 2 h 2"/>
                    <a:gd name="T6" fmla="*/ 0 w 4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0" y="0"/>
                      </a:moveTo>
                      <a:lnTo>
                        <a:pt x="4" y="1"/>
                      </a:lnTo>
                      <a:lnTo>
                        <a:pt x="4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18838D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77" name="Freeform 158"/>
                <p:cNvSpPr>
                  <a:spLocks/>
                </p:cNvSpPr>
                <p:nvPr/>
              </p:nvSpPr>
              <p:spPr bwMode="auto">
                <a:xfrm>
                  <a:off x="4899026" y="4033838"/>
                  <a:ext cx="196850" cy="155575"/>
                </a:xfrm>
                <a:custGeom>
                  <a:avLst/>
                  <a:gdLst>
                    <a:gd name="T0" fmla="*/ 48 w 124"/>
                    <a:gd name="T1" fmla="*/ 0 h 98"/>
                    <a:gd name="T2" fmla="*/ 53 w 124"/>
                    <a:gd name="T3" fmla="*/ 0 h 98"/>
                    <a:gd name="T4" fmla="*/ 57 w 124"/>
                    <a:gd name="T5" fmla="*/ 0 h 98"/>
                    <a:gd name="T6" fmla="*/ 60 w 124"/>
                    <a:gd name="T7" fmla="*/ 2 h 98"/>
                    <a:gd name="T8" fmla="*/ 61 w 124"/>
                    <a:gd name="T9" fmla="*/ 3 h 98"/>
                    <a:gd name="T10" fmla="*/ 61 w 124"/>
                    <a:gd name="T11" fmla="*/ 5 h 98"/>
                    <a:gd name="T12" fmla="*/ 61 w 124"/>
                    <a:gd name="T13" fmla="*/ 5 h 98"/>
                    <a:gd name="T14" fmla="*/ 104 w 124"/>
                    <a:gd name="T15" fmla="*/ 11 h 98"/>
                    <a:gd name="T16" fmla="*/ 108 w 124"/>
                    <a:gd name="T17" fmla="*/ 12 h 98"/>
                    <a:gd name="T18" fmla="*/ 112 w 124"/>
                    <a:gd name="T19" fmla="*/ 15 h 98"/>
                    <a:gd name="T20" fmla="*/ 117 w 124"/>
                    <a:gd name="T21" fmla="*/ 16 h 98"/>
                    <a:gd name="T22" fmla="*/ 121 w 124"/>
                    <a:gd name="T23" fmla="*/ 19 h 98"/>
                    <a:gd name="T24" fmla="*/ 124 w 124"/>
                    <a:gd name="T25" fmla="*/ 22 h 98"/>
                    <a:gd name="T26" fmla="*/ 124 w 124"/>
                    <a:gd name="T27" fmla="*/ 25 h 98"/>
                    <a:gd name="T28" fmla="*/ 124 w 124"/>
                    <a:gd name="T29" fmla="*/ 28 h 98"/>
                    <a:gd name="T30" fmla="*/ 122 w 124"/>
                    <a:gd name="T31" fmla="*/ 31 h 98"/>
                    <a:gd name="T32" fmla="*/ 121 w 124"/>
                    <a:gd name="T33" fmla="*/ 34 h 98"/>
                    <a:gd name="T34" fmla="*/ 120 w 124"/>
                    <a:gd name="T35" fmla="*/ 35 h 98"/>
                    <a:gd name="T36" fmla="*/ 118 w 124"/>
                    <a:gd name="T37" fmla="*/ 37 h 98"/>
                    <a:gd name="T38" fmla="*/ 114 w 124"/>
                    <a:gd name="T39" fmla="*/ 37 h 98"/>
                    <a:gd name="T40" fmla="*/ 111 w 124"/>
                    <a:gd name="T41" fmla="*/ 37 h 98"/>
                    <a:gd name="T42" fmla="*/ 109 w 124"/>
                    <a:gd name="T43" fmla="*/ 38 h 98"/>
                    <a:gd name="T44" fmla="*/ 109 w 124"/>
                    <a:gd name="T45" fmla="*/ 43 h 98"/>
                    <a:gd name="T46" fmla="*/ 109 w 124"/>
                    <a:gd name="T47" fmla="*/ 48 h 98"/>
                    <a:gd name="T48" fmla="*/ 108 w 124"/>
                    <a:gd name="T49" fmla="*/ 51 h 98"/>
                    <a:gd name="T50" fmla="*/ 105 w 124"/>
                    <a:gd name="T51" fmla="*/ 54 h 98"/>
                    <a:gd name="T52" fmla="*/ 104 w 124"/>
                    <a:gd name="T53" fmla="*/ 57 h 98"/>
                    <a:gd name="T54" fmla="*/ 104 w 124"/>
                    <a:gd name="T55" fmla="*/ 62 h 98"/>
                    <a:gd name="T56" fmla="*/ 104 w 124"/>
                    <a:gd name="T57" fmla="*/ 67 h 98"/>
                    <a:gd name="T58" fmla="*/ 101 w 124"/>
                    <a:gd name="T59" fmla="*/ 72 h 98"/>
                    <a:gd name="T60" fmla="*/ 98 w 124"/>
                    <a:gd name="T61" fmla="*/ 75 h 98"/>
                    <a:gd name="T62" fmla="*/ 98 w 124"/>
                    <a:gd name="T63" fmla="*/ 76 h 98"/>
                    <a:gd name="T64" fmla="*/ 98 w 124"/>
                    <a:gd name="T65" fmla="*/ 79 h 98"/>
                    <a:gd name="T66" fmla="*/ 98 w 124"/>
                    <a:gd name="T67" fmla="*/ 80 h 98"/>
                    <a:gd name="T68" fmla="*/ 98 w 124"/>
                    <a:gd name="T69" fmla="*/ 83 h 98"/>
                    <a:gd name="T70" fmla="*/ 96 w 124"/>
                    <a:gd name="T71" fmla="*/ 86 h 98"/>
                    <a:gd name="T72" fmla="*/ 95 w 124"/>
                    <a:gd name="T73" fmla="*/ 91 h 98"/>
                    <a:gd name="T74" fmla="*/ 92 w 124"/>
                    <a:gd name="T75" fmla="*/ 92 h 98"/>
                    <a:gd name="T76" fmla="*/ 89 w 124"/>
                    <a:gd name="T77" fmla="*/ 95 h 98"/>
                    <a:gd name="T78" fmla="*/ 85 w 124"/>
                    <a:gd name="T79" fmla="*/ 96 h 98"/>
                    <a:gd name="T80" fmla="*/ 80 w 124"/>
                    <a:gd name="T81" fmla="*/ 98 h 98"/>
                    <a:gd name="T82" fmla="*/ 74 w 124"/>
                    <a:gd name="T83" fmla="*/ 96 h 98"/>
                    <a:gd name="T84" fmla="*/ 9 w 124"/>
                    <a:gd name="T85" fmla="*/ 82 h 98"/>
                    <a:gd name="T86" fmla="*/ 5 w 124"/>
                    <a:gd name="T87" fmla="*/ 80 h 98"/>
                    <a:gd name="T88" fmla="*/ 2 w 124"/>
                    <a:gd name="T89" fmla="*/ 78 h 98"/>
                    <a:gd name="T90" fmla="*/ 0 w 124"/>
                    <a:gd name="T91" fmla="*/ 76 h 98"/>
                    <a:gd name="T92" fmla="*/ 0 w 124"/>
                    <a:gd name="T93" fmla="*/ 75 h 98"/>
                    <a:gd name="T94" fmla="*/ 0 w 124"/>
                    <a:gd name="T95" fmla="*/ 75 h 98"/>
                    <a:gd name="T96" fmla="*/ 21 w 124"/>
                    <a:gd name="T97" fmla="*/ 18 h 98"/>
                    <a:gd name="T98" fmla="*/ 24 w 124"/>
                    <a:gd name="T99" fmla="*/ 16 h 98"/>
                    <a:gd name="T100" fmla="*/ 25 w 124"/>
                    <a:gd name="T101" fmla="*/ 15 h 98"/>
                    <a:gd name="T102" fmla="*/ 28 w 124"/>
                    <a:gd name="T103" fmla="*/ 14 h 98"/>
                    <a:gd name="T104" fmla="*/ 29 w 124"/>
                    <a:gd name="T105" fmla="*/ 11 h 98"/>
                    <a:gd name="T106" fmla="*/ 31 w 124"/>
                    <a:gd name="T107" fmla="*/ 9 h 98"/>
                    <a:gd name="T108" fmla="*/ 31 w 124"/>
                    <a:gd name="T109" fmla="*/ 9 h 98"/>
                    <a:gd name="T110" fmla="*/ 32 w 124"/>
                    <a:gd name="T111" fmla="*/ 6 h 98"/>
                    <a:gd name="T112" fmla="*/ 35 w 124"/>
                    <a:gd name="T113" fmla="*/ 5 h 98"/>
                    <a:gd name="T114" fmla="*/ 38 w 124"/>
                    <a:gd name="T115" fmla="*/ 2 h 98"/>
                    <a:gd name="T116" fmla="*/ 42 w 124"/>
                    <a:gd name="T117" fmla="*/ 0 h 98"/>
                    <a:gd name="T118" fmla="*/ 48 w 124"/>
                    <a:gd name="T119" fmla="*/ 0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124" h="98">
                      <a:moveTo>
                        <a:pt x="48" y="0"/>
                      </a:moveTo>
                      <a:lnTo>
                        <a:pt x="53" y="0"/>
                      </a:lnTo>
                      <a:lnTo>
                        <a:pt x="57" y="0"/>
                      </a:lnTo>
                      <a:lnTo>
                        <a:pt x="60" y="2"/>
                      </a:lnTo>
                      <a:lnTo>
                        <a:pt x="61" y="3"/>
                      </a:lnTo>
                      <a:lnTo>
                        <a:pt x="61" y="5"/>
                      </a:lnTo>
                      <a:lnTo>
                        <a:pt x="61" y="5"/>
                      </a:lnTo>
                      <a:lnTo>
                        <a:pt x="104" y="11"/>
                      </a:lnTo>
                      <a:lnTo>
                        <a:pt x="108" y="12"/>
                      </a:lnTo>
                      <a:lnTo>
                        <a:pt x="112" y="15"/>
                      </a:lnTo>
                      <a:lnTo>
                        <a:pt x="117" y="16"/>
                      </a:lnTo>
                      <a:lnTo>
                        <a:pt x="121" y="19"/>
                      </a:lnTo>
                      <a:lnTo>
                        <a:pt x="124" y="22"/>
                      </a:lnTo>
                      <a:lnTo>
                        <a:pt x="124" y="25"/>
                      </a:lnTo>
                      <a:lnTo>
                        <a:pt x="124" y="28"/>
                      </a:lnTo>
                      <a:lnTo>
                        <a:pt x="122" y="31"/>
                      </a:lnTo>
                      <a:lnTo>
                        <a:pt x="121" y="34"/>
                      </a:lnTo>
                      <a:lnTo>
                        <a:pt x="120" y="35"/>
                      </a:lnTo>
                      <a:lnTo>
                        <a:pt x="118" y="37"/>
                      </a:lnTo>
                      <a:lnTo>
                        <a:pt x="114" y="37"/>
                      </a:lnTo>
                      <a:lnTo>
                        <a:pt x="111" y="37"/>
                      </a:lnTo>
                      <a:lnTo>
                        <a:pt x="109" y="38"/>
                      </a:lnTo>
                      <a:lnTo>
                        <a:pt x="109" y="43"/>
                      </a:lnTo>
                      <a:lnTo>
                        <a:pt x="109" y="48"/>
                      </a:lnTo>
                      <a:lnTo>
                        <a:pt x="108" y="51"/>
                      </a:lnTo>
                      <a:lnTo>
                        <a:pt x="105" y="54"/>
                      </a:lnTo>
                      <a:lnTo>
                        <a:pt x="104" y="57"/>
                      </a:lnTo>
                      <a:lnTo>
                        <a:pt x="104" y="62"/>
                      </a:lnTo>
                      <a:lnTo>
                        <a:pt x="104" y="67"/>
                      </a:lnTo>
                      <a:lnTo>
                        <a:pt x="101" y="72"/>
                      </a:lnTo>
                      <a:lnTo>
                        <a:pt x="98" y="75"/>
                      </a:lnTo>
                      <a:lnTo>
                        <a:pt x="98" y="76"/>
                      </a:lnTo>
                      <a:lnTo>
                        <a:pt x="98" y="79"/>
                      </a:lnTo>
                      <a:lnTo>
                        <a:pt x="98" y="80"/>
                      </a:lnTo>
                      <a:lnTo>
                        <a:pt x="98" y="83"/>
                      </a:lnTo>
                      <a:lnTo>
                        <a:pt x="96" y="86"/>
                      </a:lnTo>
                      <a:lnTo>
                        <a:pt x="95" y="91"/>
                      </a:lnTo>
                      <a:lnTo>
                        <a:pt x="92" y="92"/>
                      </a:lnTo>
                      <a:lnTo>
                        <a:pt x="89" y="95"/>
                      </a:lnTo>
                      <a:lnTo>
                        <a:pt x="85" y="96"/>
                      </a:lnTo>
                      <a:lnTo>
                        <a:pt x="80" y="98"/>
                      </a:lnTo>
                      <a:lnTo>
                        <a:pt x="74" y="96"/>
                      </a:lnTo>
                      <a:lnTo>
                        <a:pt x="9" y="82"/>
                      </a:lnTo>
                      <a:lnTo>
                        <a:pt x="5" y="80"/>
                      </a:lnTo>
                      <a:lnTo>
                        <a:pt x="2" y="78"/>
                      </a:lnTo>
                      <a:lnTo>
                        <a:pt x="0" y="76"/>
                      </a:lnTo>
                      <a:lnTo>
                        <a:pt x="0" y="75"/>
                      </a:lnTo>
                      <a:lnTo>
                        <a:pt x="0" y="75"/>
                      </a:lnTo>
                      <a:lnTo>
                        <a:pt x="21" y="18"/>
                      </a:lnTo>
                      <a:lnTo>
                        <a:pt x="24" y="16"/>
                      </a:lnTo>
                      <a:lnTo>
                        <a:pt x="25" y="15"/>
                      </a:lnTo>
                      <a:lnTo>
                        <a:pt x="28" y="14"/>
                      </a:lnTo>
                      <a:lnTo>
                        <a:pt x="29" y="11"/>
                      </a:lnTo>
                      <a:lnTo>
                        <a:pt x="31" y="9"/>
                      </a:lnTo>
                      <a:lnTo>
                        <a:pt x="31" y="9"/>
                      </a:lnTo>
                      <a:lnTo>
                        <a:pt x="32" y="6"/>
                      </a:lnTo>
                      <a:lnTo>
                        <a:pt x="35" y="5"/>
                      </a:lnTo>
                      <a:lnTo>
                        <a:pt x="38" y="2"/>
                      </a:lnTo>
                      <a:lnTo>
                        <a:pt x="42" y="0"/>
                      </a:lnTo>
                      <a:lnTo>
                        <a:pt x="48" y="0"/>
                      </a:lnTo>
                      <a:close/>
                    </a:path>
                  </a:pathLst>
                </a:custGeom>
                <a:solidFill>
                  <a:srgbClr val="FFDEB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78" name="Freeform 159"/>
                <p:cNvSpPr>
                  <a:spLocks/>
                </p:cNvSpPr>
                <p:nvPr/>
              </p:nvSpPr>
              <p:spPr bwMode="auto">
                <a:xfrm>
                  <a:off x="5016501" y="4186238"/>
                  <a:ext cx="19050" cy="3175"/>
                </a:xfrm>
                <a:custGeom>
                  <a:avLst/>
                  <a:gdLst>
                    <a:gd name="T0" fmla="*/ 12 w 12"/>
                    <a:gd name="T1" fmla="*/ 0 h 2"/>
                    <a:gd name="T2" fmla="*/ 9 w 12"/>
                    <a:gd name="T3" fmla="*/ 0 h 2"/>
                    <a:gd name="T4" fmla="*/ 5 w 12"/>
                    <a:gd name="T5" fmla="*/ 2 h 2"/>
                    <a:gd name="T6" fmla="*/ 0 w 12"/>
                    <a:gd name="T7" fmla="*/ 0 h 2"/>
                    <a:gd name="T8" fmla="*/ 5 w 12"/>
                    <a:gd name="T9" fmla="*/ 2 h 2"/>
                    <a:gd name="T10" fmla="*/ 9 w 12"/>
                    <a:gd name="T11" fmla="*/ 0 h 2"/>
                    <a:gd name="T12" fmla="*/ 12 w 12"/>
                    <a:gd name="T13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">
                      <a:moveTo>
                        <a:pt x="12" y="0"/>
                      </a:moveTo>
                      <a:lnTo>
                        <a:pt x="9" y="0"/>
                      </a:lnTo>
                      <a:lnTo>
                        <a:pt x="5" y="2"/>
                      </a:lnTo>
                      <a:lnTo>
                        <a:pt x="0" y="0"/>
                      </a:lnTo>
                      <a:lnTo>
                        <a:pt x="5" y="2"/>
                      </a:lnTo>
                      <a:lnTo>
                        <a:pt x="9" y="0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40836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79" name="Freeform 160"/>
                <p:cNvSpPr>
                  <a:spLocks/>
                </p:cNvSpPr>
                <p:nvPr/>
              </p:nvSpPr>
              <p:spPr bwMode="auto">
                <a:xfrm>
                  <a:off x="4929188" y="4062413"/>
                  <a:ext cx="3175" cy="4763"/>
                </a:xfrm>
                <a:custGeom>
                  <a:avLst/>
                  <a:gdLst>
                    <a:gd name="T0" fmla="*/ 2 w 2"/>
                    <a:gd name="T1" fmla="*/ 0 h 3"/>
                    <a:gd name="T2" fmla="*/ 0 w 2"/>
                    <a:gd name="T3" fmla="*/ 1 h 3"/>
                    <a:gd name="T4" fmla="*/ 0 w 2"/>
                    <a:gd name="T5" fmla="*/ 3 h 3"/>
                    <a:gd name="T6" fmla="*/ 2 w 2"/>
                    <a:gd name="T7" fmla="*/ 0 h 3"/>
                    <a:gd name="T8" fmla="*/ 2 w 2"/>
                    <a:gd name="T9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B05129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80" name="Freeform 161"/>
                <p:cNvSpPr>
                  <a:spLocks/>
                </p:cNvSpPr>
                <p:nvPr/>
              </p:nvSpPr>
              <p:spPr bwMode="auto">
                <a:xfrm>
                  <a:off x="4899026" y="4144963"/>
                  <a:ext cx="3175" cy="7938"/>
                </a:xfrm>
                <a:custGeom>
                  <a:avLst/>
                  <a:gdLst>
                    <a:gd name="T0" fmla="*/ 2 w 2"/>
                    <a:gd name="T1" fmla="*/ 0 h 5"/>
                    <a:gd name="T2" fmla="*/ 2 w 2"/>
                    <a:gd name="T3" fmla="*/ 0 h 5"/>
                    <a:gd name="T4" fmla="*/ 0 w 2"/>
                    <a:gd name="T5" fmla="*/ 5 h 5"/>
                    <a:gd name="T6" fmla="*/ 0 w 2"/>
                    <a:gd name="T7" fmla="*/ 5 h 5"/>
                    <a:gd name="T8" fmla="*/ 0 w 2"/>
                    <a:gd name="T9" fmla="*/ 3 h 5"/>
                    <a:gd name="T10" fmla="*/ 0 w 2"/>
                    <a:gd name="T11" fmla="*/ 5 h 5"/>
                    <a:gd name="T12" fmla="*/ 0 w 2"/>
                    <a:gd name="T13" fmla="*/ 3 h 5"/>
                    <a:gd name="T14" fmla="*/ 2 w 2"/>
                    <a:gd name="T1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" h="5">
                      <a:moveTo>
                        <a:pt x="2" y="0"/>
                      </a:moveTo>
                      <a:lnTo>
                        <a:pt x="2" y="0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51A68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81" name="Rectangle 162"/>
                <p:cNvSpPr>
                  <a:spLocks noChangeArrowheads="1"/>
                </p:cNvSpPr>
                <p:nvPr/>
              </p:nvSpPr>
              <p:spPr bwMode="auto">
                <a:xfrm>
                  <a:off x="4929188" y="4064000"/>
                  <a:ext cx="1588" cy="3175"/>
                </a:xfrm>
                <a:prstGeom prst="rect">
                  <a:avLst/>
                </a:prstGeom>
                <a:solidFill>
                  <a:srgbClr val="424729"/>
                </a:soli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82" name="Freeform 163"/>
                <p:cNvSpPr>
                  <a:spLocks/>
                </p:cNvSpPr>
                <p:nvPr/>
              </p:nvSpPr>
              <p:spPr bwMode="auto">
                <a:xfrm>
                  <a:off x="4902201" y="4064000"/>
                  <a:ext cx="26988" cy="80963"/>
                </a:xfrm>
                <a:custGeom>
                  <a:avLst/>
                  <a:gdLst>
                    <a:gd name="T0" fmla="*/ 17 w 17"/>
                    <a:gd name="T1" fmla="*/ 0 h 51"/>
                    <a:gd name="T2" fmla="*/ 0 w 17"/>
                    <a:gd name="T3" fmla="*/ 51 h 51"/>
                    <a:gd name="T4" fmla="*/ 0 w 17"/>
                    <a:gd name="T5" fmla="*/ 51 h 51"/>
                    <a:gd name="T6" fmla="*/ 4 w 17"/>
                    <a:gd name="T7" fmla="*/ 40 h 51"/>
                    <a:gd name="T8" fmla="*/ 8 w 17"/>
                    <a:gd name="T9" fmla="*/ 25 h 51"/>
                    <a:gd name="T10" fmla="*/ 14 w 17"/>
                    <a:gd name="T11" fmla="*/ 11 h 51"/>
                    <a:gd name="T12" fmla="*/ 17 w 17"/>
                    <a:gd name="T13" fmla="*/ 2 h 51"/>
                    <a:gd name="T14" fmla="*/ 17 w 17"/>
                    <a:gd name="T15" fmla="*/ 0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7" h="51">
                      <a:moveTo>
                        <a:pt x="17" y="0"/>
                      </a:moveTo>
                      <a:lnTo>
                        <a:pt x="0" y="51"/>
                      </a:lnTo>
                      <a:lnTo>
                        <a:pt x="0" y="51"/>
                      </a:lnTo>
                      <a:lnTo>
                        <a:pt x="4" y="40"/>
                      </a:lnTo>
                      <a:lnTo>
                        <a:pt x="8" y="25"/>
                      </a:lnTo>
                      <a:lnTo>
                        <a:pt x="14" y="11"/>
                      </a:lnTo>
                      <a:lnTo>
                        <a:pt x="17" y="2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solidFill>
                  <a:srgbClr val="1E917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83" name="Freeform 164"/>
                <p:cNvSpPr>
                  <a:spLocks/>
                </p:cNvSpPr>
                <p:nvPr/>
              </p:nvSpPr>
              <p:spPr bwMode="auto">
                <a:xfrm>
                  <a:off x="4932363" y="4048125"/>
                  <a:ext cx="15875" cy="14288"/>
                </a:xfrm>
                <a:custGeom>
                  <a:avLst/>
                  <a:gdLst>
                    <a:gd name="T0" fmla="*/ 10 w 10"/>
                    <a:gd name="T1" fmla="*/ 0 h 9"/>
                    <a:gd name="T2" fmla="*/ 10 w 10"/>
                    <a:gd name="T3" fmla="*/ 0 h 9"/>
                    <a:gd name="T4" fmla="*/ 8 w 10"/>
                    <a:gd name="T5" fmla="*/ 2 h 9"/>
                    <a:gd name="T6" fmla="*/ 7 w 10"/>
                    <a:gd name="T7" fmla="*/ 5 h 9"/>
                    <a:gd name="T8" fmla="*/ 4 w 10"/>
                    <a:gd name="T9" fmla="*/ 6 h 9"/>
                    <a:gd name="T10" fmla="*/ 3 w 10"/>
                    <a:gd name="T11" fmla="*/ 7 h 9"/>
                    <a:gd name="T12" fmla="*/ 0 w 10"/>
                    <a:gd name="T13" fmla="*/ 9 h 9"/>
                    <a:gd name="T14" fmla="*/ 1 w 10"/>
                    <a:gd name="T15" fmla="*/ 7 h 9"/>
                    <a:gd name="T16" fmla="*/ 4 w 10"/>
                    <a:gd name="T17" fmla="*/ 6 h 9"/>
                    <a:gd name="T18" fmla="*/ 7 w 10"/>
                    <a:gd name="T19" fmla="*/ 3 h 9"/>
                    <a:gd name="T20" fmla="*/ 10 w 10"/>
                    <a:gd name="T21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0" h="9">
                      <a:moveTo>
                        <a:pt x="10" y="0"/>
                      </a:moveTo>
                      <a:lnTo>
                        <a:pt x="10" y="0"/>
                      </a:lnTo>
                      <a:lnTo>
                        <a:pt x="8" y="2"/>
                      </a:lnTo>
                      <a:lnTo>
                        <a:pt x="7" y="5"/>
                      </a:lnTo>
                      <a:lnTo>
                        <a:pt x="4" y="6"/>
                      </a:lnTo>
                      <a:lnTo>
                        <a:pt x="3" y="7"/>
                      </a:lnTo>
                      <a:lnTo>
                        <a:pt x="0" y="9"/>
                      </a:lnTo>
                      <a:lnTo>
                        <a:pt x="1" y="7"/>
                      </a:lnTo>
                      <a:lnTo>
                        <a:pt x="4" y="6"/>
                      </a:lnTo>
                      <a:lnTo>
                        <a:pt x="7" y="3"/>
                      </a:lnTo>
                      <a:lnTo>
                        <a:pt x="10" y="0"/>
                      </a:lnTo>
                      <a:close/>
                    </a:path>
                  </a:pathLst>
                </a:custGeom>
                <a:solidFill>
                  <a:srgbClr val="B05129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84" name="Freeform 165"/>
                <p:cNvSpPr>
                  <a:spLocks/>
                </p:cNvSpPr>
                <p:nvPr/>
              </p:nvSpPr>
              <p:spPr bwMode="auto">
                <a:xfrm>
                  <a:off x="4899026" y="4048125"/>
                  <a:ext cx="139700" cy="141288"/>
                </a:xfrm>
                <a:custGeom>
                  <a:avLst/>
                  <a:gdLst>
                    <a:gd name="T0" fmla="*/ 31 w 88"/>
                    <a:gd name="T1" fmla="*/ 0 h 89"/>
                    <a:gd name="T2" fmla="*/ 29 w 88"/>
                    <a:gd name="T3" fmla="*/ 10 h 89"/>
                    <a:gd name="T4" fmla="*/ 25 w 88"/>
                    <a:gd name="T5" fmla="*/ 21 h 89"/>
                    <a:gd name="T6" fmla="*/ 22 w 88"/>
                    <a:gd name="T7" fmla="*/ 29 h 89"/>
                    <a:gd name="T8" fmla="*/ 21 w 88"/>
                    <a:gd name="T9" fmla="*/ 37 h 89"/>
                    <a:gd name="T10" fmla="*/ 19 w 88"/>
                    <a:gd name="T11" fmla="*/ 44 h 89"/>
                    <a:gd name="T12" fmla="*/ 21 w 88"/>
                    <a:gd name="T13" fmla="*/ 54 h 89"/>
                    <a:gd name="T14" fmla="*/ 28 w 88"/>
                    <a:gd name="T15" fmla="*/ 61 h 89"/>
                    <a:gd name="T16" fmla="*/ 37 w 88"/>
                    <a:gd name="T17" fmla="*/ 67 h 89"/>
                    <a:gd name="T18" fmla="*/ 51 w 88"/>
                    <a:gd name="T19" fmla="*/ 77 h 89"/>
                    <a:gd name="T20" fmla="*/ 69 w 88"/>
                    <a:gd name="T21" fmla="*/ 84 h 89"/>
                    <a:gd name="T22" fmla="*/ 86 w 88"/>
                    <a:gd name="T23" fmla="*/ 87 h 89"/>
                    <a:gd name="T24" fmla="*/ 88 w 88"/>
                    <a:gd name="T25" fmla="*/ 87 h 89"/>
                    <a:gd name="T26" fmla="*/ 86 w 88"/>
                    <a:gd name="T27" fmla="*/ 87 h 89"/>
                    <a:gd name="T28" fmla="*/ 86 w 88"/>
                    <a:gd name="T29" fmla="*/ 87 h 89"/>
                    <a:gd name="T30" fmla="*/ 86 w 88"/>
                    <a:gd name="T31" fmla="*/ 87 h 89"/>
                    <a:gd name="T32" fmla="*/ 86 w 88"/>
                    <a:gd name="T33" fmla="*/ 87 h 89"/>
                    <a:gd name="T34" fmla="*/ 86 w 88"/>
                    <a:gd name="T35" fmla="*/ 87 h 89"/>
                    <a:gd name="T36" fmla="*/ 86 w 88"/>
                    <a:gd name="T37" fmla="*/ 87 h 89"/>
                    <a:gd name="T38" fmla="*/ 86 w 88"/>
                    <a:gd name="T39" fmla="*/ 87 h 89"/>
                    <a:gd name="T40" fmla="*/ 86 w 88"/>
                    <a:gd name="T41" fmla="*/ 87 h 89"/>
                    <a:gd name="T42" fmla="*/ 86 w 88"/>
                    <a:gd name="T43" fmla="*/ 87 h 89"/>
                    <a:gd name="T44" fmla="*/ 86 w 88"/>
                    <a:gd name="T45" fmla="*/ 87 h 89"/>
                    <a:gd name="T46" fmla="*/ 86 w 88"/>
                    <a:gd name="T47" fmla="*/ 87 h 89"/>
                    <a:gd name="T48" fmla="*/ 86 w 88"/>
                    <a:gd name="T49" fmla="*/ 87 h 89"/>
                    <a:gd name="T50" fmla="*/ 86 w 88"/>
                    <a:gd name="T51" fmla="*/ 87 h 89"/>
                    <a:gd name="T52" fmla="*/ 86 w 88"/>
                    <a:gd name="T53" fmla="*/ 87 h 89"/>
                    <a:gd name="T54" fmla="*/ 86 w 88"/>
                    <a:gd name="T55" fmla="*/ 87 h 89"/>
                    <a:gd name="T56" fmla="*/ 86 w 88"/>
                    <a:gd name="T57" fmla="*/ 87 h 89"/>
                    <a:gd name="T58" fmla="*/ 83 w 88"/>
                    <a:gd name="T59" fmla="*/ 87 h 89"/>
                    <a:gd name="T60" fmla="*/ 79 w 88"/>
                    <a:gd name="T61" fmla="*/ 89 h 89"/>
                    <a:gd name="T62" fmla="*/ 74 w 88"/>
                    <a:gd name="T63" fmla="*/ 87 h 89"/>
                    <a:gd name="T64" fmla="*/ 48 w 88"/>
                    <a:gd name="T65" fmla="*/ 83 h 89"/>
                    <a:gd name="T66" fmla="*/ 44 w 88"/>
                    <a:gd name="T67" fmla="*/ 82 h 89"/>
                    <a:gd name="T68" fmla="*/ 28 w 88"/>
                    <a:gd name="T69" fmla="*/ 77 h 89"/>
                    <a:gd name="T70" fmla="*/ 9 w 88"/>
                    <a:gd name="T71" fmla="*/ 73 h 89"/>
                    <a:gd name="T72" fmla="*/ 5 w 88"/>
                    <a:gd name="T73" fmla="*/ 71 h 89"/>
                    <a:gd name="T74" fmla="*/ 3 w 88"/>
                    <a:gd name="T75" fmla="*/ 70 h 89"/>
                    <a:gd name="T76" fmla="*/ 2 w 88"/>
                    <a:gd name="T77" fmla="*/ 67 h 89"/>
                    <a:gd name="T78" fmla="*/ 0 w 88"/>
                    <a:gd name="T79" fmla="*/ 66 h 89"/>
                    <a:gd name="T80" fmla="*/ 0 w 88"/>
                    <a:gd name="T81" fmla="*/ 66 h 89"/>
                    <a:gd name="T82" fmla="*/ 2 w 88"/>
                    <a:gd name="T83" fmla="*/ 61 h 89"/>
                    <a:gd name="T84" fmla="*/ 19 w 88"/>
                    <a:gd name="T85" fmla="*/ 10 h 89"/>
                    <a:gd name="T86" fmla="*/ 21 w 88"/>
                    <a:gd name="T87" fmla="*/ 9 h 89"/>
                    <a:gd name="T88" fmla="*/ 24 w 88"/>
                    <a:gd name="T89" fmla="*/ 7 h 89"/>
                    <a:gd name="T90" fmla="*/ 25 w 88"/>
                    <a:gd name="T91" fmla="*/ 6 h 89"/>
                    <a:gd name="T92" fmla="*/ 28 w 88"/>
                    <a:gd name="T93" fmla="*/ 5 h 89"/>
                    <a:gd name="T94" fmla="*/ 29 w 88"/>
                    <a:gd name="T95" fmla="*/ 2 h 89"/>
                    <a:gd name="T96" fmla="*/ 31 w 88"/>
                    <a:gd name="T97" fmla="*/ 0 h 89"/>
                    <a:gd name="T98" fmla="*/ 31 w 88"/>
                    <a:gd name="T99" fmla="*/ 0 h 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88" h="89">
                      <a:moveTo>
                        <a:pt x="31" y="0"/>
                      </a:moveTo>
                      <a:lnTo>
                        <a:pt x="29" y="10"/>
                      </a:lnTo>
                      <a:lnTo>
                        <a:pt x="25" y="21"/>
                      </a:lnTo>
                      <a:lnTo>
                        <a:pt x="22" y="29"/>
                      </a:lnTo>
                      <a:lnTo>
                        <a:pt x="21" y="37"/>
                      </a:lnTo>
                      <a:lnTo>
                        <a:pt x="19" y="44"/>
                      </a:lnTo>
                      <a:lnTo>
                        <a:pt x="21" y="54"/>
                      </a:lnTo>
                      <a:lnTo>
                        <a:pt x="28" y="61"/>
                      </a:lnTo>
                      <a:lnTo>
                        <a:pt x="37" y="67"/>
                      </a:lnTo>
                      <a:lnTo>
                        <a:pt x="51" y="77"/>
                      </a:lnTo>
                      <a:lnTo>
                        <a:pt x="69" y="84"/>
                      </a:lnTo>
                      <a:lnTo>
                        <a:pt x="86" y="87"/>
                      </a:lnTo>
                      <a:lnTo>
                        <a:pt x="88" y="87"/>
                      </a:lnTo>
                      <a:lnTo>
                        <a:pt x="86" y="87"/>
                      </a:lnTo>
                      <a:lnTo>
                        <a:pt x="86" y="87"/>
                      </a:lnTo>
                      <a:lnTo>
                        <a:pt x="86" y="87"/>
                      </a:lnTo>
                      <a:lnTo>
                        <a:pt x="86" y="87"/>
                      </a:lnTo>
                      <a:lnTo>
                        <a:pt x="86" y="87"/>
                      </a:lnTo>
                      <a:lnTo>
                        <a:pt x="86" y="87"/>
                      </a:lnTo>
                      <a:lnTo>
                        <a:pt x="86" y="87"/>
                      </a:lnTo>
                      <a:lnTo>
                        <a:pt x="86" y="87"/>
                      </a:lnTo>
                      <a:lnTo>
                        <a:pt x="86" y="87"/>
                      </a:lnTo>
                      <a:lnTo>
                        <a:pt x="86" y="87"/>
                      </a:lnTo>
                      <a:lnTo>
                        <a:pt x="86" y="87"/>
                      </a:lnTo>
                      <a:lnTo>
                        <a:pt x="86" y="87"/>
                      </a:lnTo>
                      <a:lnTo>
                        <a:pt x="86" y="87"/>
                      </a:lnTo>
                      <a:lnTo>
                        <a:pt x="86" y="87"/>
                      </a:lnTo>
                      <a:lnTo>
                        <a:pt x="86" y="87"/>
                      </a:lnTo>
                      <a:lnTo>
                        <a:pt x="86" y="87"/>
                      </a:lnTo>
                      <a:lnTo>
                        <a:pt x="83" y="87"/>
                      </a:lnTo>
                      <a:lnTo>
                        <a:pt x="79" y="89"/>
                      </a:lnTo>
                      <a:lnTo>
                        <a:pt x="74" y="87"/>
                      </a:lnTo>
                      <a:lnTo>
                        <a:pt x="48" y="83"/>
                      </a:lnTo>
                      <a:lnTo>
                        <a:pt x="44" y="82"/>
                      </a:lnTo>
                      <a:lnTo>
                        <a:pt x="28" y="77"/>
                      </a:lnTo>
                      <a:lnTo>
                        <a:pt x="9" y="73"/>
                      </a:lnTo>
                      <a:lnTo>
                        <a:pt x="5" y="71"/>
                      </a:lnTo>
                      <a:lnTo>
                        <a:pt x="3" y="70"/>
                      </a:lnTo>
                      <a:lnTo>
                        <a:pt x="2" y="67"/>
                      </a:lnTo>
                      <a:lnTo>
                        <a:pt x="0" y="66"/>
                      </a:lnTo>
                      <a:lnTo>
                        <a:pt x="0" y="66"/>
                      </a:lnTo>
                      <a:lnTo>
                        <a:pt x="2" y="61"/>
                      </a:lnTo>
                      <a:lnTo>
                        <a:pt x="19" y="10"/>
                      </a:lnTo>
                      <a:lnTo>
                        <a:pt x="21" y="9"/>
                      </a:lnTo>
                      <a:lnTo>
                        <a:pt x="24" y="7"/>
                      </a:lnTo>
                      <a:lnTo>
                        <a:pt x="25" y="6"/>
                      </a:lnTo>
                      <a:lnTo>
                        <a:pt x="28" y="5"/>
                      </a:lnTo>
                      <a:lnTo>
                        <a:pt x="29" y="2"/>
                      </a:lnTo>
                      <a:lnTo>
                        <a:pt x="31" y="0"/>
                      </a:lnTo>
                      <a:lnTo>
                        <a:pt x="31" y="0"/>
                      </a:lnTo>
                      <a:close/>
                    </a:path>
                  </a:pathLst>
                </a:custGeom>
                <a:solidFill>
                  <a:srgbClr val="FFC18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85" name="Freeform 166"/>
                <p:cNvSpPr>
                  <a:spLocks/>
                </p:cNvSpPr>
                <p:nvPr/>
              </p:nvSpPr>
              <p:spPr bwMode="auto">
                <a:xfrm>
                  <a:off x="4949826" y="3117850"/>
                  <a:ext cx="355600" cy="309563"/>
                </a:xfrm>
                <a:custGeom>
                  <a:avLst/>
                  <a:gdLst>
                    <a:gd name="T0" fmla="*/ 82 w 224"/>
                    <a:gd name="T1" fmla="*/ 0 h 195"/>
                    <a:gd name="T2" fmla="*/ 106 w 224"/>
                    <a:gd name="T3" fmla="*/ 2 h 195"/>
                    <a:gd name="T4" fmla="*/ 127 w 224"/>
                    <a:gd name="T5" fmla="*/ 6 h 195"/>
                    <a:gd name="T6" fmla="*/ 143 w 224"/>
                    <a:gd name="T7" fmla="*/ 15 h 195"/>
                    <a:gd name="T8" fmla="*/ 156 w 224"/>
                    <a:gd name="T9" fmla="*/ 24 h 195"/>
                    <a:gd name="T10" fmla="*/ 166 w 224"/>
                    <a:gd name="T11" fmla="*/ 31 h 195"/>
                    <a:gd name="T12" fmla="*/ 175 w 224"/>
                    <a:gd name="T13" fmla="*/ 35 h 195"/>
                    <a:gd name="T14" fmla="*/ 194 w 224"/>
                    <a:gd name="T15" fmla="*/ 43 h 195"/>
                    <a:gd name="T16" fmla="*/ 208 w 224"/>
                    <a:gd name="T17" fmla="*/ 53 h 195"/>
                    <a:gd name="T18" fmla="*/ 217 w 224"/>
                    <a:gd name="T19" fmla="*/ 64 h 195"/>
                    <a:gd name="T20" fmla="*/ 221 w 224"/>
                    <a:gd name="T21" fmla="*/ 77 h 195"/>
                    <a:gd name="T22" fmla="*/ 224 w 224"/>
                    <a:gd name="T23" fmla="*/ 92 h 195"/>
                    <a:gd name="T24" fmla="*/ 224 w 224"/>
                    <a:gd name="T25" fmla="*/ 108 h 195"/>
                    <a:gd name="T26" fmla="*/ 224 w 224"/>
                    <a:gd name="T27" fmla="*/ 124 h 195"/>
                    <a:gd name="T28" fmla="*/ 223 w 224"/>
                    <a:gd name="T29" fmla="*/ 140 h 195"/>
                    <a:gd name="T30" fmla="*/ 223 w 224"/>
                    <a:gd name="T31" fmla="*/ 153 h 195"/>
                    <a:gd name="T32" fmla="*/ 220 w 224"/>
                    <a:gd name="T33" fmla="*/ 168 h 195"/>
                    <a:gd name="T34" fmla="*/ 217 w 224"/>
                    <a:gd name="T35" fmla="*/ 181 h 195"/>
                    <a:gd name="T36" fmla="*/ 216 w 224"/>
                    <a:gd name="T37" fmla="*/ 189 h 195"/>
                    <a:gd name="T38" fmla="*/ 213 w 224"/>
                    <a:gd name="T39" fmla="*/ 192 h 195"/>
                    <a:gd name="T40" fmla="*/ 213 w 224"/>
                    <a:gd name="T41" fmla="*/ 188 h 195"/>
                    <a:gd name="T42" fmla="*/ 213 w 224"/>
                    <a:gd name="T43" fmla="*/ 172 h 195"/>
                    <a:gd name="T44" fmla="*/ 208 w 224"/>
                    <a:gd name="T45" fmla="*/ 153 h 195"/>
                    <a:gd name="T46" fmla="*/ 202 w 224"/>
                    <a:gd name="T47" fmla="*/ 136 h 195"/>
                    <a:gd name="T48" fmla="*/ 195 w 224"/>
                    <a:gd name="T49" fmla="*/ 121 h 195"/>
                    <a:gd name="T50" fmla="*/ 188 w 224"/>
                    <a:gd name="T51" fmla="*/ 111 h 195"/>
                    <a:gd name="T52" fmla="*/ 178 w 224"/>
                    <a:gd name="T53" fmla="*/ 105 h 195"/>
                    <a:gd name="T54" fmla="*/ 166 w 224"/>
                    <a:gd name="T55" fmla="*/ 104 h 195"/>
                    <a:gd name="T56" fmla="*/ 156 w 224"/>
                    <a:gd name="T57" fmla="*/ 108 h 195"/>
                    <a:gd name="T58" fmla="*/ 137 w 224"/>
                    <a:gd name="T59" fmla="*/ 121 h 195"/>
                    <a:gd name="T60" fmla="*/ 118 w 224"/>
                    <a:gd name="T61" fmla="*/ 127 h 195"/>
                    <a:gd name="T62" fmla="*/ 99 w 224"/>
                    <a:gd name="T63" fmla="*/ 128 h 195"/>
                    <a:gd name="T64" fmla="*/ 80 w 224"/>
                    <a:gd name="T65" fmla="*/ 125 h 195"/>
                    <a:gd name="T66" fmla="*/ 64 w 224"/>
                    <a:gd name="T67" fmla="*/ 121 h 195"/>
                    <a:gd name="T68" fmla="*/ 50 w 224"/>
                    <a:gd name="T69" fmla="*/ 117 h 195"/>
                    <a:gd name="T70" fmla="*/ 38 w 224"/>
                    <a:gd name="T71" fmla="*/ 114 h 195"/>
                    <a:gd name="T72" fmla="*/ 31 w 224"/>
                    <a:gd name="T73" fmla="*/ 114 h 195"/>
                    <a:gd name="T74" fmla="*/ 26 w 224"/>
                    <a:gd name="T75" fmla="*/ 118 h 195"/>
                    <a:gd name="T76" fmla="*/ 24 w 224"/>
                    <a:gd name="T77" fmla="*/ 128 h 195"/>
                    <a:gd name="T78" fmla="*/ 19 w 224"/>
                    <a:gd name="T79" fmla="*/ 143 h 195"/>
                    <a:gd name="T80" fmla="*/ 15 w 224"/>
                    <a:gd name="T81" fmla="*/ 159 h 195"/>
                    <a:gd name="T82" fmla="*/ 13 w 224"/>
                    <a:gd name="T83" fmla="*/ 175 h 195"/>
                    <a:gd name="T84" fmla="*/ 13 w 224"/>
                    <a:gd name="T85" fmla="*/ 188 h 195"/>
                    <a:gd name="T86" fmla="*/ 13 w 224"/>
                    <a:gd name="T87" fmla="*/ 195 h 195"/>
                    <a:gd name="T88" fmla="*/ 12 w 224"/>
                    <a:gd name="T89" fmla="*/ 195 h 195"/>
                    <a:gd name="T90" fmla="*/ 9 w 224"/>
                    <a:gd name="T91" fmla="*/ 191 h 195"/>
                    <a:gd name="T92" fmla="*/ 6 w 224"/>
                    <a:gd name="T93" fmla="*/ 182 h 195"/>
                    <a:gd name="T94" fmla="*/ 3 w 224"/>
                    <a:gd name="T95" fmla="*/ 170 h 195"/>
                    <a:gd name="T96" fmla="*/ 2 w 224"/>
                    <a:gd name="T97" fmla="*/ 156 h 195"/>
                    <a:gd name="T98" fmla="*/ 0 w 224"/>
                    <a:gd name="T99" fmla="*/ 143 h 195"/>
                    <a:gd name="T100" fmla="*/ 0 w 224"/>
                    <a:gd name="T101" fmla="*/ 122 h 195"/>
                    <a:gd name="T102" fmla="*/ 3 w 224"/>
                    <a:gd name="T103" fmla="*/ 101 h 195"/>
                    <a:gd name="T104" fmla="*/ 6 w 224"/>
                    <a:gd name="T105" fmla="*/ 80 h 195"/>
                    <a:gd name="T106" fmla="*/ 12 w 224"/>
                    <a:gd name="T107" fmla="*/ 61 h 195"/>
                    <a:gd name="T108" fmla="*/ 19 w 224"/>
                    <a:gd name="T109" fmla="*/ 43 h 195"/>
                    <a:gd name="T110" fmla="*/ 31 w 224"/>
                    <a:gd name="T111" fmla="*/ 27 h 195"/>
                    <a:gd name="T112" fmla="*/ 44 w 224"/>
                    <a:gd name="T113" fmla="*/ 15 h 195"/>
                    <a:gd name="T114" fmla="*/ 61 w 224"/>
                    <a:gd name="T115" fmla="*/ 5 h 195"/>
                    <a:gd name="T116" fmla="*/ 82 w 224"/>
                    <a:gd name="T117" fmla="*/ 0 h 1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24" h="195">
                      <a:moveTo>
                        <a:pt x="82" y="0"/>
                      </a:moveTo>
                      <a:lnTo>
                        <a:pt x="106" y="2"/>
                      </a:lnTo>
                      <a:lnTo>
                        <a:pt x="127" y="6"/>
                      </a:lnTo>
                      <a:lnTo>
                        <a:pt x="143" y="15"/>
                      </a:lnTo>
                      <a:lnTo>
                        <a:pt x="156" y="24"/>
                      </a:lnTo>
                      <a:lnTo>
                        <a:pt x="166" y="31"/>
                      </a:lnTo>
                      <a:lnTo>
                        <a:pt x="175" y="35"/>
                      </a:lnTo>
                      <a:lnTo>
                        <a:pt x="194" y="43"/>
                      </a:lnTo>
                      <a:lnTo>
                        <a:pt x="208" y="53"/>
                      </a:lnTo>
                      <a:lnTo>
                        <a:pt x="217" y="64"/>
                      </a:lnTo>
                      <a:lnTo>
                        <a:pt x="221" y="77"/>
                      </a:lnTo>
                      <a:lnTo>
                        <a:pt x="224" y="92"/>
                      </a:lnTo>
                      <a:lnTo>
                        <a:pt x="224" y="108"/>
                      </a:lnTo>
                      <a:lnTo>
                        <a:pt x="224" y="124"/>
                      </a:lnTo>
                      <a:lnTo>
                        <a:pt x="223" y="140"/>
                      </a:lnTo>
                      <a:lnTo>
                        <a:pt x="223" y="153"/>
                      </a:lnTo>
                      <a:lnTo>
                        <a:pt x="220" y="168"/>
                      </a:lnTo>
                      <a:lnTo>
                        <a:pt x="217" y="181"/>
                      </a:lnTo>
                      <a:lnTo>
                        <a:pt x="216" y="189"/>
                      </a:lnTo>
                      <a:lnTo>
                        <a:pt x="213" y="192"/>
                      </a:lnTo>
                      <a:lnTo>
                        <a:pt x="213" y="188"/>
                      </a:lnTo>
                      <a:lnTo>
                        <a:pt x="213" y="172"/>
                      </a:lnTo>
                      <a:lnTo>
                        <a:pt x="208" y="153"/>
                      </a:lnTo>
                      <a:lnTo>
                        <a:pt x="202" y="136"/>
                      </a:lnTo>
                      <a:lnTo>
                        <a:pt x="195" y="121"/>
                      </a:lnTo>
                      <a:lnTo>
                        <a:pt x="188" y="111"/>
                      </a:lnTo>
                      <a:lnTo>
                        <a:pt x="178" y="105"/>
                      </a:lnTo>
                      <a:lnTo>
                        <a:pt x="166" y="104"/>
                      </a:lnTo>
                      <a:lnTo>
                        <a:pt x="156" y="108"/>
                      </a:lnTo>
                      <a:lnTo>
                        <a:pt x="137" y="121"/>
                      </a:lnTo>
                      <a:lnTo>
                        <a:pt x="118" y="127"/>
                      </a:lnTo>
                      <a:lnTo>
                        <a:pt x="99" y="128"/>
                      </a:lnTo>
                      <a:lnTo>
                        <a:pt x="80" y="125"/>
                      </a:lnTo>
                      <a:lnTo>
                        <a:pt x="64" y="121"/>
                      </a:lnTo>
                      <a:lnTo>
                        <a:pt x="50" y="117"/>
                      </a:lnTo>
                      <a:lnTo>
                        <a:pt x="38" y="114"/>
                      </a:lnTo>
                      <a:lnTo>
                        <a:pt x="31" y="114"/>
                      </a:lnTo>
                      <a:lnTo>
                        <a:pt x="26" y="118"/>
                      </a:lnTo>
                      <a:lnTo>
                        <a:pt x="24" y="128"/>
                      </a:lnTo>
                      <a:lnTo>
                        <a:pt x="19" y="143"/>
                      </a:lnTo>
                      <a:lnTo>
                        <a:pt x="15" y="159"/>
                      </a:lnTo>
                      <a:lnTo>
                        <a:pt x="13" y="175"/>
                      </a:lnTo>
                      <a:lnTo>
                        <a:pt x="13" y="188"/>
                      </a:lnTo>
                      <a:lnTo>
                        <a:pt x="13" y="195"/>
                      </a:lnTo>
                      <a:lnTo>
                        <a:pt x="12" y="195"/>
                      </a:lnTo>
                      <a:lnTo>
                        <a:pt x="9" y="191"/>
                      </a:lnTo>
                      <a:lnTo>
                        <a:pt x="6" y="182"/>
                      </a:lnTo>
                      <a:lnTo>
                        <a:pt x="3" y="170"/>
                      </a:lnTo>
                      <a:lnTo>
                        <a:pt x="2" y="156"/>
                      </a:lnTo>
                      <a:lnTo>
                        <a:pt x="0" y="143"/>
                      </a:lnTo>
                      <a:lnTo>
                        <a:pt x="0" y="122"/>
                      </a:lnTo>
                      <a:lnTo>
                        <a:pt x="3" y="101"/>
                      </a:lnTo>
                      <a:lnTo>
                        <a:pt x="6" y="80"/>
                      </a:lnTo>
                      <a:lnTo>
                        <a:pt x="12" y="61"/>
                      </a:lnTo>
                      <a:lnTo>
                        <a:pt x="19" y="43"/>
                      </a:lnTo>
                      <a:lnTo>
                        <a:pt x="31" y="27"/>
                      </a:lnTo>
                      <a:lnTo>
                        <a:pt x="44" y="15"/>
                      </a:lnTo>
                      <a:lnTo>
                        <a:pt x="61" y="5"/>
                      </a:lnTo>
                      <a:lnTo>
                        <a:pt x="82" y="0"/>
                      </a:lnTo>
                      <a:close/>
                    </a:path>
                  </a:pathLst>
                </a:custGeom>
                <a:solidFill>
                  <a:srgbClr val="B05D3A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86" name="Freeform 167"/>
                <p:cNvSpPr>
                  <a:spLocks/>
                </p:cNvSpPr>
                <p:nvPr/>
              </p:nvSpPr>
              <p:spPr bwMode="auto">
                <a:xfrm>
                  <a:off x="5248276" y="3294063"/>
                  <a:ext cx="39688" cy="115888"/>
                </a:xfrm>
                <a:custGeom>
                  <a:avLst/>
                  <a:gdLst>
                    <a:gd name="T0" fmla="*/ 0 w 25"/>
                    <a:gd name="T1" fmla="*/ 0 h 73"/>
                    <a:gd name="T2" fmla="*/ 9 w 25"/>
                    <a:gd name="T3" fmla="*/ 11 h 73"/>
                    <a:gd name="T4" fmla="*/ 17 w 25"/>
                    <a:gd name="T5" fmla="*/ 32 h 73"/>
                    <a:gd name="T6" fmla="*/ 23 w 25"/>
                    <a:gd name="T7" fmla="*/ 52 h 73"/>
                    <a:gd name="T8" fmla="*/ 25 w 25"/>
                    <a:gd name="T9" fmla="*/ 73 h 73"/>
                    <a:gd name="T10" fmla="*/ 25 w 25"/>
                    <a:gd name="T11" fmla="*/ 73 h 73"/>
                    <a:gd name="T12" fmla="*/ 23 w 25"/>
                    <a:gd name="T13" fmla="*/ 52 h 73"/>
                    <a:gd name="T14" fmla="*/ 16 w 25"/>
                    <a:gd name="T15" fmla="*/ 32 h 73"/>
                    <a:gd name="T16" fmla="*/ 9 w 25"/>
                    <a:gd name="T17" fmla="*/ 13 h 73"/>
                    <a:gd name="T18" fmla="*/ 0 w 25"/>
                    <a:gd name="T19" fmla="*/ 0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5" h="73">
                      <a:moveTo>
                        <a:pt x="0" y="0"/>
                      </a:moveTo>
                      <a:lnTo>
                        <a:pt x="9" y="11"/>
                      </a:lnTo>
                      <a:lnTo>
                        <a:pt x="17" y="32"/>
                      </a:lnTo>
                      <a:lnTo>
                        <a:pt x="23" y="52"/>
                      </a:lnTo>
                      <a:lnTo>
                        <a:pt x="25" y="73"/>
                      </a:lnTo>
                      <a:lnTo>
                        <a:pt x="25" y="73"/>
                      </a:lnTo>
                      <a:lnTo>
                        <a:pt x="23" y="52"/>
                      </a:lnTo>
                      <a:lnTo>
                        <a:pt x="16" y="32"/>
                      </a:lnTo>
                      <a:lnTo>
                        <a:pt x="9" y="1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F804A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87" name="Freeform 168"/>
                <p:cNvSpPr>
                  <a:spLocks/>
                </p:cNvSpPr>
                <p:nvPr/>
              </p:nvSpPr>
              <p:spPr bwMode="auto">
                <a:xfrm>
                  <a:off x="5287963" y="3409950"/>
                  <a:ext cx="0" cy="6350"/>
                </a:xfrm>
                <a:custGeom>
                  <a:avLst/>
                  <a:gdLst>
                    <a:gd name="T0" fmla="*/ 0 h 4"/>
                    <a:gd name="T1" fmla="*/ 0 h 4"/>
                    <a:gd name="T2" fmla="*/ 4 h 4"/>
                    <a:gd name="T3" fmla="*/ 0 h 4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</a:cxnLst>
                  <a:rect l="0" t="0" r="r" b="b"/>
                  <a:pathLst>
                    <a:path h="4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C3232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88" name="Freeform 169"/>
                <p:cNvSpPr>
                  <a:spLocks/>
                </p:cNvSpPr>
                <p:nvPr/>
              </p:nvSpPr>
              <p:spPr bwMode="auto">
                <a:xfrm>
                  <a:off x="5075238" y="3117850"/>
                  <a:ext cx="230188" cy="304800"/>
                </a:xfrm>
                <a:custGeom>
                  <a:avLst/>
                  <a:gdLst>
                    <a:gd name="T0" fmla="*/ 14 w 145"/>
                    <a:gd name="T1" fmla="*/ 0 h 192"/>
                    <a:gd name="T2" fmla="*/ 22 w 145"/>
                    <a:gd name="T3" fmla="*/ 0 h 192"/>
                    <a:gd name="T4" fmla="*/ 27 w 145"/>
                    <a:gd name="T5" fmla="*/ 2 h 192"/>
                    <a:gd name="T6" fmla="*/ 27 w 145"/>
                    <a:gd name="T7" fmla="*/ 2 h 192"/>
                    <a:gd name="T8" fmla="*/ 48 w 145"/>
                    <a:gd name="T9" fmla="*/ 6 h 192"/>
                    <a:gd name="T10" fmla="*/ 64 w 145"/>
                    <a:gd name="T11" fmla="*/ 15 h 192"/>
                    <a:gd name="T12" fmla="*/ 77 w 145"/>
                    <a:gd name="T13" fmla="*/ 24 h 192"/>
                    <a:gd name="T14" fmla="*/ 87 w 145"/>
                    <a:gd name="T15" fmla="*/ 31 h 192"/>
                    <a:gd name="T16" fmla="*/ 96 w 145"/>
                    <a:gd name="T17" fmla="*/ 35 h 192"/>
                    <a:gd name="T18" fmla="*/ 115 w 145"/>
                    <a:gd name="T19" fmla="*/ 43 h 192"/>
                    <a:gd name="T20" fmla="*/ 128 w 145"/>
                    <a:gd name="T21" fmla="*/ 51 h 192"/>
                    <a:gd name="T22" fmla="*/ 137 w 145"/>
                    <a:gd name="T23" fmla="*/ 63 h 192"/>
                    <a:gd name="T24" fmla="*/ 142 w 145"/>
                    <a:gd name="T25" fmla="*/ 75 h 192"/>
                    <a:gd name="T26" fmla="*/ 145 w 145"/>
                    <a:gd name="T27" fmla="*/ 89 h 192"/>
                    <a:gd name="T28" fmla="*/ 145 w 145"/>
                    <a:gd name="T29" fmla="*/ 104 h 192"/>
                    <a:gd name="T30" fmla="*/ 145 w 145"/>
                    <a:gd name="T31" fmla="*/ 136 h 192"/>
                    <a:gd name="T32" fmla="*/ 144 w 145"/>
                    <a:gd name="T33" fmla="*/ 140 h 192"/>
                    <a:gd name="T34" fmla="*/ 144 w 145"/>
                    <a:gd name="T35" fmla="*/ 153 h 192"/>
                    <a:gd name="T36" fmla="*/ 141 w 145"/>
                    <a:gd name="T37" fmla="*/ 168 h 192"/>
                    <a:gd name="T38" fmla="*/ 139 w 145"/>
                    <a:gd name="T39" fmla="*/ 179 h 192"/>
                    <a:gd name="T40" fmla="*/ 137 w 145"/>
                    <a:gd name="T41" fmla="*/ 188 h 192"/>
                    <a:gd name="T42" fmla="*/ 135 w 145"/>
                    <a:gd name="T43" fmla="*/ 192 h 192"/>
                    <a:gd name="T44" fmla="*/ 134 w 145"/>
                    <a:gd name="T45" fmla="*/ 191 h 192"/>
                    <a:gd name="T46" fmla="*/ 134 w 145"/>
                    <a:gd name="T47" fmla="*/ 189 h 192"/>
                    <a:gd name="T48" fmla="*/ 134 w 145"/>
                    <a:gd name="T49" fmla="*/ 188 h 192"/>
                    <a:gd name="T50" fmla="*/ 134 w 145"/>
                    <a:gd name="T51" fmla="*/ 184 h 192"/>
                    <a:gd name="T52" fmla="*/ 132 w 145"/>
                    <a:gd name="T53" fmla="*/ 163 h 192"/>
                    <a:gd name="T54" fmla="*/ 126 w 145"/>
                    <a:gd name="T55" fmla="*/ 143 h 192"/>
                    <a:gd name="T56" fmla="*/ 118 w 145"/>
                    <a:gd name="T57" fmla="*/ 122 h 192"/>
                    <a:gd name="T58" fmla="*/ 109 w 145"/>
                    <a:gd name="T59" fmla="*/ 111 h 192"/>
                    <a:gd name="T60" fmla="*/ 97 w 145"/>
                    <a:gd name="T61" fmla="*/ 95 h 192"/>
                    <a:gd name="T62" fmla="*/ 87 w 145"/>
                    <a:gd name="T63" fmla="*/ 79 h 192"/>
                    <a:gd name="T64" fmla="*/ 78 w 145"/>
                    <a:gd name="T65" fmla="*/ 64 h 192"/>
                    <a:gd name="T66" fmla="*/ 70 w 145"/>
                    <a:gd name="T67" fmla="*/ 48 h 192"/>
                    <a:gd name="T68" fmla="*/ 59 w 145"/>
                    <a:gd name="T69" fmla="*/ 34 h 192"/>
                    <a:gd name="T70" fmla="*/ 45 w 145"/>
                    <a:gd name="T71" fmla="*/ 21 h 192"/>
                    <a:gd name="T72" fmla="*/ 25 w 145"/>
                    <a:gd name="T73" fmla="*/ 11 h 192"/>
                    <a:gd name="T74" fmla="*/ 0 w 145"/>
                    <a:gd name="T75" fmla="*/ 2 h 192"/>
                    <a:gd name="T76" fmla="*/ 0 w 145"/>
                    <a:gd name="T77" fmla="*/ 2 h 192"/>
                    <a:gd name="T78" fmla="*/ 4 w 145"/>
                    <a:gd name="T79" fmla="*/ 0 h 192"/>
                    <a:gd name="T80" fmla="*/ 9 w 145"/>
                    <a:gd name="T81" fmla="*/ 0 h 192"/>
                    <a:gd name="T82" fmla="*/ 14 w 145"/>
                    <a:gd name="T83" fmla="*/ 0 h 1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145" h="192">
                      <a:moveTo>
                        <a:pt x="14" y="0"/>
                      </a:moveTo>
                      <a:lnTo>
                        <a:pt x="22" y="0"/>
                      </a:lnTo>
                      <a:lnTo>
                        <a:pt x="27" y="2"/>
                      </a:lnTo>
                      <a:lnTo>
                        <a:pt x="27" y="2"/>
                      </a:lnTo>
                      <a:lnTo>
                        <a:pt x="48" y="6"/>
                      </a:lnTo>
                      <a:lnTo>
                        <a:pt x="64" y="15"/>
                      </a:lnTo>
                      <a:lnTo>
                        <a:pt x="77" y="24"/>
                      </a:lnTo>
                      <a:lnTo>
                        <a:pt x="87" y="31"/>
                      </a:lnTo>
                      <a:lnTo>
                        <a:pt x="96" y="35"/>
                      </a:lnTo>
                      <a:lnTo>
                        <a:pt x="115" y="43"/>
                      </a:lnTo>
                      <a:lnTo>
                        <a:pt x="128" y="51"/>
                      </a:lnTo>
                      <a:lnTo>
                        <a:pt x="137" y="63"/>
                      </a:lnTo>
                      <a:lnTo>
                        <a:pt x="142" y="75"/>
                      </a:lnTo>
                      <a:lnTo>
                        <a:pt x="145" y="89"/>
                      </a:lnTo>
                      <a:lnTo>
                        <a:pt x="145" y="104"/>
                      </a:lnTo>
                      <a:lnTo>
                        <a:pt x="145" y="136"/>
                      </a:lnTo>
                      <a:lnTo>
                        <a:pt x="144" y="140"/>
                      </a:lnTo>
                      <a:lnTo>
                        <a:pt x="144" y="153"/>
                      </a:lnTo>
                      <a:lnTo>
                        <a:pt x="141" y="168"/>
                      </a:lnTo>
                      <a:lnTo>
                        <a:pt x="139" y="179"/>
                      </a:lnTo>
                      <a:lnTo>
                        <a:pt x="137" y="188"/>
                      </a:lnTo>
                      <a:lnTo>
                        <a:pt x="135" y="192"/>
                      </a:lnTo>
                      <a:lnTo>
                        <a:pt x="134" y="191"/>
                      </a:lnTo>
                      <a:lnTo>
                        <a:pt x="134" y="189"/>
                      </a:lnTo>
                      <a:lnTo>
                        <a:pt x="134" y="188"/>
                      </a:lnTo>
                      <a:lnTo>
                        <a:pt x="134" y="184"/>
                      </a:lnTo>
                      <a:lnTo>
                        <a:pt x="132" y="163"/>
                      </a:lnTo>
                      <a:lnTo>
                        <a:pt x="126" y="143"/>
                      </a:lnTo>
                      <a:lnTo>
                        <a:pt x="118" y="122"/>
                      </a:lnTo>
                      <a:lnTo>
                        <a:pt x="109" y="111"/>
                      </a:lnTo>
                      <a:lnTo>
                        <a:pt x="97" y="95"/>
                      </a:lnTo>
                      <a:lnTo>
                        <a:pt x="87" y="79"/>
                      </a:lnTo>
                      <a:lnTo>
                        <a:pt x="78" y="64"/>
                      </a:lnTo>
                      <a:lnTo>
                        <a:pt x="70" y="48"/>
                      </a:lnTo>
                      <a:lnTo>
                        <a:pt x="59" y="34"/>
                      </a:lnTo>
                      <a:lnTo>
                        <a:pt x="45" y="21"/>
                      </a:lnTo>
                      <a:lnTo>
                        <a:pt x="25" y="11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4" y="0"/>
                      </a:lnTo>
                      <a:lnTo>
                        <a:pt x="9" y="0"/>
                      </a:lnTo>
                      <a:lnTo>
                        <a:pt x="14" y="0"/>
                      </a:lnTo>
                      <a:close/>
                    </a:path>
                  </a:pathLst>
                </a:custGeom>
                <a:solidFill>
                  <a:srgbClr val="8B412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89" name="Freeform 172"/>
                <p:cNvSpPr>
                  <a:spLocks/>
                </p:cNvSpPr>
                <p:nvPr/>
              </p:nvSpPr>
              <p:spPr bwMode="auto">
                <a:xfrm>
                  <a:off x="6291263" y="5276850"/>
                  <a:ext cx="17463" cy="3175"/>
                </a:xfrm>
                <a:custGeom>
                  <a:avLst/>
                  <a:gdLst>
                    <a:gd name="T0" fmla="*/ 11 w 11"/>
                    <a:gd name="T1" fmla="*/ 0 h 2"/>
                    <a:gd name="T2" fmla="*/ 0 w 11"/>
                    <a:gd name="T3" fmla="*/ 2 h 2"/>
                    <a:gd name="T4" fmla="*/ 2 w 11"/>
                    <a:gd name="T5" fmla="*/ 0 h 2"/>
                    <a:gd name="T6" fmla="*/ 11 w 11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1" h="2">
                      <a:moveTo>
                        <a:pt x="11" y="0"/>
                      </a:move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solidFill>
                  <a:srgbClr val="C0B5B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90" name="Freeform 175"/>
                <p:cNvSpPr>
                  <a:spLocks/>
                </p:cNvSpPr>
                <p:nvPr/>
              </p:nvSpPr>
              <p:spPr bwMode="auto">
                <a:xfrm>
                  <a:off x="5495926" y="5278438"/>
                  <a:ext cx="61913" cy="14288"/>
                </a:xfrm>
                <a:custGeom>
                  <a:avLst/>
                  <a:gdLst>
                    <a:gd name="T0" fmla="*/ 39 w 39"/>
                    <a:gd name="T1" fmla="*/ 0 h 9"/>
                    <a:gd name="T2" fmla="*/ 30 w 39"/>
                    <a:gd name="T3" fmla="*/ 7 h 9"/>
                    <a:gd name="T4" fmla="*/ 17 w 39"/>
                    <a:gd name="T5" fmla="*/ 9 h 9"/>
                    <a:gd name="T6" fmla="*/ 1 w 39"/>
                    <a:gd name="T7" fmla="*/ 9 h 9"/>
                    <a:gd name="T8" fmla="*/ 0 w 39"/>
                    <a:gd name="T9" fmla="*/ 9 h 9"/>
                    <a:gd name="T10" fmla="*/ 0 w 39"/>
                    <a:gd name="T11" fmla="*/ 9 h 9"/>
                    <a:gd name="T12" fmla="*/ 14 w 39"/>
                    <a:gd name="T13" fmla="*/ 4 h 9"/>
                    <a:gd name="T14" fmla="*/ 27 w 39"/>
                    <a:gd name="T15" fmla="*/ 0 h 9"/>
                    <a:gd name="T16" fmla="*/ 39 w 39"/>
                    <a:gd name="T17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9" h="9">
                      <a:moveTo>
                        <a:pt x="39" y="0"/>
                      </a:moveTo>
                      <a:lnTo>
                        <a:pt x="30" y="7"/>
                      </a:lnTo>
                      <a:lnTo>
                        <a:pt x="17" y="9"/>
                      </a:lnTo>
                      <a:lnTo>
                        <a:pt x="1" y="9"/>
                      </a:lnTo>
                      <a:lnTo>
                        <a:pt x="0" y="9"/>
                      </a:lnTo>
                      <a:lnTo>
                        <a:pt x="0" y="9"/>
                      </a:lnTo>
                      <a:lnTo>
                        <a:pt x="14" y="4"/>
                      </a:lnTo>
                      <a:lnTo>
                        <a:pt x="27" y="0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solidFill>
                  <a:srgbClr val="A6999B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91" name="Rectangle 177"/>
                <p:cNvSpPr>
                  <a:spLocks noChangeArrowheads="1"/>
                </p:cNvSpPr>
                <p:nvPr/>
              </p:nvSpPr>
              <p:spPr bwMode="auto">
                <a:xfrm>
                  <a:off x="6384926" y="4740275"/>
                  <a:ext cx="101600" cy="441325"/>
                </a:xfrm>
                <a:prstGeom prst="rect">
                  <a:avLst/>
                </a:prstGeom>
                <a:solidFill>
                  <a:srgbClr val="FFF0D7"/>
                </a:soli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92" name="Freeform 178"/>
                <p:cNvSpPr>
                  <a:spLocks/>
                </p:cNvSpPr>
                <p:nvPr/>
              </p:nvSpPr>
              <p:spPr bwMode="auto">
                <a:xfrm>
                  <a:off x="6384926" y="4865688"/>
                  <a:ext cx="101600" cy="285750"/>
                </a:xfrm>
                <a:custGeom>
                  <a:avLst/>
                  <a:gdLst>
                    <a:gd name="T0" fmla="*/ 0 w 64"/>
                    <a:gd name="T1" fmla="*/ 0 h 180"/>
                    <a:gd name="T2" fmla="*/ 64 w 64"/>
                    <a:gd name="T3" fmla="*/ 0 h 180"/>
                    <a:gd name="T4" fmla="*/ 64 w 64"/>
                    <a:gd name="T5" fmla="*/ 180 h 180"/>
                    <a:gd name="T6" fmla="*/ 53 w 64"/>
                    <a:gd name="T7" fmla="*/ 180 h 180"/>
                    <a:gd name="T8" fmla="*/ 8 w 64"/>
                    <a:gd name="T9" fmla="*/ 180 h 180"/>
                    <a:gd name="T10" fmla="*/ 0 w 64"/>
                    <a:gd name="T11" fmla="*/ 180 h 180"/>
                    <a:gd name="T12" fmla="*/ 0 w 64"/>
                    <a:gd name="T13" fmla="*/ 0 h 1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4" h="180">
                      <a:moveTo>
                        <a:pt x="0" y="0"/>
                      </a:moveTo>
                      <a:lnTo>
                        <a:pt x="64" y="0"/>
                      </a:lnTo>
                      <a:lnTo>
                        <a:pt x="64" y="180"/>
                      </a:lnTo>
                      <a:lnTo>
                        <a:pt x="53" y="180"/>
                      </a:lnTo>
                      <a:lnTo>
                        <a:pt x="8" y="180"/>
                      </a:lnTo>
                      <a:lnTo>
                        <a:pt x="0" y="18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E1B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93" name="Freeform 179"/>
                <p:cNvSpPr>
                  <a:spLocks/>
                </p:cNvSpPr>
                <p:nvPr/>
              </p:nvSpPr>
              <p:spPr bwMode="auto">
                <a:xfrm>
                  <a:off x="6148388" y="5151438"/>
                  <a:ext cx="569913" cy="209550"/>
                </a:xfrm>
                <a:custGeom>
                  <a:avLst/>
                  <a:gdLst>
                    <a:gd name="T0" fmla="*/ 157 w 359"/>
                    <a:gd name="T1" fmla="*/ 0 h 132"/>
                    <a:gd name="T2" fmla="*/ 202 w 359"/>
                    <a:gd name="T3" fmla="*/ 0 h 132"/>
                    <a:gd name="T4" fmla="*/ 237 w 359"/>
                    <a:gd name="T5" fmla="*/ 3 h 132"/>
                    <a:gd name="T6" fmla="*/ 269 w 359"/>
                    <a:gd name="T7" fmla="*/ 13 h 132"/>
                    <a:gd name="T8" fmla="*/ 298 w 359"/>
                    <a:gd name="T9" fmla="*/ 29 h 132"/>
                    <a:gd name="T10" fmla="*/ 322 w 359"/>
                    <a:gd name="T11" fmla="*/ 49 h 132"/>
                    <a:gd name="T12" fmla="*/ 341 w 359"/>
                    <a:gd name="T13" fmla="*/ 74 h 132"/>
                    <a:gd name="T14" fmla="*/ 354 w 359"/>
                    <a:gd name="T15" fmla="*/ 102 h 132"/>
                    <a:gd name="T16" fmla="*/ 359 w 359"/>
                    <a:gd name="T17" fmla="*/ 132 h 132"/>
                    <a:gd name="T18" fmla="*/ 300 w 359"/>
                    <a:gd name="T19" fmla="*/ 132 h 132"/>
                    <a:gd name="T20" fmla="*/ 291 w 359"/>
                    <a:gd name="T21" fmla="*/ 108 h 132"/>
                    <a:gd name="T22" fmla="*/ 275 w 359"/>
                    <a:gd name="T23" fmla="*/ 86 h 132"/>
                    <a:gd name="T24" fmla="*/ 252 w 359"/>
                    <a:gd name="T25" fmla="*/ 68 h 132"/>
                    <a:gd name="T26" fmla="*/ 226 w 359"/>
                    <a:gd name="T27" fmla="*/ 57 h 132"/>
                    <a:gd name="T28" fmla="*/ 195 w 359"/>
                    <a:gd name="T29" fmla="*/ 54 h 132"/>
                    <a:gd name="T30" fmla="*/ 165 w 359"/>
                    <a:gd name="T31" fmla="*/ 54 h 132"/>
                    <a:gd name="T32" fmla="*/ 134 w 359"/>
                    <a:gd name="T33" fmla="*/ 57 h 132"/>
                    <a:gd name="T34" fmla="*/ 108 w 359"/>
                    <a:gd name="T35" fmla="*/ 68 h 132"/>
                    <a:gd name="T36" fmla="*/ 86 w 359"/>
                    <a:gd name="T37" fmla="*/ 86 h 132"/>
                    <a:gd name="T38" fmla="*/ 69 w 359"/>
                    <a:gd name="T39" fmla="*/ 108 h 132"/>
                    <a:gd name="T40" fmla="*/ 60 w 359"/>
                    <a:gd name="T41" fmla="*/ 132 h 132"/>
                    <a:gd name="T42" fmla="*/ 0 w 359"/>
                    <a:gd name="T43" fmla="*/ 132 h 132"/>
                    <a:gd name="T44" fmla="*/ 7 w 359"/>
                    <a:gd name="T45" fmla="*/ 102 h 132"/>
                    <a:gd name="T46" fmla="*/ 19 w 359"/>
                    <a:gd name="T47" fmla="*/ 74 h 132"/>
                    <a:gd name="T48" fmla="*/ 38 w 359"/>
                    <a:gd name="T49" fmla="*/ 49 h 132"/>
                    <a:gd name="T50" fmla="*/ 63 w 359"/>
                    <a:gd name="T51" fmla="*/ 29 h 132"/>
                    <a:gd name="T52" fmla="*/ 90 w 359"/>
                    <a:gd name="T53" fmla="*/ 13 h 132"/>
                    <a:gd name="T54" fmla="*/ 122 w 359"/>
                    <a:gd name="T55" fmla="*/ 3 h 132"/>
                    <a:gd name="T56" fmla="*/ 157 w 359"/>
                    <a:gd name="T57" fmla="*/ 0 h 1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59" h="132">
                      <a:moveTo>
                        <a:pt x="157" y="0"/>
                      </a:moveTo>
                      <a:lnTo>
                        <a:pt x="202" y="0"/>
                      </a:lnTo>
                      <a:lnTo>
                        <a:pt x="237" y="3"/>
                      </a:lnTo>
                      <a:lnTo>
                        <a:pt x="269" y="13"/>
                      </a:lnTo>
                      <a:lnTo>
                        <a:pt x="298" y="29"/>
                      </a:lnTo>
                      <a:lnTo>
                        <a:pt x="322" y="49"/>
                      </a:lnTo>
                      <a:lnTo>
                        <a:pt x="341" y="74"/>
                      </a:lnTo>
                      <a:lnTo>
                        <a:pt x="354" y="102"/>
                      </a:lnTo>
                      <a:lnTo>
                        <a:pt x="359" y="132"/>
                      </a:lnTo>
                      <a:lnTo>
                        <a:pt x="300" y="132"/>
                      </a:lnTo>
                      <a:lnTo>
                        <a:pt x="291" y="108"/>
                      </a:lnTo>
                      <a:lnTo>
                        <a:pt x="275" y="86"/>
                      </a:lnTo>
                      <a:lnTo>
                        <a:pt x="252" y="68"/>
                      </a:lnTo>
                      <a:lnTo>
                        <a:pt x="226" y="57"/>
                      </a:lnTo>
                      <a:lnTo>
                        <a:pt x="195" y="54"/>
                      </a:lnTo>
                      <a:lnTo>
                        <a:pt x="165" y="54"/>
                      </a:lnTo>
                      <a:lnTo>
                        <a:pt x="134" y="57"/>
                      </a:lnTo>
                      <a:lnTo>
                        <a:pt x="108" y="68"/>
                      </a:lnTo>
                      <a:lnTo>
                        <a:pt x="86" y="86"/>
                      </a:lnTo>
                      <a:lnTo>
                        <a:pt x="69" y="108"/>
                      </a:lnTo>
                      <a:lnTo>
                        <a:pt x="60" y="132"/>
                      </a:lnTo>
                      <a:lnTo>
                        <a:pt x="0" y="132"/>
                      </a:lnTo>
                      <a:lnTo>
                        <a:pt x="7" y="102"/>
                      </a:lnTo>
                      <a:lnTo>
                        <a:pt x="19" y="74"/>
                      </a:lnTo>
                      <a:lnTo>
                        <a:pt x="38" y="49"/>
                      </a:lnTo>
                      <a:lnTo>
                        <a:pt x="63" y="29"/>
                      </a:lnTo>
                      <a:lnTo>
                        <a:pt x="90" y="13"/>
                      </a:lnTo>
                      <a:lnTo>
                        <a:pt x="122" y="3"/>
                      </a:lnTo>
                      <a:lnTo>
                        <a:pt x="157" y="0"/>
                      </a:lnTo>
                      <a:close/>
                    </a:path>
                  </a:pathLst>
                </a:custGeom>
                <a:solidFill>
                  <a:srgbClr val="FFF0D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94" name="Freeform 180"/>
                <p:cNvSpPr>
                  <a:spLocks/>
                </p:cNvSpPr>
                <p:nvPr/>
              </p:nvSpPr>
              <p:spPr bwMode="auto">
                <a:xfrm>
                  <a:off x="6097588" y="4718050"/>
                  <a:ext cx="846138" cy="73025"/>
                </a:xfrm>
                <a:custGeom>
                  <a:avLst/>
                  <a:gdLst>
                    <a:gd name="T0" fmla="*/ 22 w 533"/>
                    <a:gd name="T1" fmla="*/ 0 h 46"/>
                    <a:gd name="T2" fmla="*/ 511 w 533"/>
                    <a:gd name="T3" fmla="*/ 0 h 46"/>
                    <a:gd name="T4" fmla="*/ 522 w 533"/>
                    <a:gd name="T5" fmla="*/ 3 h 46"/>
                    <a:gd name="T6" fmla="*/ 530 w 533"/>
                    <a:gd name="T7" fmla="*/ 11 h 46"/>
                    <a:gd name="T8" fmla="*/ 533 w 533"/>
                    <a:gd name="T9" fmla="*/ 23 h 46"/>
                    <a:gd name="T10" fmla="*/ 530 w 533"/>
                    <a:gd name="T11" fmla="*/ 35 h 46"/>
                    <a:gd name="T12" fmla="*/ 522 w 533"/>
                    <a:gd name="T13" fmla="*/ 43 h 46"/>
                    <a:gd name="T14" fmla="*/ 511 w 533"/>
                    <a:gd name="T15" fmla="*/ 46 h 46"/>
                    <a:gd name="T16" fmla="*/ 22 w 533"/>
                    <a:gd name="T17" fmla="*/ 46 h 46"/>
                    <a:gd name="T18" fmla="*/ 10 w 533"/>
                    <a:gd name="T19" fmla="*/ 43 h 46"/>
                    <a:gd name="T20" fmla="*/ 3 w 533"/>
                    <a:gd name="T21" fmla="*/ 35 h 46"/>
                    <a:gd name="T22" fmla="*/ 0 w 533"/>
                    <a:gd name="T23" fmla="*/ 23 h 46"/>
                    <a:gd name="T24" fmla="*/ 3 w 533"/>
                    <a:gd name="T25" fmla="*/ 11 h 46"/>
                    <a:gd name="T26" fmla="*/ 10 w 533"/>
                    <a:gd name="T27" fmla="*/ 3 h 46"/>
                    <a:gd name="T28" fmla="*/ 22 w 533"/>
                    <a:gd name="T29" fmla="*/ 0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533" h="46">
                      <a:moveTo>
                        <a:pt x="22" y="0"/>
                      </a:moveTo>
                      <a:lnTo>
                        <a:pt x="511" y="0"/>
                      </a:lnTo>
                      <a:lnTo>
                        <a:pt x="522" y="3"/>
                      </a:lnTo>
                      <a:lnTo>
                        <a:pt x="530" y="11"/>
                      </a:lnTo>
                      <a:lnTo>
                        <a:pt x="533" y="23"/>
                      </a:lnTo>
                      <a:lnTo>
                        <a:pt x="530" y="35"/>
                      </a:lnTo>
                      <a:lnTo>
                        <a:pt x="522" y="43"/>
                      </a:lnTo>
                      <a:lnTo>
                        <a:pt x="511" y="46"/>
                      </a:lnTo>
                      <a:lnTo>
                        <a:pt x="22" y="46"/>
                      </a:lnTo>
                      <a:lnTo>
                        <a:pt x="10" y="43"/>
                      </a:lnTo>
                      <a:lnTo>
                        <a:pt x="3" y="35"/>
                      </a:lnTo>
                      <a:lnTo>
                        <a:pt x="0" y="23"/>
                      </a:lnTo>
                      <a:lnTo>
                        <a:pt x="3" y="11"/>
                      </a:lnTo>
                      <a:lnTo>
                        <a:pt x="10" y="3"/>
                      </a:lnTo>
                      <a:lnTo>
                        <a:pt x="22" y="0"/>
                      </a:lnTo>
                      <a:close/>
                    </a:path>
                  </a:pathLst>
                </a:custGeom>
                <a:solidFill>
                  <a:srgbClr val="332F2C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95" name="Freeform 181"/>
                <p:cNvSpPr>
                  <a:spLocks/>
                </p:cNvSpPr>
                <p:nvPr/>
              </p:nvSpPr>
              <p:spPr bwMode="auto">
                <a:xfrm>
                  <a:off x="6513513" y="4718050"/>
                  <a:ext cx="150813" cy="147638"/>
                </a:xfrm>
                <a:custGeom>
                  <a:avLst/>
                  <a:gdLst>
                    <a:gd name="T0" fmla="*/ 48 w 95"/>
                    <a:gd name="T1" fmla="*/ 0 h 93"/>
                    <a:gd name="T2" fmla="*/ 65 w 95"/>
                    <a:gd name="T3" fmla="*/ 3 h 93"/>
                    <a:gd name="T4" fmla="*/ 81 w 95"/>
                    <a:gd name="T5" fmla="*/ 13 h 93"/>
                    <a:gd name="T6" fmla="*/ 92 w 95"/>
                    <a:gd name="T7" fmla="*/ 27 h 93"/>
                    <a:gd name="T8" fmla="*/ 95 w 95"/>
                    <a:gd name="T9" fmla="*/ 46 h 93"/>
                    <a:gd name="T10" fmla="*/ 92 w 95"/>
                    <a:gd name="T11" fmla="*/ 65 h 93"/>
                    <a:gd name="T12" fmla="*/ 81 w 95"/>
                    <a:gd name="T13" fmla="*/ 80 h 93"/>
                    <a:gd name="T14" fmla="*/ 65 w 95"/>
                    <a:gd name="T15" fmla="*/ 90 h 93"/>
                    <a:gd name="T16" fmla="*/ 48 w 95"/>
                    <a:gd name="T17" fmla="*/ 93 h 93"/>
                    <a:gd name="T18" fmla="*/ 29 w 95"/>
                    <a:gd name="T19" fmla="*/ 90 h 93"/>
                    <a:gd name="T20" fmla="*/ 15 w 95"/>
                    <a:gd name="T21" fmla="*/ 80 h 93"/>
                    <a:gd name="T22" fmla="*/ 4 w 95"/>
                    <a:gd name="T23" fmla="*/ 65 h 93"/>
                    <a:gd name="T24" fmla="*/ 0 w 95"/>
                    <a:gd name="T25" fmla="*/ 46 h 93"/>
                    <a:gd name="T26" fmla="*/ 4 w 95"/>
                    <a:gd name="T27" fmla="*/ 27 h 93"/>
                    <a:gd name="T28" fmla="*/ 15 w 95"/>
                    <a:gd name="T29" fmla="*/ 13 h 93"/>
                    <a:gd name="T30" fmla="*/ 29 w 95"/>
                    <a:gd name="T31" fmla="*/ 3 h 93"/>
                    <a:gd name="T32" fmla="*/ 48 w 95"/>
                    <a:gd name="T33" fmla="*/ 0 h 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5" h="93">
                      <a:moveTo>
                        <a:pt x="48" y="0"/>
                      </a:moveTo>
                      <a:lnTo>
                        <a:pt x="65" y="3"/>
                      </a:lnTo>
                      <a:lnTo>
                        <a:pt x="81" y="13"/>
                      </a:lnTo>
                      <a:lnTo>
                        <a:pt x="92" y="27"/>
                      </a:lnTo>
                      <a:lnTo>
                        <a:pt x="95" y="46"/>
                      </a:lnTo>
                      <a:lnTo>
                        <a:pt x="92" y="65"/>
                      </a:lnTo>
                      <a:lnTo>
                        <a:pt x="81" y="80"/>
                      </a:lnTo>
                      <a:lnTo>
                        <a:pt x="65" y="90"/>
                      </a:lnTo>
                      <a:lnTo>
                        <a:pt x="48" y="93"/>
                      </a:lnTo>
                      <a:lnTo>
                        <a:pt x="29" y="90"/>
                      </a:lnTo>
                      <a:lnTo>
                        <a:pt x="15" y="80"/>
                      </a:lnTo>
                      <a:lnTo>
                        <a:pt x="4" y="65"/>
                      </a:lnTo>
                      <a:lnTo>
                        <a:pt x="0" y="46"/>
                      </a:lnTo>
                      <a:lnTo>
                        <a:pt x="4" y="27"/>
                      </a:lnTo>
                      <a:lnTo>
                        <a:pt x="15" y="13"/>
                      </a:lnTo>
                      <a:lnTo>
                        <a:pt x="29" y="3"/>
                      </a:lnTo>
                      <a:lnTo>
                        <a:pt x="48" y="0"/>
                      </a:lnTo>
                      <a:close/>
                    </a:path>
                  </a:pathLst>
                </a:custGeom>
                <a:solidFill>
                  <a:srgbClr val="332F2C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96" name="Freeform 182"/>
                <p:cNvSpPr>
                  <a:spLocks noEditPoints="1"/>
                </p:cNvSpPr>
                <p:nvPr/>
              </p:nvSpPr>
              <p:spPr bwMode="auto">
                <a:xfrm>
                  <a:off x="6864351" y="3492500"/>
                  <a:ext cx="214313" cy="1298575"/>
                </a:xfrm>
                <a:custGeom>
                  <a:avLst/>
                  <a:gdLst>
                    <a:gd name="T0" fmla="*/ 25 w 135"/>
                    <a:gd name="T1" fmla="*/ 87 h 818"/>
                    <a:gd name="T2" fmla="*/ 25 w 135"/>
                    <a:gd name="T3" fmla="*/ 89 h 818"/>
                    <a:gd name="T4" fmla="*/ 25 w 135"/>
                    <a:gd name="T5" fmla="*/ 90 h 818"/>
                    <a:gd name="T6" fmla="*/ 25 w 135"/>
                    <a:gd name="T7" fmla="*/ 90 h 818"/>
                    <a:gd name="T8" fmla="*/ 25 w 135"/>
                    <a:gd name="T9" fmla="*/ 89 h 818"/>
                    <a:gd name="T10" fmla="*/ 25 w 135"/>
                    <a:gd name="T11" fmla="*/ 87 h 818"/>
                    <a:gd name="T12" fmla="*/ 25 w 135"/>
                    <a:gd name="T13" fmla="*/ 87 h 818"/>
                    <a:gd name="T14" fmla="*/ 50 w 135"/>
                    <a:gd name="T15" fmla="*/ 0 h 818"/>
                    <a:gd name="T16" fmla="*/ 77 w 135"/>
                    <a:gd name="T17" fmla="*/ 4 h 818"/>
                    <a:gd name="T18" fmla="*/ 100 w 135"/>
                    <a:gd name="T19" fmla="*/ 16 h 818"/>
                    <a:gd name="T20" fmla="*/ 119 w 135"/>
                    <a:gd name="T21" fmla="*/ 35 h 818"/>
                    <a:gd name="T22" fmla="*/ 131 w 135"/>
                    <a:gd name="T23" fmla="*/ 59 h 818"/>
                    <a:gd name="T24" fmla="*/ 135 w 135"/>
                    <a:gd name="T25" fmla="*/ 86 h 818"/>
                    <a:gd name="T26" fmla="*/ 132 w 135"/>
                    <a:gd name="T27" fmla="*/ 110 h 818"/>
                    <a:gd name="T28" fmla="*/ 122 w 135"/>
                    <a:gd name="T29" fmla="*/ 132 h 818"/>
                    <a:gd name="T30" fmla="*/ 108 w 135"/>
                    <a:gd name="T31" fmla="*/ 150 h 818"/>
                    <a:gd name="T32" fmla="*/ 87 w 135"/>
                    <a:gd name="T33" fmla="*/ 163 h 818"/>
                    <a:gd name="T34" fmla="*/ 87 w 135"/>
                    <a:gd name="T35" fmla="*/ 778 h 818"/>
                    <a:gd name="T36" fmla="*/ 84 w 135"/>
                    <a:gd name="T37" fmla="*/ 794 h 818"/>
                    <a:gd name="T38" fmla="*/ 74 w 135"/>
                    <a:gd name="T39" fmla="*/ 807 h 818"/>
                    <a:gd name="T40" fmla="*/ 61 w 135"/>
                    <a:gd name="T41" fmla="*/ 815 h 818"/>
                    <a:gd name="T42" fmla="*/ 44 w 135"/>
                    <a:gd name="T43" fmla="*/ 818 h 818"/>
                    <a:gd name="T44" fmla="*/ 6 w 135"/>
                    <a:gd name="T45" fmla="*/ 818 h 818"/>
                    <a:gd name="T46" fmla="*/ 0 w 135"/>
                    <a:gd name="T47" fmla="*/ 817 h 818"/>
                    <a:gd name="T48" fmla="*/ 0 w 135"/>
                    <a:gd name="T49" fmla="*/ 814 h 818"/>
                    <a:gd name="T50" fmla="*/ 3 w 135"/>
                    <a:gd name="T51" fmla="*/ 810 h 818"/>
                    <a:gd name="T52" fmla="*/ 10 w 135"/>
                    <a:gd name="T53" fmla="*/ 802 h 818"/>
                    <a:gd name="T54" fmla="*/ 18 w 135"/>
                    <a:gd name="T55" fmla="*/ 795 h 818"/>
                    <a:gd name="T56" fmla="*/ 23 w 135"/>
                    <a:gd name="T57" fmla="*/ 786 h 818"/>
                    <a:gd name="T58" fmla="*/ 25 w 135"/>
                    <a:gd name="T59" fmla="*/ 778 h 818"/>
                    <a:gd name="T60" fmla="*/ 25 w 135"/>
                    <a:gd name="T61" fmla="*/ 89 h 818"/>
                    <a:gd name="T62" fmla="*/ 25 w 135"/>
                    <a:gd name="T63" fmla="*/ 87 h 818"/>
                    <a:gd name="T64" fmla="*/ 25 w 135"/>
                    <a:gd name="T65" fmla="*/ 87 h 818"/>
                    <a:gd name="T66" fmla="*/ 25 w 135"/>
                    <a:gd name="T67" fmla="*/ 86 h 818"/>
                    <a:gd name="T68" fmla="*/ 25 w 135"/>
                    <a:gd name="T69" fmla="*/ 77 h 818"/>
                    <a:gd name="T70" fmla="*/ 25 w 135"/>
                    <a:gd name="T71" fmla="*/ 65 h 818"/>
                    <a:gd name="T72" fmla="*/ 25 w 135"/>
                    <a:gd name="T73" fmla="*/ 52 h 818"/>
                    <a:gd name="T74" fmla="*/ 26 w 135"/>
                    <a:gd name="T75" fmla="*/ 38 h 818"/>
                    <a:gd name="T76" fmla="*/ 29 w 135"/>
                    <a:gd name="T77" fmla="*/ 23 h 818"/>
                    <a:gd name="T78" fmla="*/ 34 w 135"/>
                    <a:gd name="T79" fmla="*/ 11 h 818"/>
                    <a:gd name="T80" fmla="*/ 41 w 135"/>
                    <a:gd name="T81" fmla="*/ 3 h 818"/>
                    <a:gd name="T82" fmla="*/ 50 w 135"/>
                    <a:gd name="T83" fmla="*/ 0 h 8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135" h="818">
                      <a:moveTo>
                        <a:pt x="25" y="87"/>
                      </a:moveTo>
                      <a:lnTo>
                        <a:pt x="25" y="89"/>
                      </a:lnTo>
                      <a:lnTo>
                        <a:pt x="25" y="90"/>
                      </a:lnTo>
                      <a:lnTo>
                        <a:pt x="25" y="90"/>
                      </a:lnTo>
                      <a:lnTo>
                        <a:pt x="25" y="89"/>
                      </a:lnTo>
                      <a:lnTo>
                        <a:pt x="25" y="87"/>
                      </a:lnTo>
                      <a:lnTo>
                        <a:pt x="25" y="87"/>
                      </a:lnTo>
                      <a:close/>
                      <a:moveTo>
                        <a:pt x="50" y="0"/>
                      </a:moveTo>
                      <a:lnTo>
                        <a:pt x="77" y="4"/>
                      </a:lnTo>
                      <a:lnTo>
                        <a:pt x="100" y="16"/>
                      </a:lnTo>
                      <a:lnTo>
                        <a:pt x="119" y="35"/>
                      </a:lnTo>
                      <a:lnTo>
                        <a:pt x="131" y="59"/>
                      </a:lnTo>
                      <a:lnTo>
                        <a:pt x="135" y="86"/>
                      </a:lnTo>
                      <a:lnTo>
                        <a:pt x="132" y="110"/>
                      </a:lnTo>
                      <a:lnTo>
                        <a:pt x="122" y="132"/>
                      </a:lnTo>
                      <a:lnTo>
                        <a:pt x="108" y="150"/>
                      </a:lnTo>
                      <a:lnTo>
                        <a:pt x="87" y="163"/>
                      </a:lnTo>
                      <a:lnTo>
                        <a:pt x="87" y="778"/>
                      </a:lnTo>
                      <a:lnTo>
                        <a:pt x="84" y="794"/>
                      </a:lnTo>
                      <a:lnTo>
                        <a:pt x="74" y="807"/>
                      </a:lnTo>
                      <a:lnTo>
                        <a:pt x="61" y="815"/>
                      </a:lnTo>
                      <a:lnTo>
                        <a:pt x="44" y="818"/>
                      </a:lnTo>
                      <a:lnTo>
                        <a:pt x="6" y="818"/>
                      </a:lnTo>
                      <a:lnTo>
                        <a:pt x="0" y="817"/>
                      </a:lnTo>
                      <a:lnTo>
                        <a:pt x="0" y="814"/>
                      </a:lnTo>
                      <a:lnTo>
                        <a:pt x="3" y="810"/>
                      </a:lnTo>
                      <a:lnTo>
                        <a:pt x="10" y="802"/>
                      </a:lnTo>
                      <a:lnTo>
                        <a:pt x="18" y="795"/>
                      </a:lnTo>
                      <a:lnTo>
                        <a:pt x="23" y="786"/>
                      </a:lnTo>
                      <a:lnTo>
                        <a:pt x="25" y="778"/>
                      </a:lnTo>
                      <a:lnTo>
                        <a:pt x="25" y="89"/>
                      </a:lnTo>
                      <a:lnTo>
                        <a:pt x="25" y="87"/>
                      </a:lnTo>
                      <a:lnTo>
                        <a:pt x="25" y="87"/>
                      </a:lnTo>
                      <a:lnTo>
                        <a:pt x="25" y="86"/>
                      </a:lnTo>
                      <a:lnTo>
                        <a:pt x="25" y="77"/>
                      </a:lnTo>
                      <a:lnTo>
                        <a:pt x="25" y="65"/>
                      </a:lnTo>
                      <a:lnTo>
                        <a:pt x="25" y="52"/>
                      </a:lnTo>
                      <a:lnTo>
                        <a:pt x="26" y="38"/>
                      </a:lnTo>
                      <a:lnTo>
                        <a:pt x="29" y="23"/>
                      </a:lnTo>
                      <a:lnTo>
                        <a:pt x="34" y="11"/>
                      </a:lnTo>
                      <a:lnTo>
                        <a:pt x="41" y="3"/>
                      </a:lnTo>
                      <a:lnTo>
                        <a:pt x="50" y="0"/>
                      </a:lnTo>
                      <a:close/>
                    </a:path>
                  </a:pathLst>
                </a:custGeom>
                <a:solidFill>
                  <a:srgbClr val="332F2C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97" name="Freeform 183"/>
                <p:cNvSpPr>
                  <a:spLocks/>
                </p:cNvSpPr>
                <p:nvPr/>
              </p:nvSpPr>
              <p:spPr bwMode="auto">
                <a:xfrm>
                  <a:off x="6589713" y="4718050"/>
                  <a:ext cx="314325" cy="73025"/>
                </a:xfrm>
                <a:custGeom>
                  <a:avLst/>
                  <a:gdLst>
                    <a:gd name="T0" fmla="*/ 0 w 198"/>
                    <a:gd name="T1" fmla="*/ 0 h 46"/>
                    <a:gd name="T2" fmla="*/ 198 w 198"/>
                    <a:gd name="T3" fmla="*/ 0 h 46"/>
                    <a:gd name="T4" fmla="*/ 198 w 198"/>
                    <a:gd name="T5" fmla="*/ 6 h 46"/>
                    <a:gd name="T6" fmla="*/ 195 w 198"/>
                    <a:gd name="T7" fmla="*/ 16 h 46"/>
                    <a:gd name="T8" fmla="*/ 189 w 198"/>
                    <a:gd name="T9" fmla="*/ 24 h 46"/>
                    <a:gd name="T10" fmla="*/ 182 w 198"/>
                    <a:gd name="T11" fmla="*/ 33 h 46"/>
                    <a:gd name="T12" fmla="*/ 175 w 198"/>
                    <a:gd name="T13" fmla="*/ 39 h 46"/>
                    <a:gd name="T14" fmla="*/ 172 w 198"/>
                    <a:gd name="T15" fmla="*/ 43 h 46"/>
                    <a:gd name="T16" fmla="*/ 173 w 198"/>
                    <a:gd name="T17" fmla="*/ 45 h 46"/>
                    <a:gd name="T18" fmla="*/ 175 w 198"/>
                    <a:gd name="T19" fmla="*/ 46 h 46"/>
                    <a:gd name="T20" fmla="*/ 179 w 198"/>
                    <a:gd name="T21" fmla="*/ 46 h 46"/>
                    <a:gd name="T22" fmla="*/ 47 w 198"/>
                    <a:gd name="T23" fmla="*/ 46 h 46"/>
                    <a:gd name="T24" fmla="*/ 44 w 198"/>
                    <a:gd name="T25" fmla="*/ 27 h 46"/>
                    <a:gd name="T26" fmla="*/ 33 w 198"/>
                    <a:gd name="T27" fmla="*/ 13 h 46"/>
                    <a:gd name="T28" fmla="*/ 17 w 198"/>
                    <a:gd name="T29" fmla="*/ 3 h 46"/>
                    <a:gd name="T30" fmla="*/ 0 w 198"/>
                    <a:gd name="T31" fmla="*/ 0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98" h="46">
                      <a:moveTo>
                        <a:pt x="0" y="0"/>
                      </a:moveTo>
                      <a:lnTo>
                        <a:pt x="198" y="0"/>
                      </a:lnTo>
                      <a:lnTo>
                        <a:pt x="198" y="6"/>
                      </a:lnTo>
                      <a:lnTo>
                        <a:pt x="195" y="16"/>
                      </a:lnTo>
                      <a:lnTo>
                        <a:pt x="189" y="24"/>
                      </a:lnTo>
                      <a:lnTo>
                        <a:pt x="182" y="33"/>
                      </a:lnTo>
                      <a:lnTo>
                        <a:pt x="175" y="39"/>
                      </a:lnTo>
                      <a:lnTo>
                        <a:pt x="172" y="43"/>
                      </a:lnTo>
                      <a:lnTo>
                        <a:pt x="173" y="45"/>
                      </a:lnTo>
                      <a:lnTo>
                        <a:pt x="175" y="46"/>
                      </a:lnTo>
                      <a:lnTo>
                        <a:pt x="179" y="46"/>
                      </a:lnTo>
                      <a:lnTo>
                        <a:pt x="47" y="46"/>
                      </a:lnTo>
                      <a:lnTo>
                        <a:pt x="44" y="27"/>
                      </a:lnTo>
                      <a:lnTo>
                        <a:pt x="33" y="13"/>
                      </a:lnTo>
                      <a:lnTo>
                        <a:pt x="17" y="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7050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98" name="Freeform 184"/>
                <p:cNvSpPr>
                  <a:spLocks/>
                </p:cNvSpPr>
                <p:nvPr/>
              </p:nvSpPr>
              <p:spPr bwMode="auto">
                <a:xfrm>
                  <a:off x="6130926" y="3492500"/>
                  <a:ext cx="274638" cy="1298575"/>
                </a:xfrm>
                <a:custGeom>
                  <a:avLst/>
                  <a:gdLst>
                    <a:gd name="T0" fmla="*/ 87 w 173"/>
                    <a:gd name="T1" fmla="*/ 0 h 818"/>
                    <a:gd name="T2" fmla="*/ 114 w 173"/>
                    <a:gd name="T3" fmla="*/ 4 h 818"/>
                    <a:gd name="T4" fmla="*/ 138 w 173"/>
                    <a:gd name="T5" fmla="*/ 16 h 818"/>
                    <a:gd name="T6" fmla="*/ 157 w 173"/>
                    <a:gd name="T7" fmla="*/ 35 h 818"/>
                    <a:gd name="T8" fmla="*/ 168 w 173"/>
                    <a:gd name="T9" fmla="*/ 59 h 818"/>
                    <a:gd name="T10" fmla="*/ 173 w 173"/>
                    <a:gd name="T11" fmla="*/ 86 h 818"/>
                    <a:gd name="T12" fmla="*/ 170 w 173"/>
                    <a:gd name="T13" fmla="*/ 110 h 818"/>
                    <a:gd name="T14" fmla="*/ 160 w 173"/>
                    <a:gd name="T15" fmla="*/ 132 h 818"/>
                    <a:gd name="T16" fmla="*/ 145 w 173"/>
                    <a:gd name="T17" fmla="*/ 150 h 818"/>
                    <a:gd name="T18" fmla="*/ 125 w 173"/>
                    <a:gd name="T19" fmla="*/ 163 h 818"/>
                    <a:gd name="T20" fmla="*/ 125 w 173"/>
                    <a:gd name="T21" fmla="*/ 778 h 818"/>
                    <a:gd name="T22" fmla="*/ 122 w 173"/>
                    <a:gd name="T23" fmla="*/ 794 h 818"/>
                    <a:gd name="T24" fmla="*/ 112 w 173"/>
                    <a:gd name="T25" fmla="*/ 807 h 818"/>
                    <a:gd name="T26" fmla="*/ 98 w 173"/>
                    <a:gd name="T27" fmla="*/ 815 h 818"/>
                    <a:gd name="T28" fmla="*/ 81 w 173"/>
                    <a:gd name="T29" fmla="*/ 818 h 818"/>
                    <a:gd name="T30" fmla="*/ 45 w 173"/>
                    <a:gd name="T31" fmla="*/ 818 h 818"/>
                    <a:gd name="T32" fmla="*/ 27 w 173"/>
                    <a:gd name="T33" fmla="*/ 815 h 818"/>
                    <a:gd name="T34" fmla="*/ 13 w 173"/>
                    <a:gd name="T35" fmla="*/ 807 h 818"/>
                    <a:gd name="T36" fmla="*/ 4 w 173"/>
                    <a:gd name="T37" fmla="*/ 794 h 818"/>
                    <a:gd name="T38" fmla="*/ 0 w 173"/>
                    <a:gd name="T39" fmla="*/ 778 h 818"/>
                    <a:gd name="T40" fmla="*/ 0 w 173"/>
                    <a:gd name="T41" fmla="*/ 89 h 818"/>
                    <a:gd name="T42" fmla="*/ 1 w 173"/>
                    <a:gd name="T43" fmla="*/ 83 h 818"/>
                    <a:gd name="T44" fmla="*/ 1 w 173"/>
                    <a:gd name="T45" fmla="*/ 77 h 818"/>
                    <a:gd name="T46" fmla="*/ 8 w 173"/>
                    <a:gd name="T47" fmla="*/ 52 h 818"/>
                    <a:gd name="T48" fmla="*/ 21 w 173"/>
                    <a:gd name="T49" fmla="*/ 32 h 818"/>
                    <a:gd name="T50" fmla="*/ 39 w 173"/>
                    <a:gd name="T51" fmla="*/ 14 h 818"/>
                    <a:gd name="T52" fmla="*/ 62 w 173"/>
                    <a:gd name="T53" fmla="*/ 4 h 818"/>
                    <a:gd name="T54" fmla="*/ 87 w 173"/>
                    <a:gd name="T55" fmla="*/ 0 h 8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173" h="818">
                      <a:moveTo>
                        <a:pt x="87" y="0"/>
                      </a:moveTo>
                      <a:lnTo>
                        <a:pt x="114" y="4"/>
                      </a:lnTo>
                      <a:lnTo>
                        <a:pt x="138" y="16"/>
                      </a:lnTo>
                      <a:lnTo>
                        <a:pt x="157" y="35"/>
                      </a:lnTo>
                      <a:lnTo>
                        <a:pt x="168" y="59"/>
                      </a:lnTo>
                      <a:lnTo>
                        <a:pt x="173" y="86"/>
                      </a:lnTo>
                      <a:lnTo>
                        <a:pt x="170" y="110"/>
                      </a:lnTo>
                      <a:lnTo>
                        <a:pt x="160" y="132"/>
                      </a:lnTo>
                      <a:lnTo>
                        <a:pt x="145" y="150"/>
                      </a:lnTo>
                      <a:lnTo>
                        <a:pt x="125" y="163"/>
                      </a:lnTo>
                      <a:lnTo>
                        <a:pt x="125" y="778"/>
                      </a:lnTo>
                      <a:lnTo>
                        <a:pt x="122" y="794"/>
                      </a:lnTo>
                      <a:lnTo>
                        <a:pt x="112" y="807"/>
                      </a:lnTo>
                      <a:lnTo>
                        <a:pt x="98" y="815"/>
                      </a:lnTo>
                      <a:lnTo>
                        <a:pt x="81" y="818"/>
                      </a:lnTo>
                      <a:lnTo>
                        <a:pt x="45" y="818"/>
                      </a:lnTo>
                      <a:lnTo>
                        <a:pt x="27" y="815"/>
                      </a:lnTo>
                      <a:lnTo>
                        <a:pt x="13" y="807"/>
                      </a:lnTo>
                      <a:lnTo>
                        <a:pt x="4" y="794"/>
                      </a:lnTo>
                      <a:lnTo>
                        <a:pt x="0" y="778"/>
                      </a:lnTo>
                      <a:lnTo>
                        <a:pt x="0" y="89"/>
                      </a:lnTo>
                      <a:lnTo>
                        <a:pt x="1" y="83"/>
                      </a:lnTo>
                      <a:lnTo>
                        <a:pt x="1" y="77"/>
                      </a:lnTo>
                      <a:lnTo>
                        <a:pt x="8" y="52"/>
                      </a:lnTo>
                      <a:lnTo>
                        <a:pt x="21" y="32"/>
                      </a:lnTo>
                      <a:lnTo>
                        <a:pt x="39" y="14"/>
                      </a:lnTo>
                      <a:lnTo>
                        <a:pt x="62" y="4"/>
                      </a:lnTo>
                      <a:lnTo>
                        <a:pt x="87" y="0"/>
                      </a:lnTo>
                      <a:close/>
                    </a:path>
                  </a:pathLst>
                </a:custGeom>
                <a:solidFill>
                  <a:srgbClr val="332F2C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299" name="Rectangle 185"/>
                <p:cNvSpPr>
                  <a:spLocks noChangeArrowheads="1"/>
                </p:cNvSpPr>
                <p:nvPr/>
              </p:nvSpPr>
              <p:spPr bwMode="auto">
                <a:xfrm>
                  <a:off x="6278563" y="3492500"/>
                  <a:ext cx="665163" cy="1225550"/>
                </a:xfrm>
                <a:prstGeom prst="rect">
                  <a:avLst/>
                </a:prstGeom>
                <a:solidFill>
                  <a:srgbClr val="332F2C"/>
                </a:soli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00" name="Freeform 186"/>
                <p:cNvSpPr>
                  <a:spLocks noEditPoints="1"/>
                </p:cNvSpPr>
                <p:nvPr/>
              </p:nvSpPr>
              <p:spPr bwMode="auto">
                <a:xfrm>
                  <a:off x="6278563" y="3492500"/>
                  <a:ext cx="625475" cy="1225550"/>
                </a:xfrm>
                <a:custGeom>
                  <a:avLst/>
                  <a:gdLst>
                    <a:gd name="T0" fmla="*/ 200 w 394"/>
                    <a:gd name="T1" fmla="*/ 629 h 772"/>
                    <a:gd name="T2" fmla="*/ 106 w 394"/>
                    <a:gd name="T3" fmla="*/ 626 h 772"/>
                    <a:gd name="T4" fmla="*/ 183 w 394"/>
                    <a:gd name="T5" fmla="*/ 631 h 772"/>
                    <a:gd name="T6" fmla="*/ 186 w 394"/>
                    <a:gd name="T7" fmla="*/ 631 h 772"/>
                    <a:gd name="T8" fmla="*/ 179 w 394"/>
                    <a:gd name="T9" fmla="*/ 631 h 772"/>
                    <a:gd name="T10" fmla="*/ 132 w 394"/>
                    <a:gd name="T11" fmla="*/ 629 h 772"/>
                    <a:gd name="T12" fmla="*/ 254 w 394"/>
                    <a:gd name="T13" fmla="*/ 625 h 772"/>
                    <a:gd name="T14" fmla="*/ 243 w 394"/>
                    <a:gd name="T15" fmla="*/ 626 h 772"/>
                    <a:gd name="T16" fmla="*/ 208 w 394"/>
                    <a:gd name="T17" fmla="*/ 629 h 772"/>
                    <a:gd name="T18" fmla="*/ 241 w 394"/>
                    <a:gd name="T19" fmla="*/ 626 h 772"/>
                    <a:gd name="T20" fmla="*/ 251 w 394"/>
                    <a:gd name="T21" fmla="*/ 625 h 772"/>
                    <a:gd name="T22" fmla="*/ 394 w 394"/>
                    <a:gd name="T23" fmla="*/ 772 h 772"/>
                    <a:gd name="T24" fmla="*/ 218 w 394"/>
                    <a:gd name="T25" fmla="*/ 759 h 772"/>
                    <a:gd name="T26" fmla="*/ 250 w 394"/>
                    <a:gd name="T27" fmla="*/ 737 h 772"/>
                    <a:gd name="T28" fmla="*/ 257 w 394"/>
                    <a:gd name="T29" fmla="*/ 690 h 772"/>
                    <a:gd name="T30" fmla="*/ 254 w 394"/>
                    <a:gd name="T31" fmla="*/ 625 h 772"/>
                    <a:gd name="T32" fmla="*/ 257 w 394"/>
                    <a:gd name="T33" fmla="*/ 623 h 772"/>
                    <a:gd name="T34" fmla="*/ 257 w 394"/>
                    <a:gd name="T35" fmla="*/ 623 h 772"/>
                    <a:gd name="T36" fmla="*/ 254 w 394"/>
                    <a:gd name="T37" fmla="*/ 621 h 772"/>
                    <a:gd name="T38" fmla="*/ 256 w 394"/>
                    <a:gd name="T39" fmla="*/ 612 h 772"/>
                    <a:gd name="T40" fmla="*/ 257 w 394"/>
                    <a:gd name="T41" fmla="*/ 584 h 772"/>
                    <a:gd name="T42" fmla="*/ 257 w 394"/>
                    <a:gd name="T43" fmla="*/ 567 h 772"/>
                    <a:gd name="T44" fmla="*/ 257 w 394"/>
                    <a:gd name="T45" fmla="*/ 549 h 772"/>
                    <a:gd name="T46" fmla="*/ 260 w 394"/>
                    <a:gd name="T47" fmla="*/ 517 h 772"/>
                    <a:gd name="T48" fmla="*/ 273 w 394"/>
                    <a:gd name="T49" fmla="*/ 480 h 772"/>
                    <a:gd name="T50" fmla="*/ 308 w 394"/>
                    <a:gd name="T51" fmla="*/ 480 h 772"/>
                    <a:gd name="T52" fmla="*/ 340 w 394"/>
                    <a:gd name="T53" fmla="*/ 481 h 772"/>
                    <a:gd name="T54" fmla="*/ 394 w 394"/>
                    <a:gd name="T55" fmla="*/ 478 h 772"/>
                    <a:gd name="T56" fmla="*/ 308 w 394"/>
                    <a:gd name="T57" fmla="*/ 325 h 772"/>
                    <a:gd name="T58" fmla="*/ 317 w 394"/>
                    <a:gd name="T59" fmla="*/ 334 h 772"/>
                    <a:gd name="T60" fmla="*/ 349 w 394"/>
                    <a:gd name="T61" fmla="*/ 385 h 772"/>
                    <a:gd name="T62" fmla="*/ 312 w 394"/>
                    <a:gd name="T63" fmla="*/ 416 h 772"/>
                    <a:gd name="T64" fmla="*/ 270 w 394"/>
                    <a:gd name="T65" fmla="*/ 421 h 772"/>
                    <a:gd name="T66" fmla="*/ 293 w 394"/>
                    <a:gd name="T67" fmla="*/ 301 h 772"/>
                    <a:gd name="T68" fmla="*/ 218 w 394"/>
                    <a:gd name="T69" fmla="*/ 3 h 772"/>
                    <a:gd name="T70" fmla="*/ 232 w 394"/>
                    <a:gd name="T71" fmla="*/ 52 h 772"/>
                    <a:gd name="T72" fmla="*/ 282 w 394"/>
                    <a:gd name="T73" fmla="*/ 75 h 772"/>
                    <a:gd name="T74" fmla="*/ 341 w 394"/>
                    <a:gd name="T75" fmla="*/ 97 h 772"/>
                    <a:gd name="T76" fmla="*/ 384 w 394"/>
                    <a:gd name="T77" fmla="*/ 142 h 772"/>
                    <a:gd name="T78" fmla="*/ 366 w 394"/>
                    <a:gd name="T79" fmla="*/ 177 h 772"/>
                    <a:gd name="T80" fmla="*/ 341 w 394"/>
                    <a:gd name="T81" fmla="*/ 141 h 772"/>
                    <a:gd name="T82" fmla="*/ 286 w 394"/>
                    <a:gd name="T83" fmla="*/ 100 h 772"/>
                    <a:gd name="T84" fmla="*/ 212 w 394"/>
                    <a:gd name="T85" fmla="*/ 67 h 772"/>
                    <a:gd name="T86" fmla="*/ 173 w 394"/>
                    <a:gd name="T87" fmla="*/ 59 h 772"/>
                    <a:gd name="T88" fmla="*/ 173 w 394"/>
                    <a:gd name="T89" fmla="*/ 49 h 772"/>
                    <a:gd name="T90" fmla="*/ 177 w 394"/>
                    <a:gd name="T91" fmla="*/ 0 h 772"/>
                    <a:gd name="T92" fmla="*/ 37 w 394"/>
                    <a:gd name="T93" fmla="*/ 20 h 772"/>
                    <a:gd name="T94" fmla="*/ 49 w 394"/>
                    <a:gd name="T95" fmla="*/ 41 h 772"/>
                    <a:gd name="T96" fmla="*/ 0 w 394"/>
                    <a:gd name="T97" fmla="*/ 74 h 7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394" h="772">
                      <a:moveTo>
                        <a:pt x="208" y="629"/>
                      </a:moveTo>
                      <a:lnTo>
                        <a:pt x="208" y="629"/>
                      </a:lnTo>
                      <a:lnTo>
                        <a:pt x="200" y="629"/>
                      </a:lnTo>
                      <a:lnTo>
                        <a:pt x="208" y="629"/>
                      </a:lnTo>
                      <a:close/>
                      <a:moveTo>
                        <a:pt x="100" y="626"/>
                      </a:moveTo>
                      <a:lnTo>
                        <a:pt x="106" y="626"/>
                      </a:lnTo>
                      <a:lnTo>
                        <a:pt x="136" y="629"/>
                      </a:lnTo>
                      <a:lnTo>
                        <a:pt x="161" y="629"/>
                      </a:lnTo>
                      <a:lnTo>
                        <a:pt x="183" y="631"/>
                      </a:lnTo>
                      <a:lnTo>
                        <a:pt x="200" y="629"/>
                      </a:lnTo>
                      <a:lnTo>
                        <a:pt x="187" y="631"/>
                      </a:lnTo>
                      <a:lnTo>
                        <a:pt x="186" y="631"/>
                      </a:lnTo>
                      <a:lnTo>
                        <a:pt x="186" y="631"/>
                      </a:lnTo>
                      <a:lnTo>
                        <a:pt x="183" y="631"/>
                      </a:lnTo>
                      <a:lnTo>
                        <a:pt x="179" y="631"/>
                      </a:lnTo>
                      <a:lnTo>
                        <a:pt x="173" y="631"/>
                      </a:lnTo>
                      <a:lnTo>
                        <a:pt x="155" y="631"/>
                      </a:lnTo>
                      <a:lnTo>
                        <a:pt x="132" y="629"/>
                      </a:lnTo>
                      <a:lnTo>
                        <a:pt x="100" y="626"/>
                      </a:lnTo>
                      <a:close/>
                      <a:moveTo>
                        <a:pt x="254" y="625"/>
                      </a:moveTo>
                      <a:lnTo>
                        <a:pt x="254" y="625"/>
                      </a:lnTo>
                      <a:lnTo>
                        <a:pt x="254" y="625"/>
                      </a:lnTo>
                      <a:lnTo>
                        <a:pt x="251" y="625"/>
                      </a:lnTo>
                      <a:lnTo>
                        <a:pt x="243" y="626"/>
                      </a:lnTo>
                      <a:lnTo>
                        <a:pt x="228" y="628"/>
                      </a:lnTo>
                      <a:lnTo>
                        <a:pt x="209" y="629"/>
                      </a:lnTo>
                      <a:lnTo>
                        <a:pt x="208" y="629"/>
                      </a:lnTo>
                      <a:lnTo>
                        <a:pt x="225" y="628"/>
                      </a:lnTo>
                      <a:lnTo>
                        <a:pt x="238" y="626"/>
                      </a:lnTo>
                      <a:lnTo>
                        <a:pt x="241" y="626"/>
                      </a:lnTo>
                      <a:lnTo>
                        <a:pt x="243" y="626"/>
                      </a:lnTo>
                      <a:lnTo>
                        <a:pt x="248" y="625"/>
                      </a:lnTo>
                      <a:lnTo>
                        <a:pt x="251" y="625"/>
                      </a:lnTo>
                      <a:lnTo>
                        <a:pt x="254" y="625"/>
                      </a:lnTo>
                      <a:close/>
                      <a:moveTo>
                        <a:pt x="394" y="478"/>
                      </a:moveTo>
                      <a:lnTo>
                        <a:pt x="394" y="772"/>
                      </a:lnTo>
                      <a:lnTo>
                        <a:pt x="20" y="772"/>
                      </a:lnTo>
                      <a:lnTo>
                        <a:pt x="23" y="759"/>
                      </a:lnTo>
                      <a:lnTo>
                        <a:pt x="218" y="759"/>
                      </a:lnTo>
                      <a:lnTo>
                        <a:pt x="232" y="756"/>
                      </a:lnTo>
                      <a:lnTo>
                        <a:pt x="243" y="748"/>
                      </a:lnTo>
                      <a:lnTo>
                        <a:pt x="250" y="737"/>
                      </a:lnTo>
                      <a:lnTo>
                        <a:pt x="254" y="724"/>
                      </a:lnTo>
                      <a:lnTo>
                        <a:pt x="257" y="708"/>
                      </a:lnTo>
                      <a:lnTo>
                        <a:pt x="257" y="690"/>
                      </a:lnTo>
                      <a:lnTo>
                        <a:pt x="257" y="667"/>
                      </a:lnTo>
                      <a:lnTo>
                        <a:pt x="256" y="644"/>
                      </a:lnTo>
                      <a:lnTo>
                        <a:pt x="254" y="625"/>
                      </a:lnTo>
                      <a:lnTo>
                        <a:pt x="256" y="625"/>
                      </a:lnTo>
                      <a:lnTo>
                        <a:pt x="257" y="623"/>
                      </a:lnTo>
                      <a:lnTo>
                        <a:pt x="257" y="623"/>
                      </a:lnTo>
                      <a:lnTo>
                        <a:pt x="259" y="623"/>
                      </a:lnTo>
                      <a:lnTo>
                        <a:pt x="259" y="623"/>
                      </a:lnTo>
                      <a:lnTo>
                        <a:pt x="257" y="623"/>
                      </a:lnTo>
                      <a:lnTo>
                        <a:pt x="254" y="625"/>
                      </a:lnTo>
                      <a:lnTo>
                        <a:pt x="254" y="623"/>
                      </a:lnTo>
                      <a:lnTo>
                        <a:pt x="254" y="621"/>
                      </a:lnTo>
                      <a:lnTo>
                        <a:pt x="256" y="621"/>
                      </a:lnTo>
                      <a:lnTo>
                        <a:pt x="254" y="621"/>
                      </a:lnTo>
                      <a:lnTo>
                        <a:pt x="256" y="612"/>
                      </a:lnTo>
                      <a:lnTo>
                        <a:pt x="257" y="600"/>
                      </a:lnTo>
                      <a:lnTo>
                        <a:pt x="257" y="591"/>
                      </a:lnTo>
                      <a:lnTo>
                        <a:pt x="257" y="584"/>
                      </a:lnTo>
                      <a:lnTo>
                        <a:pt x="257" y="584"/>
                      </a:lnTo>
                      <a:lnTo>
                        <a:pt x="257" y="578"/>
                      </a:lnTo>
                      <a:lnTo>
                        <a:pt x="257" y="567"/>
                      </a:lnTo>
                      <a:lnTo>
                        <a:pt x="257" y="549"/>
                      </a:lnTo>
                      <a:lnTo>
                        <a:pt x="257" y="549"/>
                      </a:lnTo>
                      <a:lnTo>
                        <a:pt x="257" y="549"/>
                      </a:lnTo>
                      <a:lnTo>
                        <a:pt x="257" y="549"/>
                      </a:lnTo>
                      <a:lnTo>
                        <a:pt x="257" y="548"/>
                      </a:lnTo>
                      <a:lnTo>
                        <a:pt x="260" y="517"/>
                      </a:lnTo>
                      <a:lnTo>
                        <a:pt x="263" y="478"/>
                      </a:lnTo>
                      <a:lnTo>
                        <a:pt x="273" y="480"/>
                      </a:lnTo>
                      <a:lnTo>
                        <a:pt x="273" y="480"/>
                      </a:lnTo>
                      <a:lnTo>
                        <a:pt x="279" y="480"/>
                      </a:lnTo>
                      <a:lnTo>
                        <a:pt x="292" y="480"/>
                      </a:lnTo>
                      <a:lnTo>
                        <a:pt x="308" y="480"/>
                      </a:lnTo>
                      <a:lnTo>
                        <a:pt x="323" y="481"/>
                      </a:lnTo>
                      <a:lnTo>
                        <a:pt x="336" y="481"/>
                      </a:lnTo>
                      <a:lnTo>
                        <a:pt x="340" y="481"/>
                      </a:lnTo>
                      <a:lnTo>
                        <a:pt x="355" y="481"/>
                      </a:lnTo>
                      <a:lnTo>
                        <a:pt x="373" y="480"/>
                      </a:lnTo>
                      <a:lnTo>
                        <a:pt x="394" y="478"/>
                      </a:lnTo>
                      <a:close/>
                      <a:moveTo>
                        <a:pt x="293" y="301"/>
                      </a:moveTo>
                      <a:lnTo>
                        <a:pt x="302" y="314"/>
                      </a:lnTo>
                      <a:lnTo>
                        <a:pt x="308" y="325"/>
                      </a:lnTo>
                      <a:lnTo>
                        <a:pt x="312" y="333"/>
                      </a:lnTo>
                      <a:lnTo>
                        <a:pt x="314" y="336"/>
                      </a:lnTo>
                      <a:lnTo>
                        <a:pt x="317" y="334"/>
                      </a:lnTo>
                      <a:lnTo>
                        <a:pt x="327" y="350"/>
                      </a:lnTo>
                      <a:lnTo>
                        <a:pt x="339" y="368"/>
                      </a:lnTo>
                      <a:lnTo>
                        <a:pt x="349" y="385"/>
                      </a:lnTo>
                      <a:lnTo>
                        <a:pt x="357" y="401"/>
                      </a:lnTo>
                      <a:lnTo>
                        <a:pt x="334" y="410"/>
                      </a:lnTo>
                      <a:lnTo>
                        <a:pt x="312" y="416"/>
                      </a:lnTo>
                      <a:lnTo>
                        <a:pt x="289" y="420"/>
                      </a:lnTo>
                      <a:lnTo>
                        <a:pt x="280" y="420"/>
                      </a:lnTo>
                      <a:lnTo>
                        <a:pt x="270" y="421"/>
                      </a:lnTo>
                      <a:lnTo>
                        <a:pt x="272" y="414"/>
                      </a:lnTo>
                      <a:lnTo>
                        <a:pt x="285" y="347"/>
                      </a:lnTo>
                      <a:lnTo>
                        <a:pt x="293" y="301"/>
                      </a:lnTo>
                      <a:close/>
                      <a:moveTo>
                        <a:pt x="177" y="0"/>
                      </a:moveTo>
                      <a:lnTo>
                        <a:pt x="219" y="0"/>
                      </a:lnTo>
                      <a:lnTo>
                        <a:pt x="218" y="3"/>
                      </a:lnTo>
                      <a:lnTo>
                        <a:pt x="216" y="22"/>
                      </a:lnTo>
                      <a:lnTo>
                        <a:pt x="222" y="38"/>
                      </a:lnTo>
                      <a:lnTo>
                        <a:pt x="232" y="52"/>
                      </a:lnTo>
                      <a:lnTo>
                        <a:pt x="245" y="62"/>
                      </a:lnTo>
                      <a:lnTo>
                        <a:pt x="261" y="70"/>
                      </a:lnTo>
                      <a:lnTo>
                        <a:pt x="282" y="75"/>
                      </a:lnTo>
                      <a:lnTo>
                        <a:pt x="302" y="81"/>
                      </a:lnTo>
                      <a:lnTo>
                        <a:pt x="323" y="89"/>
                      </a:lnTo>
                      <a:lnTo>
                        <a:pt x="341" y="97"/>
                      </a:lnTo>
                      <a:lnTo>
                        <a:pt x="357" y="109"/>
                      </a:lnTo>
                      <a:lnTo>
                        <a:pt x="372" y="125"/>
                      </a:lnTo>
                      <a:lnTo>
                        <a:pt x="384" y="142"/>
                      </a:lnTo>
                      <a:lnTo>
                        <a:pt x="394" y="160"/>
                      </a:lnTo>
                      <a:lnTo>
                        <a:pt x="394" y="230"/>
                      </a:lnTo>
                      <a:lnTo>
                        <a:pt x="366" y="177"/>
                      </a:lnTo>
                      <a:lnTo>
                        <a:pt x="360" y="164"/>
                      </a:lnTo>
                      <a:lnTo>
                        <a:pt x="352" y="152"/>
                      </a:lnTo>
                      <a:lnTo>
                        <a:pt x="341" y="141"/>
                      </a:lnTo>
                      <a:lnTo>
                        <a:pt x="328" y="128"/>
                      </a:lnTo>
                      <a:lnTo>
                        <a:pt x="309" y="116"/>
                      </a:lnTo>
                      <a:lnTo>
                        <a:pt x="286" y="100"/>
                      </a:lnTo>
                      <a:lnTo>
                        <a:pt x="261" y="87"/>
                      </a:lnTo>
                      <a:lnTo>
                        <a:pt x="235" y="75"/>
                      </a:lnTo>
                      <a:lnTo>
                        <a:pt x="212" y="67"/>
                      </a:lnTo>
                      <a:lnTo>
                        <a:pt x="192" y="62"/>
                      </a:lnTo>
                      <a:lnTo>
                        <a:pt x="174" y="59"/>
                      </a:lnTo>
                      <a:lnTo>
                        <a:pt x="173" y="59"/>
                      </a:lnTo>
                      <a:lnTo>
                        <a:pt x="171" y="61"/>
                      </a:lnTo>
                      <a:lnTo>
                        <a:pt x="171" y="55"/>
                      </a:lnTo>
                      <a:lnTo>
                        <a:pt x="173" y="49"/>
                      </a:lnTo>
                      <a:lnTo>
                        <a:pt x="171" y="51"/>
                      </a:lnTo>
                      <a:lnTo>
                        <a:pt x="171" y="7"/>
                      </a:lnTo>
                      <a:lnTo>
                        <a:pt x="177" y="0"/>
                      </a:lnTo>
                      <a:close/>
                      <a:moveTo>
                        <a:pt x="0" y="0"/>
                      </a:moveTo>
                      <a:lnTo>
                        <a:pt x="21" y="0"/>
                      </a:lnTo>
                      <a:lnTo>
                        <a:pt x="37" y="20"/>
                      </a:lnTo>
                      <a:lnTo>
                        <a:pt x="55" y="38"/>
                      </a:lnTo>
                      <a:lnTo>
                        <a:pt x="55" y="48"/>
                      </a:lnTo>
                      <a:lnTo>
                        <a:pt x="49" y="41"/>
                      </a:lnTo>
                      <a:lnTo>
                        <a:pt x="46" y="61"/>
                      </a:lnTo>
                      <a:lnTo>
                        <a:pt x="24" y="65"/>
                      </a:lnTo>
                      <a:lnTo>
                        <a:pt x="0" y="7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7050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01" name="Freeform 187"/>
                <p:cNvSpPr>
                  <a:spLocks/>
                </p:cNvSpPr>
                <p:nvPr/>
              </p:nvSpPr>
              <p:spPr bwMode="auto">
                <a:xfrm>
                  <a:off x="5930901" y="4718050"/>
                  <a:ext cx="658813" cy="147638"/>
                </a:xfrm>
                <a:custGeom>
                  <a:avLst/>
                  <a:gdLst>
                    <a:gd name="T0" fmla="*/ 48 w 415"/>
                    <a:gd name="T1" fmla="*/ 0 h 93"/>
                    <a:gd name="T2" fmla="*/ 415 w 415"/>
                    <a:gd name="T3" fmla="*/ 0 h 93"/>
                    <a:gd name="T4" fmla="*/ 396 w 415"/>
                    <a:gd name="T5" fmla="*/ 3 h 93"/>
                    <a:gd name="T6" fmla="*/ 382 w 415"/>
                    <a:gd name="T7" fmla="*/ 13 h 93"/>
                    <a:gd name="T8" fmla="*/ 371 w 415"/>
                    <a:gd name="T9" fmla="*/ 27 h 93"/>
                    <a:gd name="T10" fmla="*/ 367 w 415"/>
                    <a:gd name="T11" fmla="*/ 46 h 93"/>
                    <a:gd name="T12" fmla="*/ 371 w 415"/>
                    <a:gd name="T13" fmla="*/ 65 h 93"/>
                    <a:gd name="T14" fmla="*/ 382 w 415"/>
                    <a:gd name="T15" fmla="*/ 80 h 93"/>
                    <a:gd name="T16" fmla="*/ 396 w 415"/>
                    <a:gd name="T17" fmla="*/ 90 h 93"/>
                    <a:gd name="T18" fmla="*/ 415 w 415"/>
                    <a:gd name="T19" fmla="*/ 93 h 93"/>
                    <a:gd name="T20" fmla="*/ 48 w 415"/>
                    <a:gd name="T21" fmla="*/ 93 h 93"/>
                    <a:gd name="T22" fmla="*/ 30 w 415"/>
                    <a:gd name="T23" fmla="*/ 90 h 93"/>
                    <a:gd name="T24" fmla="*/ 15 w 415"/>
                    <a:gd name="T25" fmla="*/ 80 h 93"/>
                    <a:gd name="T26" fmla="*/ 5 w 415"/>
                    <a:gd name="T27" fmla="*/ 65 h 93"/>
                    <a:gd name="T28" fmla="*/ 0 w 415"/>
                    <a:gd name="T29" fmla="*/ 46 h 93"/>
                    <a:gd name="T30" fmla="*/ 5 w 415"/>
                    <a:gd name="T31" fmla="*/ 27 h 93"/>
                    <a:gd name="T32" fmla="*/ 15 w 415"/>
                    <a:gd name="T33" fmla="*/ 13 h 93"/>
                    <a:gd name="T34" fmla="*/ 30 w 415"/>
                    <a:gd name="T35" fmla="*/ 3 h 93"/>
                    <a:gd name="T36" fmla="*/ 48 w 415"/>
                    <a:gd name="T37" fmla="*/ 0 h 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415" h="93">
                      <a:moveTo>
                        <a:pt x="48" y="0"/>
                      </a:moveTo>
                      <a:lnTo>
                        <a:pt x="415" y="0"/>
                      </a:lnTo>
                      <a:lnTo>
                        <a:pt x="396" y="3"/>
                      </a:lnTo>
                      <a:lnTo>
                        <a:pt x="382" y="13"/>
                      </a:lnTo>
                      <a:lnTo>
                        <a:pt x="371" y="27"/>
                      </a:lnTo>
                      <a:lnTo>
                        <a:pt x="367" y="46"/>
                      </a:lnTo>
                      <a:lnTo>
                        <a:pt x="371" y="65"/>
                      </a:lnTo>
                      <a:lnTo>
                        <a:pt x="382" y="80"/>
                      </a:lnTo>
                      <a:lnTo>
                        <a:pt x="396" y="90"/>
                      </a:lnTo>
                      <a:lnTo>
                        <a:pt x="415" y="93"/>
                      </a:lnTo>
                      <a:lnTo>
                        <a:pt x="48" y="93"/>
                      </a:lnTo>
                      <a:lnTo>
                        <a:pt x="30" y="90"/>
                      </a:lnTo>
                      <a:lnTo>
                        <a:pt x="15" y="80"/>
                      </a:lnTo>
                      <a:lnTo>
                        <a:pt x="5" y="65"/>
                      </a:lnTo>
                      <a:lnTo>
                        <a:pt x="0" y="46"/>
                      </a:lnTo>
                      <a:lnTo>
                        <a:pt x="5" y="27"/>
                      </a:lnTo>
                      <a:lnTo>
                        <a:pt x="15" y="13"/>
                      </a:lnTo>
                      <a:lnTo>
                        <a:pt x="30" y="3"/>
                      </a:lnTo>
                      <a:lnTo>
                        <a:pt x="48" y="0"/>
                      </a:lnTo>
                      <a:close/>
                    </a:path>
                  </a:pathLst>
                </a:custGeom>
                <a:solidFill>
                  <a:srgbClr val="332F2C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02" name="Freeform 188"/>
                <p:cNvSpPr>
                  <a:spLocks/>
                </p:cNvSpPr>
                <p:nvPr/>
              </p:nvSpPr>
              <p:spPr bwMode="auto">
                <a:xfrm>
                  <a:off x="6513513" y="4791075"/>
                  <a:ext cx="150813" cy="74613"/>
                </a:xfrm>
                <a:custGeom>
                  <a:avLst/>
                  <a:gdLst>
                    <a:gd name="T0" fmla="*/ 0 w 95"/>
                    <a:gd name="T1" fmla="*/ 0 h 47"/>
                    <a:gd name="T2" fmla="*/ 95 w 95"/>
                    <a:gd name="T3" fmla="*/ 0 h 47"/>
                    <a:gd name="T4" fmla="*/ 92 w 95"/>
                    <a:gd name="T5" fmla="*/ 19 h 47"/>
                    <a:gd name="T6" fmla="*/ 81 w 95"/>
                    <a:gd name="T7" fmla="*/ 34 h 47"/>
                    <a:gd name="T8" fmla="*/ 65 w 95"/>
                    <a:gd name="T9" fmla="*/ 44 h 47"/>
                    <a:gd name="T10" fmla="*/ 48 w 95"/>
                    <a:gd name="T11" fmla="*/ 47 h 47"/>
                    <a:gd name="T12" fmla="*/ 29 w 95"/>
                    <a:gd name="T13" fmla="*/ 44 h 47"/>
                    <a:gd name="T14" fmla="*/ 15 w 95"/>
                    <a:gd name="T15" fmla="*/ 34 h 47"/>
                    <a:gd name="T16" fmla="*/ 4 w 95"/>
                    <a:gd name="T17" fmla="*/ 19 h 47"/>
                    <a:gd name="T18" fmla="*/ 0 w 95"/>
                    <a:gd name="T19" fmla="*/ 0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95" h="47">
                      <a:moveTo>
                        <a:pt x="0" y="0"/>
                      </a:moveTo>
                      <a:lnTo>
                        <a:pt x="95" y="0"/>
                      </a:lnTo>
                      <a:lnTo>
                        <a:pt x="92" y="19"/>
                      </a:lnTo>
                      <a:lnTo>
                        <a:pt x="81" y="34"/>
                      </a:lnTo>
                      <a:lnTo>
                        <a:pt x="65" y="44"/>
                      </a:lnTo>
                      <a:lnTo>
                        <a:pt x="48" y="47"/>
                      </a:lnTo>
                      <a:lnTo>
                        <a:pt x="29" y="44"/>
                      </a:lnTo>
                      <a:lnTo>
                        <a:pt x="15" y="34"/>
                      </a:lnTo>
                      <a:lnTo>
                        <a:pt x="4" y="1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7050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03" name="Freeform 189"/>
                <p:cNvSpPr>
                  <a:spLocks/>
                </p:cNvSpPr>
                <p:nvPr/>
              </p:nvSpPr>
              <p:spPr bwMode="auto">
                <a:xfrm>
                  <a:off x="6513513" y="4718050"/>
                  <a:ext cx="150813" cy="73025"/>
                </a:xfrm>
                <a:custGeom>
                  <a:avLst/>
                  <a:gdLst>
                    <a:gd name="T0" fmla="*/ 48 w 95"/>
                    <a:gd name="T1" fmla="*/ 0 h 46"/>
                    <a:gd name="T2" fmla="*/ 65 w 95"/>
                    <a:gd name="T3" fmla="*/ 3 h 46"/>
                    <a:gd name="T4" fmla="*/ 81 w 95"/>
                    <a:gd name="T5" fmla="*/ 13 h 46"/>
                    <a:gd name="T6" fmla="*/ 92 w 95"/>
                    <a:gd name="T7" fmla="*/ 27 h 46"/>
                    <a:gd name="T8" fmla="*/ 95 w 95"/>
                    <a:gd name="T9" fmla="*/ 46 h 46"/>
                    <a:gd name="T10" fmla="*/ 0 w 95"/>
                    <a:gd name="T11" fmla="*/ 46 h 46"/>
                    <a:gd name="T12" fmla="*/ 4 w 95"/>
                    <a:gd name="T13" fmla="*/ 27 h 46"/>
                    <a:gd name="T14" fmla="*/ 15 w 95"/>
                    <a:gd name="T15" fmla="*/ 13 h 46"/>
                    <a:gd name="T16" fmla="*/ 29 w 95"/>
                    <a:gd name="T17" fmla="*/ 3 h 46"/>
                    <a:gd name="T18" fmla="*/ 48 w 95"/>
                    <a:gd name="T19" fmla="*/ 0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95" h="46">
                      <a:moveTo>
                        <a:pt x="48" y="0"/>
                      </a:moveTo>
                      <a:lnTo>
                        <a:pt x="65" y="3"/>
                      </a:lnTo>
                      <a:lnTo>
                        <a:pt x="81" y="13"/>
                      </a:lnTo>
                      <a:lnTo>
                        <a:pt x="92" y="27"/>
                      </a:lnTo>
                      <a:lnTo>
                        <a:pt x="95" y="46"/>
                      </a:lnTo>
                      <a:lnTo>
                        <a:pt x="0" y="46"/>
                      </a:lnTo>
                      <a:lnTo>
                        <a:pt x="4" y="27"/>
                      </a:lnTo>
                      <a:lnTo>
                        <a:pt x="15" y="13"/>
                      </a:lnTo>
                      <a:lnTo>
                        <a:pt x="29" y="3"/>
                      </a:lnTo>
                      <a:lnTo>
                        <a:pt x="48" y="0"/>
                      </a:lnTo>
                      <a:close/>
                    </a:path>
                  </a:pathLst>
                </a:custGeom>
                <a:solidFill>
                  <a:srgbClr val="0100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04" name="Freeform 190"/>
                <p:cNvSpPr>
                  <a:spLocks noEditPoints="1"/>
                </p:cNvSpPr>
                <p:nvPr/>
              </p:nvSpPr>
              <p:spPr bwMode="auto">
                <a:xfrm>
                  <a:off x="6908801" y="3492500"/>
                  <a:ext cx="169863" cy="1298575"/>
                </a:xfrm>
                <a:custGeom>
                  <a:avLst/>
                  <a:gdLst>
                    <a:gd name="T0" fmla="*/ 59 w 107"/>
                    <a:gd name="T1" fmla="*/ 468 h 818"/>
                    <a:gd name="T2" fmla="*/ 59 w 107"/>
                    <a:gd name="T3" fmla="*/ 778 h 818"/>
                    <a:gd name="T4" fmla="*/ 56 w 107"/>
                    <a:gd name="T5" fmla="*/ 794 h 818"/>
                    <a:gd name="T6" fmla="*/ 46 w 107"/>
                    <a:gd name="T7" fmla="*/ 807 h 818"/>
                    <a:gd name="T8" fmla="*/ 33 w 107"/>
                    <a:gd name="T9" fmla="*/ 815 h 818"/>
                    <a:gd name="T10" fmla="*/ 16 w 107"/>
                    <a:gd name="T11" fmla="*/ 818 h 818"/>
                    <a:gd name="T12" fmla="*/ 0 w 107"/>
                    <a:gd name="T13" fmla="*/ 818 h 818"/>
                    <a:gd name="T14" fmla="*/ 11 w 107"/>
                    <a:gd name="T15" fmla="*/ 815 h 818"/>
                    <a:gd name="T16" fmla="*/ 19 w 107"/>
                    <a:gd name="T17" fmla="*/ 807 h 818"/>
                    <a:gd name="T18" fmla="*/ 22 w 107"/>
                    <a:gd name="T19" fmla="*/ 795 h 818"/>
                    <a:gd name="T20" fmla="*/ 19 w 107"/>
                    <a:gd name="T21" fmla="*/ 783 h 818"/>
                    <a:gd name="T22" fmla="*/ 11 w 107"/>
                    <a:gd name="T23" fmla="*/ 775 h 818"/>
                    <a:gd name="T24" fmla="*/ 0 w 107"/>
                    <a:gd name="T25" fmla="*/ 772 h 818"/>
                    <a:gd name="T26" fmla="*/ 22 w 107"/>
                    <a:gd name="T27" fmla="*/ 772 h 818"/>
                    <a:gd name="T28" fmla="*/ 22 w 107"/>
                    <a:gd name="T29" fmla="*/ 477 h 818"/>
                    <a:gd name="T30" fmla="*/ 42 w 107"/>
                    <a:gd name="T31" fmla="*/ 472 h 818"/>
                    <a:gd name="T32" fmla="*/ 59 w 107"/>
                    <a:gd name="T33" fmla="*/ 468 h 818"/>
                    <a:gd name="T34" fmla="*/ 22 w 107"/>
                    <a:gd name="T35" fmla="*/ 0 h 818"/>
                    <a:gd name="T36" fmla="*/ 49 w 107"/>
                    <a:gd name="T37" fmla="*/ 4 h 818"/>
                    <a:gd name="T38" fmla="*/ 72 w 107"/>
                    <a:gd name="T39" fmla="*/ 16 h 818"/>
                    <a:gd name="T40" fmla="*/ 91 w 107"/>
                    <a:gd name="T41" fmla="*/ 35 h 818"/>
                    <a:gd name="T42" fmla="*/ 103 w 107"/>
                    <a:gd name="T43" fmla="*/ 59 h 818"/>
                    <a:gd name="T44" fmla="*/ 107 w 107"/>
                    <a:gd name="T45" fmla="*/ 86 h 818"/>
                    <a:gd name="T46" fmla="*/ 104 w 107"/>
                    <a:gd name="T47" fmla="*/ 110 h 818"/>
                    <a:gd name="T48" fmla="*/ 94 w 107"/>
                    <a:gd name="T49" fmla="*/ 132 h 818"/>
                    <a:gd name="T50" fmla="*/ 80 w 107"/>
                    <a:gd name="T51" fmla="*/ 150 h 818"/>
                    <a:gd name="T52" fmla="*/ 59 w 107"/>
                    <a:gd name="T53" fmla="*/ 163 h 818"/>
                    <a:gd name="T54" fmla="*/ 59 w 107"/>
                    <a:gd name="T55" fmla="*/ 391 h 818"/>
                    <a:gd name="T56" fmla="*/ 51 w 107"/>
                    <a:gd name="T57" fmla="*/ 363 h 818"/>
                    <a:gd name="T58" fmla="*/ 40 w 107"/>
                    <a:gd name="T59" fmla="*/ 336 h 818"/>
                    <a:gd name="T60" fmla="*/ 30 w 107"/>
                    <a:gd name="T61" fmla="*/ 311 h 818"/>
                    <a:gd name="T62" fmla="*/ 22 w 107"/>
                    <a:gd name="T63" fmla="*/ 292 h 818"/>
                    <a:gd name="T64" fmla="*/ 22 w 107"/>
                    <a:gd name="T65" fmla="*/ 280 h 818"/>
                    <a:gd name="T66" fmla="*/ 23 w 107"/>
                    <a:gd name="T67" fmla="*/ 280 h 818"/>
                    <a:gd name="T68" fmla="*/ 22 w 107"/>
                    <a:gd name="T69" fmla="*/ 276 h 818"/>
                    <a:gd name="T70" fmla="*/ 22 w 107"/>
                    <a:gd name="T71" fmla="*/ 0 h 8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07" h="818">
                      <a:moveTo>
                        <a:pt x="59" y="468"/>
                      </a:moveTo>
                      <a:lnTo>
                        <a:pt x="59" y="778"/>
                      </a:lnTo>
                      <a:lnTo>
                        <a:pt x="56" y="794"/>
                      </a:lnTo>
                      <a:lnTo>
                        <a:pt x="46" y="807"/>
                      </a:lnTo>
                      <a:lnTo>
                        <a:pt x="33" y="815"/>
                      </a:lnTo>
                      <a:lnTo>
                        <a:pt x="16" y="818"/>
                      </a:lnTo>
                      <a:lnTo>
                        <a:pt x="0" y="818"/>
                      </a:lnTo>
                      <a:lnTo>
                        <a:pt x="11" y="815"/>
                      </a:lnTo>
                      <a:lnTo>
                        <a:pt x="19" y="807"/>
                      </a:lnTo>
                      <a:lnTo>
                        <a:pt x="22" y="795"/>
                      </a:lnTo>
                      <a:lnTo>
                        <a:pt x="19" y="783"/>
                      </a:lnTo>
                      <a:lnTo>
                        <a:pt x="11" y="775"/>
                      </a:lnTo>
                      <a:lnTo>
                        <a:pt x="0" y="772"/>
                      </a:lnTo>
                      <a:lnTo>
                        <a:pt x="22" y="772"/>
                      </a:lnTo>
                      <a:lnTo>
                        <a:pt x="22" y="477"/>
                      </a:lnTo>
                      <a:lnTo>
                        <a:pt x="42" y="472"/>
                      </a:lnTo>
                      <a:lnTo>
                        <a:pt x="59" y="468"/>
                      </a:lnTo>
                      <a:close/>
                      <a:moveTo>
                        <a:pt x="22" y="0"/>
                      </a:moveTo>
                      <a:lnTo>
                        <a:pt x="49" y="4"/>
                      </a:lnTo>
                      <a:lnTo>
                        <a:pt x="72" y="16"/>
                      </a:lnTo>
                      <a:lnTo>
                        <a:pt x="91" y="35"/>
                      </a:lnTo>
                      <a:lnTo>
                        <a:pt x="103" y="59"/>
                      </a:lnTo>
                      <a:lnTo>
                        <a:pt x="107" y="86"/>
                      </a:lnTo>
                      <a:lnTo>
                        <a:pt x="104" y="110"/>
                      </a:lnTo>
                      <a:lnTo>
                        <a:pt x="94" y="132"/>
                      </a:lnTo>
                      <a:lnTo>
                        <a:pt x="80" y="150"/>
                      </a:lnTo>
                      <a:lnTo>
                        <a:pt x="59" y="163"/>
                      </a:lnTo>
                      <a:lnTo>
                        <a:pt x="59" y="391"/>
                      </a:lnTo>
                      <a:lnTo>
                        <a:pt x="51" y="363"/>
                      </a:lnTo>
                      <a:lnTo>
                        <a:pt x="40" y="336"/>
                      </a:lnTo>
                      <a:lnTo>
                        <a:pt x="30" y="311"/>
                      </a:lnTo>
                      <a:lnTo>
                        <a:pt x="22" y="292"/>
                      </a:lnTo>
                      <a:lnTo>
                        <a:pt x="22" y="280"/>
                      </a:lnTo>
                      <a:lnTo>
                        <a:pt x="23" y="280"/>
                      </a:lnTo>
                      <a:lnTo>
                        <a:pt x="22" y="276"/>
                      </a:lnTo>
                      <a:lnTo>
                        <a:pt x="22" y="0"/>
                      </a:lnTo>
                      <a:close/>
                    </a:path>
                  </a:pathLst>
                </a:custGeom>
                <a:solidFill>
                  <a:srgbClr val="07050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05" name="Freeform 192"/>
                <p:cNvSpPr>
                  <a:spLocks/>
                </p:cNvSpPr>
                <p:nvPr/>
              </p:nvSpPr>
              <p:spPr bwMode="auto">
                <a:xfrm>
                  <a:off x="6904038" y="3492500"/>
                  <a:ext cx="39688" cy="322263"/>
                </a:xfrm>
                <a:custGeom>
                  <a:avLst/>
                  <a:gdLst>
                    <a:gd name="T0" fmla="*/ 25 w 25"/>
                    <a:gd name="T1" fmla="*/ 0 h 203"/>
                    <a:gd name="T2" fmla="*/ 25 w 25"/>
                    <a:gd name="T3" fmla="*/ 203 h 203"/>
                    <a:gd name="T4" fmla="*/ 22 w 25"/>
                    <a:gd name="T5" fmla="*/ 198 h 203"/>
                    <a:gd name="T6" fmla="*/ 0 w 25"/>
                    <a:gd name="T7" fmla="*/ 160 h 203"/>
                    <a:gd name="T8" fmla="*/ 0 w 25"/>
                    <a:gd name="T9" fmla="*/ 89 h 203"/>
                    <a:gd name="T10" fmla="*/ 0 w 25"/>
                    <a:gd name="T11" fmla="*/ 87 h 203"/>
                    <a:gd name="T12" fmla="*/ 0 w 25"/>
                    <a:gd name="T13" fmla="*/ 81 h 203"/>
                    <a:gd name="T14" fmla="*/ 0 w 25"/>
                    <a:gd name="T15" fmla="*/ 70 h 203"/>
                    <a:gd name="T16" fmla="*/ 0 w 25"/>
                    <a:gd name="T17" fmla="*/ 55 h 203"/>
                    <a:gd name="T18" fmla="*/ 1 w 25"/>
                    <a:gd name="T19" fmla="*/ 41 h 203"/>
                    <a:gd name="T20" fmla="*/ 3 w 25"/>
                    <a:gd name="T21" fmla="*/ 25 h 203"/>
                    <a:gd name="T22" fmla="*/ 9 w 25"/>
                    <a:gd name="T23" fmla="*/ 11 h 203"/>
                    <a:gd name="T24" fmla="*/ 14 w 25"/>
                    <a:gd name="T25" fmla="*/ 3 h 203"/>
                    <a:gd name="T26" fmla="*/ 25 w 25"/>
                    <a:gd name="T27" fmla="*/ 0 h 2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5" h="203">
                      <a:moveTo>
                        <a:pt x="25" y="0"/>
                      </a:moveTo>
                      <a:lnTo>
                        <a:pt x="25" y="203"/>
                      </a:lnTo>
                      <a:lnTo>
                        <a:pt x="22" y="198"/>
                      </a:lnTo>
                      <a:lnTo>
                        <a:pt x="0" y="160"/>
                      </a:lnTo>
                      <a:lnTo>
                        <a:pt x="0" y="89"/>
                      </a:lnTo>
                      <a:lnTo>
                        <a:pt x="0" y="87"/>
                      </a:lnTo>
                      <a:lnTo>
                        <a:pt x="0" y="81"/>
                      </a:lnTo>
                      <a:lnTo>
                        <a:pt x="0" y="70"/>
                      </a:lnTo>
                      <a:lnTo>
                        <a:pt x="0" y="55"/>
                      </a:lnTo>
                      <a:lnTo>
                        <a:pt x="1" y="41"/>
                      </a:lnTo>
                      <a:lnTo>
                        <a:pt x="3" y="25"/>
                      </a:lnTo>
                      <a:lnTo>
                        <a:pt x="9" y="11"/>
                      </a:lnTo>
                      <a:lnTo>
                        <a:pt x="14" y="3"/>
                      </a:lnTo>
                      <a:lnTo>
                        <a:pt x="25" y="0"/>
                      </a:lnTo>
                      <a:close/>
                    </a:path>
                  </a:pathLst>
                </a:custGeom>
                <a:solidFill>
                  <a:srgbClr val="07050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06" name="Freeform 193"/>
                <p:cNvSpPr>
                  <a:spLocks noEditPoints="1"/>
                </p:cNvSpPr>
                <p:nvPr/>
              </p:nvSpPr>
              <p:spPr bwMode="auto">
                <a:xfrm>
                  <a:off x="6904038" y="3746500"/>
                  <a:ext cx="39688" cy="971550"/>
                </a:xfrm>
                <a:custGeom>
                  <a:avLst/>
                  <a:gdLst>
                    <a:gd name="T0" fmla="*/ 25 w 25"/>
                    <a:gd name="T1" fmla="*/ 317 h 612"/>
                    <a:gd name="T2" fmla="*/ 25 w 25"/>
                    <a:gd name="T3" fmla="*/ 612 h 612"/>
                    <a:gd name="T4" fmla="*/ 0 w 25"/>
                    <a:gd name="T5" fmla="*/ 612 h 612"/>
                    <a:gd name="T6" fmla="*/ 0 w 25"/>
                    <a:gd name="T7" fmla="*/ 318 h 612"/>
                    <a:gd name="T8" fmla="*/ 25 w 25"/>
                    <a:gd name="T9" fmla="*/ 317 h 612"/>
                    <a:gd name="T10" fmla="*/ 25 w 25"/>
                    <a:gd name="T11" fmla="*/ 120 h 612"/>
                    <a:gd name="T12" fmla="*/ 25 w 25"/>
                    <a:gd name="T13" fmla="*/ 132 h 612"/>
                    <a:gd name="T14" fmla="*/ 23 w 25"/>
                    <a:gd name="T15" fmla="*/ 126 h 612"/>
                    <a:gd name="T16" fmla="*/ 22 w 25"/>
                    <a:gd name="T17" fmla="*/ 123 h 612"/>
                    <a:gd name="T18" fmla="*/ 25 w 25"/>
                    <a:gd name="T19" fmla="*/ 120 h 612"/>
                    <a:gd name="T20" fmla="*/ 0 w 25"/>
                    <a:gd name="T21" fmla="*/ 0 h 612"/>
                    <a:gd name="T22" fmla="*/ 22 w 25"/>
                    <a:gd name="T23" fmla="*/ 38 h 612"/>
                    <a:gd name="T24" fmla="*/ 25 w 25"/>
                    <a:gd name="T25" fmla="*/ 43 h 612"/>
                    <a:gd name="T26" fmla="*/ 25 w 25"/>
                    <a:gd name="T27" fmla="*/ 116 h 612"/>
                    <a:gd name="T28" fmla="*/ 0 w 25"/>
                    <a:gd name="T29" fmla="*/ 70 h 612"/>
                    <a:gd name="T30" fmla="*/ 0 w 25"/>
                    <a:gd name="T31" fmla="*/ 0 h 6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5" h="612">
                      <a:moveTo>
                        <a:pt x="25" y="317"/>
                      </a:moveTo>
                      <a:lnTo>
                        <a:pt x="25" y="612"/>
                      </a:lnTo>
                      <a:lnTo>
                        <a:pt x="0" y="612"/>
                      </a:lnTo>
                      <a:lnTo>
                        <a:pt x="0" y="318"/>
                      </a:lnTo>
                      <a:lnTo>
                        <a:pt x="25" y="317"/>
                      </a:lnTo>
                      <a:close/>
                      <a:moveTo>
                        <a:pt x="25" y="120"/>
                      </a:moveTo>
                      <a:lnTo>
                        <a:pt x="25" y="132"/>
                      </a:lnTo>
                      <a:lnTo>
                        <a:pt x="23" y="126"/>
                      </a:lnTo>
                      <a:lnTo>
                        <a:pt x="22" y="123"/>
                      </a:lnTo>
                      <a:lnTo>
                        <a:pt x="25" y="120"/>
                      </a:lnTo>
                      <a:close/>
                      <a:moveTo>
                        <a:pt x="0" y="0"/>
                      </a:moveTo>
                      <a:lnTo>
                        <a:pt x="22" y="38"/>
                      </a:lnTo>
                      <a:lnTo>
                        <a:pt x="25" y="43"/>
                      </a:lnTo>
                      <a:lnTo>
                        <a:pt x="25" y="116"/>
                      </a:lnTo>
                      <a:lnTo>
                        <a:pt x="0" y="7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100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07" name="Freeform 194"/>
                <p:cNvSpPr>
                  <a:spLocks/>
                </p:cNvSpPr>
                <p:nvPr/>
              </p:nvSpPr>
              <p:spPr bwMode="auto">
                <a:xfrm>
                  <a:off x="6904038" y="3630613"/>
                  <a:ext cx="0" cy="4763"/>
                </a:xfrm>
                <a:custGeom>
                  <a:avLst/>
                  <a:gdLst>
                    <a:gd name="T0" fmla="*/ 0 h 3"/>
                    <a:gd name="T1" fmla="*/ 0 h 3"/>
                    <a:gd name="T2" fmla="*/ 2 h 3"/>
                    <a:gd name="T3" fmla="*/ 3 h 3"/>
                    <a:gd name="T4" fmla="*/ 3 h 3"/>
                    <a:gd name="T5" fmla="*/ 3 h 3"/>
                    <a:gd name="T6" fmla="*/ 2 h 3"/>
                    <a:gd name="T7" fmla="*/ 2 h 3"/>
                    <a:gd name="T8" fmla="*/ 0 h 3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  <a:cxn ang="0">
                      <a:pos x="0" y="T6"/>
                    </a:cxn>
                    <a:cxn ang="0">
                      <a:pos x="0" y="T7"/>
                    </a:cxn>
                    <a:cxn ang="0">
                      <a:pos x="0" y="T8"/>
                    </a:cxn>
                  </a:cxnLst>
                  <a:rect l="0" t="0" r="r" b="b"/>
                  <a:pathLst>
                    <a:path h="3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7050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08" name="Freeform 195"/>
                <p:cNvSpPr>
                  <a:spLocks/>
                </p:cNvSpPr>
                <p:nvPr/>
              </p:nvSpPr>
              <p:spPr bwMode="auto">
                <a:xfrm>
                  <a:off x="5851526" y="4435475"/>
                  <a:ext cx="561975" cy="319088"/>
                </a:xfrm>
                <a:custGeom>
                  <a:avLst/>
                  <a:gdLst>
                    <a:gd name="T0" fmla="*/ 331 w 354"/>
                    <a:gd name="T1" fmla="*/ 0 h 201"/>
                    <a:gd name="T2" fmla="*/ 334 w 354"/>
                    <a:gd name="T3" fmla="*/ 2 h 201"/>
                    <a:gd name="T4" fmla="*/ 336 w 354"/>
                    <a:gd name="T5" fmla="*/ 8 h 201"/>
                    <a:gd name="T6" fmla="*/ 337 w 354"/>
                    <a:gd name="T7" fmla="*/ 19 h 201"/>
                    <a:gd name="T8" fmla="*/ 340 w 354"/>
                    <a:gd name="T9" fmla="*/ 31 h 201"/>
                    <a:gd name="T10" fmla="*/ 344 w 354"/>
                    <a:gd name="T11" fmla="*/ 45 h 201"/>
                    <a:gd name="T12" fmla="*/ 349 w 354"/>
                    <a:gd name="T13" fmla="*/ 60 h 201"/>
                    <a:gd name="T14" fmla="*/ 352 w 354"/>
                    <a:gd name="T15" fmla="*/ 75 h 201"/>
                    <a:gd name="T16" fmla="*/ 354 w 354"/>
                    <a:gd name="T17" fmla="*/ 91 h 201"/>
                    <a:gd name="T18" fmla="*/ 354 w 354"/>
                    <a:gd name="T19" fmla="*/ 105 h 201"/>
                    <a:gd name="T20" fmla="*/ 353 w 354"/>
                    <a:gd name="T21" fmla="*/ 118 h 201"/>
                    <a:gd name="T22" fmla="*/ 347 w 354"/>
                    <a:gd name="T23" fmla="*/ 130 h 201"/>
                    <a:gd name="T24" fmla="*/ 338 w 354"/>
                    <a:gd name="T25" fmla="*/ 138 h 201"/>
                    <a:gd name="T26" fmla="*/ 324 w 354"/>
                    <a:gd name="T27" fmla="*/ 143 h 201"/>
                    <a:gd name="T28" fmla="*/ 49 w 354"/>
                    <a:gd name="T29" fmla="*/ 198 h 201"/>
                    <a:gd name="T30" fmla="*/ 33 w 354"/>
                    <a:gd name="T31" fmla="*/ 201 h 201"/>
                    <a:gd name="T32" fmla="*/ 21 w 354"/>
                    <a:gd name="T33" fmla="*/ 200 h 201"/>
                    <a:gd name="T34" fmla="*/ 14 w 354"/>
                    <a:gd name="T35" fmla="*/ 195 h 201"/>
                    <a:gd name="T36" fmla="*/ 8 w 354"/>
                    <a:gd name="T37" fmla="*/ 186 h 201"/>
                    <a:gd name="T38" fmla="*/ 5 w 354"/>
                    <a:gd name="T39" fmla="*/ 173 h 201"/>
                    <a:gd name="T40" fmla="*/ 2 w 354"/>
                    <a:gd name="T41" fmla="*/ 157 h 201"/>
                    <a:gd name="T42" fmla="*/ 0 w 354"/>
                    <a:gd name="T43" fmla="*/ 143 h 201"/>
                    <a:gd name="T44" fmla="*/ 0 w 354"/>
                    <a:gd name="T45" fmla="*/ 125 h 201"/>
                    <a:gd name="T46" fmla="*/ 2 w 354"/>
                    <a:gd name="T47" fmla="*/ 109 h 201"/>
                    <a:gd name="T48" fmla="*/ 8 w 354"/>
                    <a:gd name="T49" fmla="*/ 93 h 201"/>
                    <a:gd name="T50" fmla="*/ 16 w 354"/>
                    <a:gd name="T51" fmla="*/ 82 h 201"/>
                    <a:gd name="T52" fmla="*/ 27 w 354"/>
                    <a:gd name="T53" fmla="*/ 72 h 201"/>
                    <a:gd name="T54" fmla="*/ 43 w 354"/>
                    <a:gd name="T55" fmla="*/ 66 h 201"/>
                    <a:gd name="T56" fmla="*/ 298 w 354"/>
                    <a:gd name="T57" fmla="*/ 13 h 201"/>
                    <a:gd name="T58" fmla="*/ 312 w 354"/>
                    <a:gd name="T59" fmla="*/ 11 h 201"/>
                    <a:gd name="T60" fmla="*/ 322 w 354"/>
                    <a:gd name="T61" fmla="*/ 5 h 201"/>
                    <a:gd name="T62" fmla="*/ 328 w 354"/>
                    <a:gd name="T63" fmla="*/ 2 h 201"/>
                    <a:gd name="T64" fmla="*/ 331 w 354"/>
                    <a:gd name="T65" fmla="*/ 0 h 2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354" h="201">
                      <a:moveTo>
                        <a:pt x="331" y="0"/>
                      </a:moveTo>
                      <a:lnTo>
                        <a:pt x="334" y="2"/>
                      </a:lnTo>
                      <a:lnTo>
                        <a:pt x="336" y="8"/>
                      </a:lnTo>
                      <a:lnTo>
                        <a:pt x="337" y="19"/>
                      </a:lnTo>
                      <a:lnTo>
                        <a:pt x="340" y="31"/>
                      </a:lnTo>
                      <a:lnTo>
                        <a:pt x="344" y="45"/>
                      </a:lnTo>
                      <a:lnTo>
                        <a:pt x="349" y="60"/>
                      </a:lnTo>
                      <a:lnTo>
                        <a:pt x="352" y="75"/>
                      </a:lnTo>
                      <a:lnTo>
                        <a:pt x="354" y="91"/>
                      </a:lnTo>
                      <a:lnTo>
                        <a:pt x="354" y="105"/>
                      </a:lnTo>
                      <a:lnTo>
                        <a:pt x="353" y="118"/>
                      </a:lnTo>
                      <a:lnTo>
                        <a:pt x="347" y="130"/>
                      </a:lnTo>
                      <a:lnTo>
                        <a:pt x="338" y="138"/>
                      </a:lnTo>
                      <a:lnTo>
                        <a:pt x="324" y="143"/>
                      </a:lnTo>
                      <a:lnTo>
                        <a:pt x="49" y="198"/>
                      </a:lnTo>
                      <a:lnTo>
                        <a:pt x="33" y="201"/>
                      </a:lnTo>
                      <a:lnTo>
                        <a:pt x="21" y="200"/>
                      </a:lnTo>
                      <a:lnTo>
                        <a:pt x="14" y="195"/>
                      </a:lnTo>
                      <a:lnTo>
                        <a:pt x="8" y="186"/>
                      </a:lnTo>
                      <a:lnTo>
                        <a:pt x="5" y="173"/>
                      </a:lnTo>
                      <a:lnTo>
                        <a:pt x="2" y="157"/>
                      </a:lnTo>
                      <a:lnTo>
                        <a:pt x="0" y="143"/>
                      </a:lnTo>
                      <a:lnTo>
                        <a:pt x="0" y="125"/>
                      </a:lnTo>
                      <a:lnTo>
                        <a:pt x="2" y="109"/>
                      </a:lnTo>
                      <a:lnTo>
                        <a:pt x="8" y="93"/>
                      </a:lnTo>
                      <a:lnTo>
                        <a:pt x="16" y="82"/>
                      </a:lnTo>
                      <a:lnTo>
                        <a:pt x="27" y="72"/>
                      </a:lnTo>
                      <a:lnTo>
                        <a:pt x="43" y="66"/>
                      </a:lnTo>
                      <a:lnTo>
                        <a:pt x="298" y="13"/>
                      </a:lnTo>
                      <a:lnTo>
                        <a:pt x="312" y="11"/>
                      </a:lnTo>
                      <a:lnTo>
                        <a:pt x="322" y="5"/>
                      </a:lnTo>
                      <a:lnTo>
                        <a:pt x="328" y="2"/>
                      </a:lnTo>
                      <a:lnTo>
                        <a:pt x="331" y="0"/>
                      </a:lnTo>
                      <a:close/>
                    </a:path>
                  </a:pathLst>
                </a:custGeom>
                <a:solidFill>
                  <a:srgbClr val="5FDDFE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09" name="Freeform 196"/>
                <p:cNvSpPr>
                  <a:spLocks/>
                </p:cNvSpPr>
                <p:nvPr/>
              </p:nvSpPr>
              <p:spPr bwMode="auto">
                <a:xfrm>
                  <a:off x="6365876" y="3427413"/>
                  <a:ext cx="184150" cy="288925"/>
                </a:xfrm>
                <a:custGeom>
                  <a:avLst/>
                  <a:gdLst>
                    <a:gd name="T0" fmla="*/ 58 w 116"/>
                    <a:gd name="T1" fmla="*/ 0 h 182"/>
                    <a:gd name="T2" fmla="*/ 77 w 116"/>
                    <a:gd name="T3" fmla="*/ 3 h 182"/>
                    <a:gd name="T4" fmla="*/ 93 w 116"/>
                    <a:gd name="T5" fmla="*/ 10 h 182"/>
                    <a:gd name="T6" fmla="*/ 106 w 116"/>
                    <a:gd name="T7" fmla="*/ 23 h 182"/>
                    <a:gd name="T8" fmla="*/ 113 w 116"/>
                    <a:gd name="T9" fmla="*/ 38 h 182"/>
                    <a:gd name="T10" fmla="*/ 116 w 116"/>
                    <a:gd name="T11" fmla="*/ 57 h 182"/>
                    <a:gd name="T12" fmla="*/ 116 w 116"/>
                    <a:gd name="T13" fmla="*/ 125 h 182"/>
                    <a:gd name="T14" fmla="*/ 113 w 116"/>
                    <a:gd name="T15" fmla="*/ 143 h 182"/>
                    <a:gd name="T16" fmla="*/ 106 w 116"/>
                    <a:gd name="T17" fmla="*/ 159 h 182"/>
                    <a:gd name="T18" fmla="*/ 93 w 116"/>
                    <a:gd name="T19" fmla="*/ 170 h 182"/>
                    <a:gd name="T20" fmla="*/ 77 w 116"/>
                    <a:gd name="T21" fmla="*/ 179 h 182"/>
                    <a:gd name="T22" fmla="*/ 58 w 116"/>
                    <a:gd name="T23" fmla="*/ 182 h 182"/>
                    <a:gd name="T24" fmla="*/ 41 w 116"/>
                    <a:gd name="T25" fmla="*/ 179 h 182"/>
                    <a:gd name="T26" fmla="*/ 25 w 116"/>
                    <a:gd name="T27" fmla="*/ 170 h 182"/>
                    <a:gd name="T28" fmla="*/ 12 w 116"/>
                    <a:gd name="T29" fmla="*/ 159 h 182"/>
                    <a:gd name="T30" fmla="*/ 3 w 116"/>
                    <a:gd name="T31" fmla="*/ 143 h 182"/>
                    <a:gd name="T32" fmla="*/ 0 w 116"/>
                    <a:gd name="T33" fmla="*/ 125 h 182"/>
                    <a:gd name="T34" fmla="*/ 0 w 116"/>
                    <a:gd name="T35" fmla="*/ 57 h 182"/>
                    <a:gd name="T36" fmla="*/ 3 w 116"/>
                    <a:gd name="T37" fmla="*/ 38 h 182"/>
                    <a:gd name="T38" fmla="*/ 12 w 116"/>
                    <a:gd name="T39" fmla="*/ 23 h 182"/>
                    <a:gd name="T40" fmla="*/ 25 w 116"/>
                    <a:gd name="T41" fmla="*/ 10 h 182"/>
                    <a:gd name="T42" fmla="*/ 41 w 116"/>
                    <a:gd name="T43" fmla="*/ 3 h 182"/>
                    <a:gd name="T44" fmla="*/ 58 w 116"/>
                    <a:gd name="T45" fmla="*/ 0 h 1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16" h="182">
                      <a:moveTo>
                        <a:pt x="58" y="0"/>
                      </a:moveTo>
                      <a:lnTo>
                        <a:pt x="77" y="3"/>
                      </a:lnTo>
                      <a:lnTo>
                        <a:pt x="93" y="10"/>
                      </a:lnTo>
                      <a:lnTo>
                        <a:pt x="106" y="23"/>
                      </a:lnTo>
                      <a:lnTo>
                        <a:pt x="113" y="38"/>
                      </a:lnTo>
                      <a:lnTo>
                        <a:pt x="116" y="57"/>
                      </a:lnTo>
                      <a:lnTo>
                        <a:pt x="116" y="125"/>
                      </a:lnTo>
                      <a:lnTo>
                        <a:pt x="113" y="143"/>
                      </a:lnTo>
                      <a:lnTo>
                        <a:pt x="106" y="159"/>
                      </a:lnTo>
                      <a:lnTo>
                        <a:pt x="93" y="170"/>
                      </a:lnTo>
                      <a:lnTo>
                        <a:pt x="77" y="179"/>
                      </a:lnTo>
                      <a:lnTo>
                        <a:pt x="58" y="182"/>
                      </a:lnTo>
                      <a:lnTo>
                        <a:pt x="41" y="179"/>
                      </a:lnTo>
                      <a:lnTo>
                        <a:pt x="25" y="170"/>
                      </a:lnTo>
                      <a:lnTo>
                        <a:pt x="12" y="159"/>
                      </a:lnTo>
                      <a:lnTo>
                        <a:pt x="3" y="143"/>
                      </a:lnTo>
                      <a:lnTo>
                        <a:pt x="0" y="125"/>
                      </a:lnTo>
                      <a:lnTo>
                        <a:pt x="0" y="57"/>
                      </a:lnTo>
                      <a:lnTo>
                        <a:pt x="3" y="38"/>
                      </a:lnTo>
                      <a:lnTo>
                        <a:pt x="12" y="23"/>
                      </a:lnTo>
                      <a:lnTo>
                        <a:pt x="25" y="10"/>
                      </a:lnTo>
                      <a:lnTo>
                        <a:pt x="41" y="3"/>
                      </a:lnTo>
                      <a:lnTo>
                        <a:pt x="58" y="0"/>
                      </a:lnTo>
                      <a:close/>
                    </a:path>
                  </a:pathLst>
                </a:custGeom>
                <a:solidFill>
                  <a:srgbClr val="F2D2B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10" name="Freeform 197"/>
                <p:cNvSpPr>
                  <a:spLocks/>
                </p:cNvSpPr>
                <p:nvPr/>
              </p:nvSpPr>
              <p:spPr bwMode="auto">
                <a:xfrm>
                  <a:off x="6365876" y="3563938"/>
                  <a:ext cx="184150" cy="152400"/>
                </a:xfrm>
                <a:custGeom>
                  <a:avLst/>
                  <a:gdLst>
                    <a:gd name="T0" fmla="*/ 0 w 116"/>
                    <a:gd name="T1" fmla="*/ 0 h 96"/>
                    <a:gd name="T2" fmla="*/ 6 w 116"/>
                    <a:gd name="T3" fmla="*/ 9 h 96"/>
                    <a:gd name="T4" fmla="*/ 10 w 116"/>
                    <a:gd name="T5" fmla="*/ 19 h 96"/>
                    <a:gd name="T6" fmla="*/ 16 w 116"/>
                    <a:gd name="T7" fmla="*/ 32 h 96"/>
                    <a:gd name="T8" fmla="*/ 20 w 116"/>
                    <a:gd name="T9" fmla="*/ 45 h 96"/>
                    <a:gd name="T10" fmla="*/ 26 w 116"/>
                    <a:gd name="T11" fmla="*/ 55 h 96"/>
                    <a:gd name="T12" fmla="*/ 30 w 116"/>
                    <a:gd name="T13" fmla="*/ 64 h 96"/>
                    <a:gd name="T14" fmla="*/ 33 w 116"/>
                    <a:gd name="T15" fmla="*/ 67 h 96"/>
                    <a:gd name="T16" fmla="*/ 36 w 116"/>
                    <a:gd name="T17" fmla="*/ 64 h 96"/>
                    <a:gd name="T18" fmla="*/ 39 w 116"/>
                    <a:gd name="T19" fmla="*/ 54 h 96"/>
                    <a:gd name="T20" fmla="*/ 44 w 116"/>
                    <a:gd name="T21" fmla="*/ 44 h 96"/>
                    <a:gd name="T22" fmla="*/ 57 w 116"/>
                    <a:gd name="T23" fmla="*/ 35 h 96"/>
                    <a:gd name="T24" fmla="*/ 74 w 116"/>
                    <a:gd name="T25" fmla="*/ 26 h 96"/>
                    <a:gd name="T26" fmla="*/ 92 w 116"/>
                    <a:gd name="T27" fmla="*/ 17 h 96"/>
                    <a:gd name="T28" fmla="*/ 106 w 116"/>
                    <a:gd name="T29" fmla="*/ 10 h 96"/>
                    <a:gd name="T30" fmla="*/ 116 w 116"/>
                    <a:gd name="T31" fmla="*/ 3 h 96"/>
                    <a:gd name="T32" fmla="*/ 116 w 116"/>
                    <a:gd name="T33" fmla="*/ 39 h 96"/>
                    <a:gd name="T34" fmla="*/ 113 w 116"/>
                    <a:gd name="T35" fmla="*/ 57 h 96"/>
                    <a:gd name="T36" fmla="*/ 106 w 116"/>
                    <a:gd name="T37" fmla="*/ 73 h 96"/>
                    <a:gd name="T38" fmla="*/ 93 w 116"/>
                    <a:gd name="T39" fmla="*/ 84 h 96"/>
                    <a:gd name="T40" fmla="*/ 77 w 116"/>
                    <a:gd name="T41" fmla="*/ 93 h 96"/>
                    <a:gd name="T42" fmla="*/ 58 w 116"/>
                    <a:gd name="T43" fmla="*/ 96 h 96"/>
                    <a:gd name="T44" fmla="*/ 41 w 116"/>
                    <a:gd name="T45" fmla="*/ 93 h 96"/>
                    <a:gd name="T46" fmla="*/ 25 w 116"/>
                    <a:gd name="T47" fmla="*/ 84 h 96"/>
                    <a:gd name="T48" fmla="*/ 12 w 116"/>
                    <a:gd name="T49" fmla="*/ 73 h 96"/>
                    <a:gd name="T50" fmla="*/ 3 w 116"/>
                    <a:gd name="T51" fmla="*/ 57 h 96"/>
                    <a:gd name="T52" fmla="*/ 0 w 116"/>
                    <a:gd name="T53" fmla="*/ 39 h 96"/>
                    <a:gd name="T54" fmla="*/ 0 w 116"/>
                    <a:gd name="T55" fmla="*/ 0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116" h="96">
                      <a:moveTo>
                        <a:pt x="0" y="0"/>
                      </a:moveTo>
                      <a:lnTo>
                        <a:pt x="6" y="9"/>
                      </a:lnTo>
                      <a:lnTo>
                        <a:pt x="10" y="19"/>
                      </a:lnTo>
                      <a:lnTo>
                        <a:pt x="16" y="32"/>
                      </a:lnTo>
                      <a:lnTo>
                        <a:pt x="20" y="45"/>
                      </a:lnTo>
                      <a:lnTo>
                        <a:pt x="26" y="55"/>
                      </a:lnTo>
                      <a:lnTo>
                        <a:pt x="30" y="64"/>
                      </a:lnTo>
                      <a:lnTo>
                        <a:pt x="33" y="67"/>
                      </a:lnTo>
                      <a:lnTo>
                        <a:pt x="36" y="64"/>
                      </a:lnTo>
                      <a:lnTo>
                        <a:pt x="39" y="54"/>
                      </a:lnTo>
                      <a:lnTo>
                        <a:pt x="44" y="44"/>
                      </a:lnTo>
                      <a:lnTo>
                        <a:pt x="57" y="35"/>
                      </a:lnTo>
                      <a:lnTo>
                        <a:pt x="74" y="26"/>
                      </a:lnTo>
                      <a:lnTo>
                        <a:pt x="92" y="17"/>
                      </a:lnTo>
                      <a:lnTo>
                        <a:pt x="106" y="10"/>
                      </a:lnTo>
                      <a:lnTo>
                        <a:pt x="116" y="3"/>
                      </a:lnTo>
                      <a:lnTo>
                        <a:pt x="116" y="39"/>
                      </a:lnTo>
                      <a:lnTo>
                        <a:pt x="113" y="57"/>
                      </a:lnTo>
                      <a:lnTo>
                        <a:pt x="106" y="73"/>
                      </a:lnTo>
                      <a:lnTo>
                        <a:pt x="93" y="84"/>
                      </a:lnTo>
                      <a:lnTo>
                        <a:pt x="77" y="93"/>
                      </a:lnTo>
                      <a:lnTo>
                        <a:pt x="58" y="96"/>
                      </a:lnTo>
                      <a:lnTo>
                        <a:pt x="41" y="93"/>
                      </a:lnTo>
                      <a:lnTo>
                        <a:pt x="25" y="84"/>
                      </a:lnTo>
                      <a:lnTo>
                        <a:pt x="12" y="73"/>
                      </a:lnTo>
                      <a:lnTo>
                        <a:pt x="3" y="57"/>
                      </a:lnTo>
                      <a:lnTo>
                        <a:pt x="0" y="3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AF1B32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11" name="Freeform 198"/>
                <p:cNvSpPr>
                  <a:spLocks noEditPoints="1"/>
                </p:cNvSpPr>
                <p:nvPr/>
              </p:nvSpPr>
              <p:spPr bwMode="auto">
                <a:xfrm>
                  <a:off x="6372226" y="3575050"/>
                  <a:ext cx="50800" cy="66675"/>
                </a:xfrm>
                <a:custGeom>
                  <a:avLst/>
                  <a:gdLst>
                    <a:gd name="T0" fmla="*/ 24 w 32"/>
                    <a:gd name="T1" fmla="*/ 28 h 42"/>
                    <a:gd name="T2" fmla="*/ 29 w 32"/>
                    <a:gd name="T3" fmla="*/ 35 h 42"/>
                    <a:gd name="T4" fmla="*/ 32 w 32"/>
                    <a:gd name="T5" fmla="*/ 42 h 42"/>
                    <a:gd name="T6" fmla="*/ 25 w 32"/>
                    <a:gd name="T7" fmla="*/ 39 h 42"/>
                    <a:gd name="T8" fmla="*/ 18 w 32"/>
                    <a:gd name="T9" fmla="*/ 37 h 42"/>
                    <a:gd name="T10" fmla="*/ 24 w 32"/>
                    <a:gd name="T11" fmla="*/ 28 h 42"/>
                    <a:gd name="T12" fmla="*/ 0 w 32"/>
                    <a:gd name="T13" fmla="*/ 0 h 42"/>
                    <a:gd name="T14" fmla="*/ 9 w 32"/>
                    <a:gd name="T15" fmla="*/ 9 h 42"/>
                    <a:gd name="T16" fmla="*/ 15 w 32"/>
                    <a:gd name="T17" fmla="*/ 16 h 42"/>
                    <a:gd name="T18" fmla="*/ 21 w 32"/>
                    <a:gd name="T19" fmla="*/ 23 h 42"/>
                    <a:gd name="T20" fmla="*/ 2 w 32"/>
                    <a:gd name="T21" fmla="*/ 2 h 42"/>
                    <a:gd name="T22" fmla="*/ 0 w 32"/>
                    <a:gd name="T23" fmla="*/ 0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2" h="42">
                      <a:moveTo>
                        <a:pt x="24" y="28"/>
                      </a:moveTo>
                      <a:lnTo>
                        <a:pt x="29" y="35"/>
                      </a:lnTo>
                      <a:lnTo>
                        <a:pt x="32" y="42"/>
                      </a:lnTo>
                      <a:lnTo>
                        <a:pt x="25" y="39"/>
                      </a:lnTo>
                      <a:lnTo>
                        <a:pt x="18" y="37"/>
                      </a:lnTo>
                      <a:lnTo>
                        <a:pt x="24" y="28"/>
                      </a:lnTo>
                      <a:close/>
                      <a:moveTo>
                        <a:pt x="0" y="0"/>
                      </a:moveTo>
                      <a:lnTo>
                        <a:pt x="9" y="9"/>
                      </a:lnTo>
                      <a:lnTo>
                        <a:pt x="15" y="16"/>
                      </a:lnTo>
                      <a:lnTo>
                        <a:pt x="21" y="23"/>
                      </a:lnTo>
                      <a:lnTo>
                        <a:pt x="2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A61623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12" name="Freeform 199"/>
                <p:cNvSpPr>
                  <a:spLocks noEditPoints="1"/>
                </p:cNvSpPr>
                <p:nvPr/>
              </p:nvSpPr>
              <p:spPr bwMode="auto">
                <a:xfrm>
                  <a:off x="6365876" y="3568700"/>
                  <a:ext cx="184150" cy="77788"/>
                </a:xfrm>
                <a:custGeom>
                  <a:avLst/>
                  <a:gdLst>
                    <a:gd name="T0" fmla="*/ 57 w 116"/>
                    <a:gd name="T1" fmla="*/ 32 h 49"/>
                    <a:gd name="T2" fmla="*/ 61 w 116"/>
                    <a:gd name="T3" fmla="*/ 35 h 49"/>
                    <a:gd name="T4" fmla="*/ 45 w 116"/>
                    <a:gd name="T5" fmla="*/ 42 h 49"/>
                    <a:gd name="T6" fmla="*/ 51 w 116"/>
                    <a:gd name="T7" fmla="*/ 49 h 49"/>
                    <a:gd name="T8" fmla="*/ 45 w 116"/>
                    <a:gd name="T9" fmla="*/ 48 h 49"/>
                    <a:gd name="T10" fmla="*/ 39 w 116"/>
                    <a:gd name="T11" fmla="*/ 46 h 49"/>
                    <a:gd name="T12" fmla="*/ 42 w 116"/>
                    <a:gd name="T13" fmla="*/ 43 h 49"/>
                    <a:gd name="T14" fmla="*/ 45 w 116"/>
                    <a:gd name="T15" fmla="*/ 39 h 49"/>
                    <a:gd name="T16" fmla="*/ 51 w 116"/>
                    <a:gd name="T17" fmla="*/ 35 h 49"/>
                    <a:gd name="T18" fmla="*/ 57 w 116"/>
                    <a:gd name="T19" fmla="*/ 32 h 49"/>
                    <a:gd name="T20" fmla="*/ 89 w 116"/>
                    <a:gd name="T21" fmla="*/ 19 h 49"/>
                    <a:gd name="T22" fmla="*/ 62 w 116"/>
                    <a:gd name="T23" fmla="*/ 33 h 49"/>
                    <a:gd name="T24" fmla="*/ 58 w 116"/>
                    <a:gd name="T25" fmla="*/ 30 h 49"/>
                    <a:gd name="T26" fmla="*/ 65 w 116"/>
                    <a:gd name="T27" fmla="*/ 27 h 49"/>
                    <a:gd name="T28" fmla="*/ 89 w 116"/>
                    <a:gd name="T29" fmla="*/ 19 h 49"/>
                    <a:gd name="T30" fmla="*/ 116 w 116"/>
                    <a:gd name="T31" fmla="*/ 7 h 49"/>
                    <a:gd name="T32" fmla="*/ 116 w 116"/>
                    <a:gd name="T33" fmla="*/ 13 h 49"/>
                    <a:gd name="T34" fmla="*/ 116 w 116"/>
                    <a:gd name="T35" fmla="*/ 14 h 49"/>
                    <a:gd name="T36" fmla="*/ 115 w 116"/>
                    <a:gd name="T37" fmla="*/ 17 h 49"/>
                    <a:gd name="T38" fmla="*/ 116 w 116"/>
                    <a:gd name="T39" fmla="*/ 7 h 49"/>
                    <a:gd name="T40" fmla="*/ 0 w 116"/>
                    <a:gd name="T41" fmla="*/ 0 h 49"/>
                    <a:gd name="T42" fmla="*/ 4 w 116"/>
                    <a:gd name="T43" fmla="*/ 4 h 49"/>
                    <a:gd name="T44" fmla="*/ 6 w 116"/>
                    <a:gd name="T45" fmla="*/ 6 h 49"/>
                    <a:gd name="T46" fmla="*/ 0 w 116"/>
                    <a:gd name="T47" fmla="*/ 0 h 49"/>
                    <a:gd name="T48" fmla="*/ 116 w 116"/>
                    <a:gd name="T49" fmla="*/ 0 h 49"/>
                    <a:gd name="T50" fmla="*/ 116 w 116"/>
                    <a:gd name="T51" fmla="*/ 3 h 49"/>
                    <a:gd name="T52" fmla="*/ 99 w 116"/>
                    <a:gd name="T53" fmla="*/ 13 h 49"/>
                    <a:gd name="T54" fmla="*/ 103 w 116"/>
                    <a:gd name="T55" fmla="*/ 10 h 49"/>
                    <a:gd name="T56" fmla="*/ 108 w 116"/>
                    <a:gd name="T57" fmla="*/ 7 h 49"/>
                    <a:gd name="T58" fmla="*/ 113 w 116"/>
                    <a:gd name="T59" fmla="*/ 3 h 49"/>
                    <a:gd name="T60" fmla="*/ 116 w 116"/>
                    <a:gd name="T61" fmla="*/ 0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16" h="49">
                      <a:moveTo>
                        <a:pt x="57" y="32"/>
                      </a:moveTo>
                      <a:lnTo>
                        <a:pt x="61" y="35"/>
                      </a:lnTo>
                      <a:lnTo>
                        <a:pt x="45" y="42"/>
                      </a:lnTo>
                      <a:lnTo>
                        <a:pt x="51" y="49"/>
                      </a:lnTo>
                      <a:lnTo>
                        <a:pt x="45" y="48"/>
                      </a:lnTo>
                      <a:lnTo>
                        <a:pt x="39" y="46"/>
                      </a:lnTo>
                      <a:lnTo>
                        <a:pt x="42" y="43"/>
                      </a:lnTo>
                      <a:lnTo>
                        <a:pt x="45" y="39"/>
                      </a:lnTo>
                      <a:lnTo>
                        <a:pt x="51" y="35"/>
                      </a:lnTo>
                      <a:lnTo>
                        <a:pt x="57" y="32"/>
                      </a:lnTo>
                      <a:close/>
                      <a:moveTo>
                        <a:pt x="89" y="19"/>
                      </a:moveTo>
                      <a:lnTo>
                        <a:pt x="62" y="33"/>
                      </a:lnTo>
                      <a:lnTo>
                        <a:pt x="58" y="30"/>
                      </a:lnTo>
                      <a:lnTo>
                        <a:pt x="65" y="27"/>
                      </a:lnTo>
                      <a:lnTo>
                        <a:pt x="89" y="19"/>
                      </a:lnTo>
                      <a:close/>
                      <a:moveTo>
                        <a:pt x="116" y="7"/>
                      </a:moveTo>
                      <a:lnTo>
                        <a:pt x="116" y="13"/>
                      </a:lnTo>
                      <a:lnTo>
                        <a:pt x="116" y="14"/>
                      </a:lnTo>
                      <a:lnTo>
                        <a:pt x="115" y="17"/>
                      </a:lnTo>
                      <a:lnTo>
                        <a:pt x="116" y="7"/>
                      </a:lnTo>
                      <a:close/>
                      <a:moveTo>
                        <a:pt x="0" y="0"/>
                      </a:moveTo>
                      <a:lnTo>
                        <a:pt x="4" y="4"/>
                      </a:lnTo>
                      <a:lnTo>
                        <a:pt x="6" y="6"/>
                      </a:lnTo>
                      <a:lnTo>
                        <a:pt x="0" y="0"/>
                      </a:lnTo>
                      <a:close/>
                      <a:moveTo>
                        <a:pt x="116" y="0"/>
                      </a:moveTo>
                      <a:lnTo>
                        <a:pt x="116" y="3"/>
                      </a:lnTo>
                      <a:lnTo>
                        <a:pt x="99" y="13"/>
                      </a:lnTo>
                      <a:lnTo>
                        <a:pt x="103" y="10"/>
                      </a:lnTo>
                      <a:lnTo>
                        <a:pt x="108" y="7"/>
                      </a:lnTo>
                      <a:lnTo>
                        <a:pt x="113" y="3"/>
                      </a:lnTo>
                      <a:lnTo>
                        <a:pt x="116" y="0"/>
                      </a:lnTo>
                      <a:close/>
                    </a:path>
                  </a:pathLst>
                </a:custGeom>
                <a:solidFill>
                  <a:srgbClr val="78030A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13" name="Freeform 200"/>
                <p:cNvSpPr>
                  <a:spLocks/>
                </p:cNvSpPr>
                <p:nvPr/>
              </p:nvSpPr>
              <p:spPr bwMode="auto">
                <a:xfrm>
                  <a:off x="6550026" y="3503613"/>
                  <a:ext cx="0" cy="14288"/>
                </a:xfrm>
                <a:custGeom>
                  <a:avLst/>
                  <a:gdLst>
                    <a:gd name="T0" fmla="*/ 0 h 9"/>
                    <a:gd name="T1" fmla="*/ 9 h 9"/>
                    <a:gd name="T2" fmla="*/ 0 h 9"/>
                    <a:gd name="T3" fmla="*/ 0 h 9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</a:cxnLst>
                  <a:rect l="0" t="0" r="r" b="b"/>
                  <a:pathLst>
                    <a:path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70403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14" name="Freeform 201"/>
                <p:cNvSpPr>
                  <a:spLocks noEditPoints="1"/>
                </p:cNvSpPr>
                <p:nvPr/>
              </p:nvSpPr>
              <p:spPr bwMode="auto">
                <a:xfrm>
                  <a:off x="6410326" y="3503613"/>
                  <a:ext cx="139700" cy="115888"/>
                </a:xfrm>
                <a:custGeom>
                  <a:avLst/>
                  <a:gdLst>
                    <a:gd name="T0" fmla="*/ 26 w 88"/>
                    <a:gd name="T1" fmla="*/ 70 h 73"/>
                    <a:gd name="T2" fmla="*/ 30 w 88"/>
                    <a:gd name="T3" fmla="*/ 71 h 73"/>
                    <a:gd name="T4" fmla="*/ 29 w 88"/>
                    <a:gd name="T5" fmla="*/ 73 h 73"/>
                    <a:gd name="T6" fmla="*/ 26 w 88"/>
                    <a:gd name="T7" fmla="*/ 70 h 73"/>
                    <a:gd name="T8" fmla="*/ 24 w 88"/>
                    <a:gd name="T9" fmla="*/ 70 h 73"/>
                    <a:gd name="T10" fmla="*/ 26 w 88"/>
                    <a:gd name="T11" fmla="*/ 70 h 73"/>
                    <a:gd name="T12" fmla="*/ 24 w 88"/>
                    <a:gd name="T13" fmla="*/ 70 h 73"/>
                    <a:gd name="T14" fmla="*/ 24 w 88"/>
                    <a:gd name="T15" fmla="*/ 70 h 73"/>
                    <a:gd name="T16" fmla="*/ 88 w 88"/>
                    <a:gd name="T17" fmla="*/ 0 h 73"/>
                    <a:gd name="T18" fmla="*/ 88 w 88"/>
                    <a:gd name="T19" fmla="*/ 9 h 73"/>
                    <a:gd name="T20" fmla="*/ 88 w 88"/>
                    <a:gd name="T21" fmla="*/ 41 h 73"/>
                    <a:gd name="T22" fmla="*/ 88 w 88"/>
                    <a:gd name="T23" fmla="*/ 41 h 73"/>
                    <a:gd name="T24" fmla="*/ 87 w 88"/>
                    <a:gd name="T25" fmla="*/ 42 h 73"/>
                    <a:gd name="T26" fmla="*/ 84 w 88"/>
                    <a:gd name="T27" fmla="*/ 45 h 73"/>
                    <a:gd name="T28" fmla="*/ 80 w 88"/>
                    <a:gd name="T29" fmla="*/ 48 h 73"/>
                    <a:gd name="T30" fmla="*/ 59 w 88"/>
                    <a:gd name="T31" fmla="*/ 57 h 73"/>
                    <a:gd name="T32" fmla="*/ 37 w 88"/>
                    <a:gd name="T33" fmla="*/ 68 h 73"/>
                    <a:gd name="T34" fmla="*/ 30 w 88"/>
                    <a:gd name="T35" fmla="*/ 68 h 73"/>
                    <a:gd name="T36" fmla="*/ 24 w 88"/>
                    <a:gd name="T37" fmla="*/ 70 h 73"/>
                    <a:gd name="T38" fmla="*/ 13 w 88"/>
                    <a:gd name="T39" fmla="*/ 60 h 73"/>
                    <a:gd name="T40" fmla="*/ 0 w 88"/>
                    <a:gd name="T41" fmla="*/ 45 h 73"/>
                    <a:gd name="T42" fmla="*/ 8 w 88"/>
                    <a:gd name="T43" fmla="*/ 47 h 73"/>
                    <a:gd name="T44" fmla="*/ 17 w 88"/>
                    <a:gd name="T45" fmla="*/ 48 h 73"/>
                    <a:gd name="T46" fmla="*/ 17 w 88"/>
                    <a:gd name="T47" fmla="*/ 48 h 73"/>
                    <a:gd name="T48" fmla="*/ 34 w 88"/>
                    <a:gd name="T49" fmla="*/ 45 h 73"/>
                    <a:gd name="T50" fmla="*/ 53 w 88"/>
                    <a:gd name="T51" fmla="*/ 35 h 73"/>
                    <a:gd name="T52" fmla="*/ 71 w 88"/>
                    <a:gd name="T53" fmla="*/ 20 h 73"/>
                    <a:gd name="T54" fmla="*/ 88 w 88"/>
                    <a:gd name="T55" fmla="*/ 0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88" h="73">
                      <a:moveTo>
                        <a:pt x="26" y="70"/>
                      </a:moveTo>
                      <a:lnTo>
                        <a:pt x="30" y="71"/>
                      </a:lnTo>
                      <a:lnTo>
                        <a:pt x="29" y="73"/>
                      </a:lnTo>
                      <a:lnTo>
                        <a:pt x="26" y="70"/>
                      </a:lnTo>
                      <a:close/>
                      <a:moveTo>
                        <a:pt x="24" y="70"/>
                      </a:moveTo>
                      <a:lnTo>
                        <a:pt x="26" y="70"/>
                      </a:lnTo>
                      <a:lnTo>
                        <a:pt x="24" y="70"/>
                      </a:lnTo>
                      <a:lnTo>
                        <a:pt x="24" y="70"/>
                      </a:lnTo>
                      <a:close/>
                      <a:moveTo>
                        <a:pt x="88" y="0"/>
                      </a:moveTo>
                      <a:lnTo>
                        <a:pt x="88" y="9"/>
                      </a:lnTo>
                      <a:lnTo>
                        <a:pt x="88" y="41"/>
                      </a:lnTo>
                      <a:lnTo>
                        <a:pt x="88" y="41"/>
                      </a:lnTo>
                      <a:lnTo>
                        <a:pt x="87" y="42"/>
                      </a:lnTo>
                      <a:lnTo>
                        <a:pt x="84" y="45"/>
                      </a:lnTo>
                      <a:lnTo>
                        <a:pt x="80" y="48"/>
                      </a:lnTo>
                      <a:lnTo>
                        <a:pt x="59" y="57"/>
                      </a:lnTo>
                      <a:lnTo>
                        <a:pt x="37" y="68"/>
                      </a:lnTo>
                      <a:lnTo>
                        <a:pt x="30" y="68"/>
                      </a:lnTo>
                      <a:lnTo>
                        <a:pt x="24" y="70"/>
                      </a:lnTo>
                      <a:lnTo>
                        <a:pt x="13" y="60"/>
                      </a:lnTo>
                      <a:lnTo>
                        <a:pt x="0" y="45"/>
                      </a:lnTo>
                      <a:lnTo>
                        <a:pt x="8" y="47"/>
                      </a:lnTo>
                      <a:lnTo>
                        <a:pt x="17" y="48"/>
                      </a:lnTo>
                      <a:lnTo>
                        <a:pt x="17" y="48"/>
                      </a:lnTo>
                      <a:lnTo>
                        <a:pt x="34" y="45"/>
                      </a:lnTo>
                      <a:lnTo>
                        <a:pt x="53" y="35"/>
                      </a:lnTo>
                      <a:lnTo>
                        <a:pt x="71" y="20"/>
                      </a:lnTo>
                      <a:lnTo>
                        <a:pt x="88" y="0"/>
                      </a:lnTo>
                      <a:close/>
                    </a:path>
                  </a:pathLst>
                </a:custGeom>
                <a:solidFill>
                  <a:srgbClr val="E6AD7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15" name="Freeform 202"/>
                <p:cNvSpPr>
                  <a:spLocks noEditPoints="1"/>
                </p:cNvSpPr>
                <p:nvPr/>
              </p:nvSpPr>
              <p:spPr bwMode="auto">
                <a:xfrm>
                  <a:off x="6456363" y="3579813"/>
                  <a:ext cx="80963" cy="44450"/>
                </a:xfrm>
                <a:custGeom>
                  <a:avLst/>
                  <a:gdLst>
                    <a:gd name="T0" fmla="*/ 1 w 51"/>
                    <a:gd name="T1" fmla="*/ 23 h 28"/>
                    <a:gd name="T2" fmla="*/ 5 w 51"/>
                    <a:gd name="T3" fmla="*/ 26 h 28"/>
                    <a:gd name="T4" fmla="*/ 4 w 51"/>
                    <a:gd name="T5" fmla="*/ 28 h 28"/>
                    <a:gd name="T6" fmla="*/ 0 w 51"/>
                    <a:gd name="T7" fmla="*/ 25 h 28"/>
                    <a:gd name="T8" fmla="*/ 1 w 51"/>
                    <a:gd name="T9" fmla="*/ 23 h 28"/>
                    <a:gd name="T10" fmla="*/ 51 w 51"/>
                    <a:gd name="T11" fmla="*/ 0 h 28"/>
                    <a:gd name="T12" fmla="*/ 46 w 51"/>
                    <a:gd name="T13" fmla="*/ 3 h 28"/>
                    <a:gd name="T14" fmla="*/ 42 w 51"/>
                    <a:gd name="T15" fmla="*/ 6 h 28"/>
                    <a:gd name="T16" fmla="*/ 32 w 51"/>
                    <a:gd name="T17" fmla="*/ 12 h 28"/>
                    <a:gd name="T18" fmla="*/ 8 w 51"/>
                    <a:gd name="T19" fmla="*/ 20 h 28"/>
                    <a:gd name="T20" fmla="*/ 30 w 51"/>
                    <a:gd name="T21" fmla="*/ 9 h 28"/>
                    <a:gd name="T22" fmla="*/ 51 w 51"/>
                    <a:gd name="T23" fmla="*/ 0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1" h="28">
                      <a:moveTo>
                        <a:pt x="1" y="23"/>
                      </a:moveTo>
                      <a:lnTo>
                        <a:pt x="5" y="26"/>
                      </a:lnTo>
                      <a:lnTo>
                        <a:pt x="4" y="28"/>
                      </a:lnTo>
                      <a:lnTo>
                        <a:pt x="0" y="25"/>
                      </a:lnTo>
                      <a:lnTo>
                        <a:pt x="1" y="23"/>
                      </a:lnTo>
                      <a:close/>
                      <a:moveTo>
                        <a:pt x="51" y="0"/>
                      </a:moveTo>
                      <a:lnTo>
                        <a:pt x="46" y="3"/>
                      </a:lnTo>
                      <a:lnTo>
                        <a:pt x="42" y="6"/>
                      </a:lnTo>
                      <a:lnTo>
                        <a:pt x="32" y="12"/>
                      </a:lnTo>
                      <a:lnTo>
                        <a:pt x="8" y="20"/>
                      </a:lnTo>
                      <a:lnTo>
                        <a:pt x="30" y="9"/>
                      </a:lnTo>
                      <a:lnTo>
                        <a:pt x="51" y="0"/>
                      </a:lnTo>
                      <a:close/>
                    </a:path>
                  </a:pathLst>
                </a:custGeom>
                <a:solidFill>
                  <a:srgbClr val="72020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16" name="Freeform 203"/>
                <p:cNvSpPr>
                  <a:spLocks/>
                </p:cNvSpPr>
                <p:nvPr/>
              </p:nvSpPr>
              <p:spPr bwMode="auto">
                <a:xfrm>
                  <a:off x="5973763" y="3894138"/>
                  <a:ext cx="190500" cy="342900"/>
                </a:xfrm>
                <a:custGeom>
                  <a:avLst/>
                  <a:gdLst>
                    <a:gd name="T0" fmla="*/ 43 w 120"/>
                    <a:gd name="T1" fmla="*/ 0 h 216"/>
                    <a:gd name="T2" fmla="*/ 117 w 120"/>
                    <a:gd name="T3" fmla="*/ 30 h 216"/>
                    <a:gd name="T4" fmla="*/ 120 w 120"/>
                    <a:gd name="T5" fmla="*/ 59 h 216"/>
                    <a:gd name="T6" fmla="*/ 117 w 120"/>
                    <a:gd name="T7" fmla="*/ 88 h 216"/>
                    <a:gd name="T8" fmla="*/ 112 w 120"/>
                    <a:gd name="T9" fmla="*/ 113 h 216"/>
                    <a:gd name="T10" fmla="*/ 104 w 120"/>
                    <a:gd name="T11" fmla="*/ 139 h 216"/>
                    <a:gd name="T12" fmla="*/ 94 w 120"/>
                    <a:gd name="T13" fmla="*/ 164 h 216"/>
                    <a:gd name="T14" fmla="*/ 85 w 120"/>
                    <a:gd name="T15" fmla="*/ 189 h 216"/>
                    <a:gd name="T16" fmla="*/ 78 w 120"/>
                    <a:gd name="T17" fmla="*/ 216 h 216"/>
                    <a:gd name="T18" fmla="*/ 0 w 120"/>
                    <a:gd name="T19" fmla="*/ 206 h 216"/>
                    <a:gd name="T20" fmla="*/ 7 w 120"/>
                    <a:gd name="T21" fmla="*/ 179 h 216"/>
                    <a:gd name="T22" fmla="*/ 14 w 120"/>
                    <a:gd name="T23" fmla="*/ 147 h 216"/>
                    <a:gd name="T24" fmla="*/ 20 w 120"/>
                    <a:gd name="T25" fmla="*/ 112 h 216"/>
                    <a:gd name="T26" fmla="*/ 26 w 120"/>
                    <a:gd name="T27" fmla="*/ 77 h 216"/>
                    <a:gd name="T28" fmla="*/ 32 w 120"/>
                    <a:gd name="T29" fmla="*/ 45 h 216"/>
                    <a:gd name="T30" fmla="*/ 37 w 120"/>
                    <a:gd name="T31" fmla="*/ 19 h 216"/>
                    <a:gd name="T32" fmla="*/ 43 w 120"/>
                    <a:gd name="T33" fmla="*/ 0 h 2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20" h="216">
                      <a:moveTo>
                        <a:pt x="43" y="0"/>
                      </a:moveTo>
                      <a:lnTo>
                        <a:pt x="117" y="30"/>
                      </a:lnTo>
                      <a:lnTo>
                        <a:pt x="120" y="59"/>
                      </a:lnTo>
                      <a:lnTo>
                        <a:pt x="117" y="88"/>
                      </a:lnTo>
                      <a:lnTo>
                        <a:pt x="112" y="113"/>
                      </a:lnTo>
                      <a:lnTo>
                        <a:pt x="104" y="139"/>
                      </a:lnTo>
                      <a:lnTo>
                        <a:pt x="94" y="164"/>
                      </a:lnTo>
                      <a:lnTo>
                        <a:pt x="85" y="189"/>
                      </a:lnTo>
                      <a:lnTo>
                        <a:pt x="78" y="216"/>
                      </a:lnTo>
                      <a:lnTo>
                        <a:pt x="0" y="206"/>
                      </a:lnTo>
                      <a:lnTo>
                        <a:pt x="7" y="179"/>
                      </a:lnTo>
                      <a:lnTo>
                        <a:pt x="14" y="147"/>
                      </a:lnTo>
                      <a:lnTo>
                        <a:pt x="20" y="112"/>
                      </a:lnTo>
                      <a:lnTo>
                        <a:pt x="26" y="77"/>
                      </a:lnTo>
                      <a:lnTo>
                        <a:pt x="32" y="45"/>
                      </a:lnTo>
                      <a:lnTo>
                        <a:pt x="37" y="19"/>
                      </a:lnTo>
                      <a:lnTo>
                        <a:pt x="43" y="0"/>
                      </a:lnTo>
                      <a:close/>
                    </a:path>
                  </a:pathLst>
                </a:custGeom>
                <a:solidFill>
                  <a:srgbClr val="F2D2B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17" name="Freeform 204"/>
                <p:cNvSpPr>
                  <a:spLocks/>
                </p:cNvSpPr>
                <p:nvPr/>
              </p:nvSpPr>
              <p:spPr bwMode="auto">
                <a:xfrm>
                  <a:off x="6070601" y="3929063"/>
                  <a:ext cx="87313" cy="211138"/>
                </a:xfrm>
                <a:custGeom>
                  <a:avLst/>
                  <a:gdLst>
                    <a:gd name="T0" fmla="*/ 0 w 55"/>
                    <a:gd name="T1" fmla="*/ 0 h 133"/>
                    <a:gd name="T2" fmla="*/ 11 w 55"/>
                    <a:gd name="T3" fmla="*/ 3 h 133"/>
                    <a:gd name="T4" fmla="*/ 24 w 55"/>
                    <a:gd name="T5" fmla="*/ 3 h 133"/>
                    <a:gd name="T6" fmla="*/ 33 w 55"/>
                    <a:gd name="T7" fmla="*/ 3 h 133"/>
                    <a:gd name="T8" fmla="*/ 55 w 55"/>
                    <a:gd name="T9" fmla="*/ 74 h 133"/>
                    <a:gd name="T10" fmla="*/ 48 w 55"/>
                    <a:gd name="T11" fmla="*/ 103 h 133"/>
                    <a:gd name="T12" fmla="*/ 38 w 55"/>
                    <a:gd name="T13" fmla="*/ 130 h 133"/>
                    <a:gd name="T14" fmla="*/ 36 w 55"/>
                    <a:gd name="T15" fmla="*/ 133 h 133"/>
                    <a:gd name="T16" fmla="*/ 20 w 55"/>
                    <a:gd name="T17" fmla="*/ 75 h 133"/>
                    <a:gd name="T18" fmla="*/ 0 w 55"/>
                    <a:gd name="T19" fmla="*/ 0 h 1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5" h="133">
                      <a:moveTo>
                        <a:pt x="0" y="0"/>
                      </a:moveTo>
                      <a:lnTo>
                        <a:pt x="11" y="3"/>
                      </a:lnTo>
                      <a:lnTo>
                        <a:pt x="24" y="3"/>
                      </a:lnTo>
                      <a:lnTo>
                        <a:pt x="33" y="3"/>
                      </a:lnTo>
                      <a:lnTo>
                        <a:pt x="55" y="74"/>
                      </a:lnTo>
                      <a:lnTo>
                        <a:pt x="48" y="103"/>
                      </a:lnTo>
                      <a:lnTo>
                        <a:pt x="38" y="130"/>
                      </a:lnTo>
                      <a:lnTo>
                        <a:pt x="36" y="133"/>
                      </a:lnTo>
                      <a:lnTo>
                        <a:pt x="20" y="7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6AD7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18" name="Freeform 206"/>
                <p:cNvSpPr>
                  <a:spLocks/>
                </p:cNvSpPr>
                <p:nvPr/>
              </p:nvSpPr>
              <p:spPr bwMode="auto">
                <a:xfrm>
                  <a:off x="6107114" y="3806826"/>
                  <a:ext cx="654050" cy="654050"/>
                </a:xfrm>
                <a:custGeom>
                  <a:avLst/>
                  <a:gdLst>
                    <a:gd name="T0" fmla="*/ 300 w 412"/>
                    <a:gd name="T1" fmla="*/ 0 h 412"/>
                    <a:gd name="T2" fmla="*/ 324 w 412"/>
                    <a:gd name="T3" fmla="*/ 1 h 412"/>
                    <a:gd name="T4" fmla="*/ 346 w 412"/>
                    <a:gd name="T5" fmla="*/ 4 h 412"/>
                    <a:gd name="T6" fmla="*/ 368 w 412"/>
                    <a:gd name="T7" fmla="*/ 8 h 412"/>
                    <a:gd name="T8" fmla="*/ 385 w 412"/>
                    <a:gd name="T9" fmla="*/ 14 h 412"/>
                    <a:gd name="T10" fmla="*/ 400 w 412"/>
                    <a:gd name="T11" fmla="*/ 23 h 412"/>
                    <a:gd name="T12" fmla="*/ 409 w 412"/>
                    <a:gd name="T13" fmla="*/ 33 h 412"/>
                    <a:gd name="T14" fmla="*/ 412 w 412"/>
                    <a:gd name="T15" fmla="*/ 45 h 412"/>
                    <a:gd name="T16" fmla="*/ 358 w 412"/>
                    <a:gd name="T17" fmla="*/ 332 h 412"/>
                    <a:gd name="T18" fmla="*/ 358 w 412"/>
                    <a:gd name="T19" fmla="*/ 348 h 412"/>
                    <a:gd name="T20" fmla="*/ 355 w 412"/>
                    <a:gd name="T21" fmla="*/ 363 h 412"/>
                    <a:gd name="T22" fmla="*/ 351 w 412"/>
                    <a:gd name="T23" fmla="*/ 377 h 412"/>
                    <a:gd name="T24" fmla="*/ 342 w 412"/>
                    <a:gd name="T25" fmla="*/ 389 h 412"/>
                    <a:gd name="T26" fmla="*/ 329 w 412"/>
                    <a:gd name="T27" fmla="*/ 399 h 412"/>
                    <a:gd name="T28" fmla="*/ 311 w 412"/>
                    <a:gd name="T29" fmla="*/ 407 h 412"/>
                    <a:gd name="T30" fmla="*/ 287 w 412"/>
                    <a:gd name="T31" fmla="*/ 408 h 412"/>
                    <a:gd name="T32" fmla="*/ 157 w 412"/>
                    <a:gd name="T33" fmla="*/ 412 h 412"/>
                    <a:gd name="T34" fmla="*/ 137 w 412"/>
                    <a:gd name="T35" fmla="*/ 411 h 412"/>
                    <a:gd name="T36" fmla="*/ 121 w 412"/>
                    <a:gd name="T37" fmla="*/ 407 h 412"/>
                    <a:gd name="T38" fmla="*/ 109 w 412"/>
                    <a:gd name="T39" fmla="*/ 399 h 412"/>
                    <a:gd name="T40" fmla="*/ 102 w 412"/>
                    <a:gd name="T41" fmla="*/ 389 h 412"/>
                    <a:gd name="T42" fmla="*/ 96 w 412"/>
                    <a:gd name="T43" fmla="*/ 379 h 412"/>
                    <a:gd name="T44" fmla="*/ 93 w 412"/>
                    <a:gd name="T45" fmla="*/ 366 h 412"/>
                    <a:gd name="T46" fmla="*/ 92 w 412"/>
                    <a:gd name="T47" fmla="*/ 353 h 412"/>
                    <a:gd name="T48" fmla="*/ 92 w 412"/>
                    <a:gd name="T49" fmla="*/ 338 h 412"/>
                    <a:gd name="T50" fmla="*/ 0 w 412"/>
                    <a:gd name="T51" fmla="*/ 49 h 412"/>
                    <a:gd name="T52" fmla="*/ 3 w 412"/>
                    <a:gd name="T53" fmla="*/ 37 h 412"/>
                    <a:gd name="T54" fmla="*/ 13 w 412"/>
                    <a:gd name="T55" fmla="*/ 27 h 412"/>
                    <a:gd name="T56" fmla="*/ 29 w 412"/>
                    <a:gd name="T57" fmla="*/ 18 h 412"/>
                    <a:gd name="T58" fmla="*/ 49 w 412"/>
                    <a:gd name="T59" fmla="*/ 13 h 412"/>
                    <a:gd name="T60" fmla="*/ 73 w 412"/>
                    <a:gd name="T61" fmla="*/ 8 h 412"/>
                    <a:gd name="T62" fmla="*/ 97 w 412"/>
                    <a:gd name="T63" fmla="*/ 5 h 412"/>
                    <a:gd name="T64" fmla="*/ 122 w 412"/>
                    <a:gd name="T65" fmla="*/ 4 h 412"/>
                    <a:gd name="T66" fmla="*/ 147 w 412"/>
                    <a:gd name="T67" fmla="*/ 2 h 412"/>
                    <a:gd name="T68" fmla="*/ 276 w 412"/>
                    <a:gd name="T69" fmla="*/ 0 h 412"/>
                    <a:gd name="T70" fmla="*/ 300 w 412"/>
                    <a:gd name="T71" fmla="*/ 0 h 4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412" h="412">
                      <a:moveTo>
                        <a:pt x="300" y="0"/>
                      </a:moveTo>
                      <a:lnTo>
                        <a:pt x="324" y="1"/>
                      </a:lnTo>
                      <a:lnTo>
                        <a:pt x="346" y="4"/>
                      </a:lnTo>
                      <a:lnTo>
                        <a:pt x="368" y="8"/>
                      </a:lnTo>
                      <a:lnTo>
                        <a:pt x="385" y="14"/>
                      </a:lnTo>
                      <a:lnTo>
                        <a:pt x="400" y="23"/>
                      </a:lnTo>
                      <a:lnTo>
                        <a:pt x="409" y="33"/>
                      </a:lnTo>
                      <a:lnTo>
                        <a:pt x="412" y="45"/>
                      </a:lnTo>
                      <a:lnTo>
                        <a:pt x="358" y="332"/>
                      </a:lnTo>
                      <a:lnTo>
                        <a:pt x="358" y="348"/>
                      </a:lnTo>
                      <a:lnTo>
                        <a:pt x="355" y="363"/>
                      </a:lnTo>
                      <a:lnTo>
                        <a:pt x="351" y="377"/>
                      </a:lnTo>
                      <a:lnTo>
                        <a:pt x="342" y="389"/>
                      </a:lnTo>
                      <a:lnTo>
                        <a:pt x="329" y="399"/>
                      </a:lnTo>
                      <a:lnTo>
                        <a:pt x="311" y="407"/>
                      </a:lnTo>
                      <a:lnTo>
                        <a:pt x="287" y="408"/>
                      </a:lnTo>
                      <a:lnTo>
                        <a:pt x="157" y="412"/>
                      </a:lnTo>
                      <a:lnTo>
                        <a:pt x="137" y="411"/>
                      </a:lnTo>
                      <a:lnTo>
                        <a:pt x="121" y="407"/>
                      </a:lnTo>
                      <a:lnTo>
                        <a:pt x="109" y="399"/>
                      </a:lnTo>
                      <a:lnTo>
                        <a:pt x="102" y="389"/>
                      </a:lnTo>
                      <a:lnTo>
                        <a:pt x="96" y="379"/>
                      </a:lnTo>
                      <a:lnTo>
                        <a:pt x="93" y="366"/>
                      </a:lnTo>
                      <a:lnTo>
                        <a:pt x="92" y="353"/>
                      </a:lnTo>
                      <a:lnTo>
                        <a:pt x="92" y="338"/>
                      </a:lnTo>
                      <a:lnTo>
                        <a:pt x="0" y="49"/>
                      </a:lnTo>
                      <a:lnTo>
                        <a:pt x="3" y="37"/>
                      </a:lnTo>
                      <a:lnTo>
                        <a:pt x="13" y="27"/>
                      </a:lnTo>
                      <a:lnTo>
                        <a:pt x="29" y="18"/>
                      </a:lnTo>
                      <a:lnTo>
                        <a:pt x="49" y="13"/>
                      </a:lnTo>
                      <a:lnTo>
                        <a:pt x="73" y="8"/>
                      </a:lnTo>
                      <a:lnTo>
                        <a:pt x="97" y="5"/>
                      </a:lnTo>
                      <a:lnTo>
                        <a:pt x="122" y="4"/>
                      </a:lnTo>
                      <a:lnTo>
                        <a:pt x="147" y="2"/>
                      </a:lnTo>
                      <a:lnTo>
                        <a:pt x="276" y="0"/>
                      </a:lnTo>
                      <a:lnTo>
                        <a:pt x="300" y="0"/>
                      </a:lnTo>
                      <a:close/>
                    </a:path>
                  </a:pathLst>
                </a:custGeom>
                <a:solidFill>
                  <a:srgbClr val="AF1B32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19" name="Freeform 207"/>
                <p:cNvSpPr>
                  <a:spLocks/>
                </p:cNvSpPr>
                <p:nvPr/>
              </p:nvSpPr>
              <p:spPr bwMode="auto">
                <a:xfrm>
                  <a:off x="6189664" y="4098926"/>
                  <a:ext cx="522288" cy="395288"/>
                </a:xfrm>
                <a:custGeom>
                  <a:avLst/>
                  <a:gdLst>
                    <a:gd name="T0" fmla="*/ 130 w 329"/>
                    <a:gd name="T1" fmla="*/ 0 h 249"/>
                    <a:gd name="T2" fmla="*/ 208 w 329"/>
                    <a:gd name="T3" fmla="*/ 7 h 249"/>
                    <a:gd name="T4" fmla="*/ 235 w 329"/>
                    <a:gd name="T5" fmla="*/ 7 h 249"/>
                    <a:gd name="T6" fmla="*/ 259 w 329"/>
                    <a:gd name="T7" fmla="*/ 9 h 249"/>
                    <a:gd name="T8" fmla="*/ 283 w 329"/>
                    <a:gd name="T9" fmla="*/ 12 h 249"/>
                    <a:gd name="T10" fmla="*/ 301 w 329"/>
                    <a:gd name="T11" fmla="*/ 16 h 249"/>
                    <a:gd name="T12" fmla="*/ 316 w 329"/>
                    <a:gd name="T13" fmla="*/ 19 h 249"/>
                    <a:gd name="T14" fmla="*/ 326 w 329"/>
                    <a:gd name="T15" fmla="*/ 21 h 249"/>
                    <a:gd name="T16" fmla="*/ 329 w 329"/>
                    <a:gd name="T17" fmla="*/ 22 h 249"/>
                    <a:gd name="T18" fmla="*/ 323 w 329"/>
                    <a:gd name="T19" fmla="*/ 58 h 249"/>
                    <a:gd name="T20" fmla="*/ 319 w 329"/>
                    <a:gd name="T21" fmla="*/ 95 h 249"/>
                    <a:gd name="T22" fmla="*/ 316 w 329"/>
                    <a:gd name="T23" fmla="*/ 130 h 249"/>
                    <a:gd name="T24" fmla="*/ 315 w 329"/>
                    <a:gd name="T25" fmla="*/ 159 h 249"/>
                    <a:gd name="T26" fmla="*/ 313 w 329"/>
                    <a:gd name="T27" fmla="*/ 182 h 249"/>
                    <a:gd name="T28" fmla="*/ 313 w 329"/>
                    <a:gd name="T29" fmla="*/ 196 h 249"/>
                    <a:gd name="T30" fmla="*/ 313 w 329"/>
                    <a:gd name="T31" fmla="*/ 202 h 249"/>
                    <a:gd name="T32" fmla="*/ 313 w 329"/>
                    <a:gd name="T33" fmla="*/ 209 h 249"/>
                    <a:gd name="T34" fmla="*/ 312 w 329"/>
                    <a:gd name="T35" fmla="*/ 221 h 249"/>
                    <a:gd name="T36" fmla="*/ 310 w 329"/>
                    <a:gd name="T37" fmla="*/ 231 h 249"/>
                    <a:gd name="T38" fmla="*/ 312 w 329"/>
                    <a:gd name="T39" fmla="*/ 239 h 249"/>
                    <a:gd name="T40" fmla="*/ 310 w 329"/>
                    <a:gd name="T41" fmla="*/ 239 h 249"/>
                    <a:gd name="T42" fmla="*/ 309 w 329"/>
                    <a:gd name="T43" fmla="*/ 240 h 249"/>
                    <a:gd name="T44" fmla="*/ 306 w 329"/>
                    <a:gd name="T45" fmla="*/ 241 h 249"/>
                    <a:gd name="T46" fmla="*/ 300 w 329"/>
                    <a:gd name="T47" fmla="*/ 243 h 249"/>
                    <a:gd name="T48" fmla="*/ 293 w 329"/>
                    <a:gd name="T49" fmla="*/ 244 h 249"/>
                    <a:gd name="T50" fmla="*/ 281 w 329"/>
                    <a:gd name="T51" fmla="*/ 246 h 249"/>
                    <a:gd name="T52" fmla="*/ 265 w 329"/>
                    <a:gd name="T53" fmla="*/ 247 h 249"/>
                    <a:gd name="T54" fmla="*/ 246 w 329"/>
                    <a:gd name="T55" fmla="*/ 249 h 249"/>
                    <a:gd name="T56" fmla="*/ 221 w 329"/>
                    <a:gd name="T57" fmla="*/ 249 h 249"/>
                    <a:gd name="T58" fmla="*/ 191 w 329"/>
                    <a:gd name="T59" fmla="*/ 247 h 249"/>
                    <a:gd name="T60" fmla="*/ 156 w 329"/>
                    <a:gd name="T61" fmla="*/ 244 h 249"/>
                    <a:gd name="T62" fmla="*/ 112 w 329"/>
                    <a:gd name="T63" fmla="*/ 241 h 249"/>
                    <a:gd name="T64" fmla="*/ 63 w 329"/>
                    <a:gd name="T65" fmla="*/ 236 h 249"/>
                    <a:gd name="T66" fmla="*/ 6 w 329"/>
                    <a:gd name="T67" fmla="*/ 228 h 249"/>
                    <a:gd name="T68" fmla="*/ 6 w 329"/>
                    <a:gd name="T69" fmla="*/ 223 h 249"/>
                    <a:gd name="T70" fmla="*/ 8 w 329"/>
                    <a:gd name="T71" fmla="*/ 209 h 249"/>
                    <a:gd name="T72" fmla="*/ 9 w 329"/>
                    <a:gd name="T73" fmla="*/ 189 h 249"/>
                    <a:gd name="T74" fmla="*/ 9 w 329"/>
                    <a:gd name="T75" fmla="*/ 164 h 249"/>
                    <a:gd name="T76" fmla="*/ 11 w 329"/>
                    <a:gd name="T77" fmla="*/ 135 h 249"/>
                    <a:gd name="T78" fmla="*/ 9 w 329"/>
                    <a:gd name="T79" fmla="*/ 106 h 249"/>
                    <a:gd name="T80" fmla="*/ 8 w 329"/>
                    <a:gd name="T81" fmla="*/ 77 h 249"/>
                    <a:gd name="T82" fmla="*/ 5 w 329"/>
                    <a:gd name="T83" fmla="*/ 51 h 249"/>
                    <a:gd name="T84" fmla="*/ 0 w 329"/>
                    <a:gd name="T85" fmla="*/ 29 h 249"/>
                    <a:gd name="T86" fmla="*/ 3 w 329"/>
                    <a:gd name="T87" fmla="*/ 28 h 249"/>
                    <a:gd name="T88" fmla="*/ 12 w 329"/>
                    <a:gd name="T89" fmla="*/ 25 h 249"/>
                    <a:gd name="T90" fmla="*/ 25 w 329"/>
                    <a:gd name="T91" fmla="*/ 21 h 249"/>
                    <a:gd name="T92" fmla="*/ 41 w 329"/>
                    <a:gd name="T93" fmla="*/ 15 h 249"/>
                    <a:gd name="T94" fmla="*/ 61 w 329"/>
                    <a:gd name="T95" fmla="*/ 10 h 249"/>
                    <a:gd name="T96" fmla="*/ 83 w 329"/>
                    <a:gd name="T97" fmla="*/ 5 h 249"/>
                    <a:gd name="T98" fmla="*/ 107 w 329"/>
                    <a:gd name="T99" fmla="*/ 2 h 249"/>
                    <a:gd name="T100" fmla="*/ 130 w 329"/>
                    <a:gd name="T101" fmla="*/ 0 h 2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329" h="249">
                      <a:moveTo>
                        <a:pt x="130" y="0"/>
                      </a:moveTo>
                      <a:lnTo>
                        <a:pt x="208" y="7"/>
                      </a:lnTo>
                      <a:lnTo>
                        <a:pt x="235" y="7"/>
                      </a:lnTo>
                      <a:lnTo>
                        <a:pt x="259" y="9"/>
                      </a:lnTo>
                      <a:lnTo>
                        <a:pt x="283" y="12"/>
                      </a:lnTo>
                      <a:lnTo>
                        <a:pt x="301" y="16"/>
                      </a:lnTo>
                      <a:lnTo>
                        <a:pt x="316" y="19"/>
                      </a:lnTo>
                      <a:lnTo>
                        <a:pt x="326" y="21"/>
                      </a:lnTo>
                      <a:lnTo>
                        <a:pt x="329" y="22"/>
                      </a:lnTo>
                      <a:lnTo>
                        <a:pt x="323" y="58"/>
                      </a:lnTo>
                      <a:lnTo>
                        <a:pt x="319" y="95"/>
                      </a:lnTo>
                      <a:lnTo>
                        <a:pt x="316" y="130"/>
                      </a:lnTo>
                      <a:lnTo>
                        <a:pt x="315" y="159"/>
                      </a:lnTo>
                      <a:lnTo>
                        <a:pt x="313" y="182"/>
                      </a:lnTo>
                      <a:lnTo>
                        <a:pt x="313" y="196"/>
                      </a:lnTo>
                      <a:lnTo>
                        <a:pt x="313" y="202"/>
                      </a:lnTo>
                      <a:lnTo>
                        <a:pt x="313" y="209"/>
                      </a:lnTo>
                      <a:lnTo>
                        <a:pt x="312" y="221"/>
                      </a:lnTo>
                      <a:lnTo>
                        <a:pt x="310" y="231"/>
                      </a:lnTo>
                      <a:lnTo>
                        <a:pt x="312" y="239"/>
                      </a:lnTo>
                      <a:lnTo>
                        <a:pt x="310" y="239"/>
                      </a:lnTo>
                      <a:lnTo>
                        <a:pt x="309" y="240"/>
                      </a:lnTo>
                      <a:lnTo>
                        <a:pt x="306" y="241"/>
                      </a:lnTo>
                      <a:lnTo>
                        <a:pt x="300" y="243"/>
                      </a:lnTo>
                      <a:lnTo>
                        <a:pt x="293" y="244"/>
                      </a:lnTo>
                      <a:lnTo>
                        <a:pt x="281" y="246"/>
                      </a:lnTo>
                      <a:lnTo>
                        <a:pt x="265" y="247"/>
                      </a:lnTo>
                      <a:lnTo>
                        <a:pt x="246" y="249"/>
                      </a:lnTo>
                      <a:lnTo>
                        <a:pt x="221" y="249"/>
                      </a:lnTo>
                      <a:lnTo>
                        <a:pt x="191" y="247"/>
                      </a:lnTo>
                      <a:lnTo>
                        <a:pt x="156" y="244"/>
                      </a:lnTo>
                      <a:lnTo>
                        <a:pt x="112" y="241"/>
                      </a:lnTo>
                      <a:lnTo>
                        <a:pt x="63" y="236"/>
                      </a:lnTo>
                      <a:lnTo>
                        <a:pt x="6" y="228"/>
                      </a:lnTo>
                      <a:lnTo>
                        <a:pt x="6" y="223"/>
                      </a:lnTo>
                      <a:lnTo>
                        <a:pt x="8" y="209"/>
                      </a:lnTo>
                      <a:lnTo>
                        <a:pt x="9" y="189"/>
                      </a:lnTo>
                      <a:lnTo>
                        <a:pt x="9" y="164"/>
                      </a:lnTo>
                      <a:lnTo>
                        <a:pt x="11" y="135"/>
                      </a:lnTo>
                      <a:lnTo>
                        <a:pt x="9" y="106"/>
                      </a:lnTo>
                      <a:lnTo>
                        <a:pt x="8" y="77"/>
                      </a:lnTo>
                      <a:lnTo>
                        <a:pt x="5" y="51"/>
                      </a:lnTo>
                      <a:lnTo>
                        <a:pt x="0" y="29"/>
                      </a:lnTo>
                      <a:lnTo>
                        <a:pt x="3" y="28"/>
                      </a:lnTo>
                      <a:lnTo>
                        <a:pt x="12" y="25"/>
                      </a:lnTo>
                      <a:lnTo>
                        <a:pt x="25" y="21"/>
                      </a:lnTo>
                      <a:lnTo>
                        <a:pt x="41" y="15"/>
                      </a:lnTo>
                      <a:lnTo>
                        <a:pt x="61" y="10"/>
                      </a:lnTo>
                      <a:lnTo>
                        <a:pt x="83" y="5"/>
                      </a:lnTo>
                      <a:lnTo>
                        <a:pt x="107" y="2"/>
                      </a:lnTo>
                      <a:lnTo>
                        <a:pt x="130" y="0"/>
                      </a:lnTo>
                      <a:close/>
                    </a:path>
                  </a:pathLst>
                </a:custGeom>
                <a:solidFill>
                  <a:srgbClr val="AF1B32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20" name="Freeform 208"/>
                <p:cNvSpPr>
                  <a:spLocks/>
                </p:cNvSpPr>
                <p:nvPr/>
              </p:nvSpPr>
              <p:spPr bwMode="auto">
                <a:xfrm>
                  <a:off x="6391276" y="4481513"/>
                  <a:ext cx="55563" cy="4763"/>
                </a:xfrm>
                <a:custGeom>
                  <a:avLst/>
                  <a:gdLst>
                    <a:gd name="T0" fmla="*/ 0 w 35"/>
                    <a:gd name="T1" fmla="*/ 0 h 3"/>
                    <a:gd name="T2" fmla="*/ 35 w 35"/>
                    <a:gd name="T3" fmla="*/ 3 h 3"/>
                    <a:gd name="T4" fmla="*/ 29 w 35"/>
                    <a:gd name="T5" fmla="*/ 3 h 3"/>
                    <a:gd name="T6" fmla="*/ 0 w 35"/>
                    <a:gd name="T7" fmla="*/ 2 h 3"/>
                    <a:gd name="T8" fmla="*/ 0 w 35"/>
                    <a:gd name="T9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5" h="3">
                      <a:moveTo>
                        <a:pt x="0" y="0"/>
                      </a:moveTo>
                      <a:lnTo>
                        <a:pt x="35" y="3"/>
                      </a:lnTo>
                      <a:lnTo>
                        <a:pt x="29" y="3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5010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21" name="Freeform 209"/>
                <p:cNvSpPr>
                  <a:spLocks/>
                </p:cNvSpPr>
                <p:nvPr/>
              </p:nvSpPr>
              <p:spPr bwMode="auto">
                <a:xfrm>
                  <a:off x="6350001" y="4479926"/>
                  <a:ext cx="41275" cy="4763"/>
                </a:xfrm>
                <a:custGeom>
                  <a:avLst/>
                  <a:gdLst>
                    <a:gd name="T0" fmla="*/ 0 w 26"/>
                    <a:gd name="T1" fmla="*/ 0 h 3"/>
                    <a:gd name="T2" fmla="*/ 26 w 26"/>
                    <a:gd name="T3" fmla="*/ 1 h 3"/>
                    <a:gd name="T4" fmla="*/ 26 w 26"/>
                    <a:gd name="T5" fmla="*/ 3 h 3"/>
                    <a:gd name="T6" fmla="*/ 0 w 26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6" h="3">
                      <a:moveTo>
                        <a:pt x="0" y="0"/>
                      </a:moveTo>
                      <a:lnTo>
                        <a:pt x="26" y="1"/>
                      </a:lnTo>
                      <a:lnTo>
                        <a:pt x="26" y="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11732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22" name="Freeform 210"/>
                <p:cNvSpPr>
                  <a:spLocks noEditPoints="1"/>
                </p:cNvSpPr>
                <p:nvPr/>
              </p:nvSpPr>
              <p:spPr bwMode="auto">
                <a:xfrm>
                  <a:off x="6656389" y="3967163"/>
                  <a:ext cx="87313" cy="519113"/>
                </a:xfrm>
                <a:custGeom>
                  <a:avLst/>
                  <a:gdLst>
                    <a:gd name="T0" fmla="*/ 21 w 55"/>
                    <a:gd name="T1" fmla="*/ 324 h 327"/>
                    <a:gd name="T2" fmla="*/ 19 w 55"/>
                    <a:gd name="T3" fmla="*/ 324 h 327"/>
                    <a:gd name="T4" fmla="*/ 19 w 55"/>
                    <a:gd name="T5" fmla="*/ 324 h 327"/>
                    <a:gd name="T6" fmla="*/ 18 w 55"/>
                    <a:gd name="T7" fmla="*/ 326 h 327"/>
                    <a:gd name="T8" fmla="*/ 16 w 55"/>
                    <a:gd name="T9" fmla="*/ 326 h 327"/>
                    <a:gd name="T10" fmla="*/ 16 w 55"/>
                    <a:gd name="T11" fmla="*/ 326 h 327"/>
                    <a:gd name="T12" fmla="*/ 19 w 55"/>
                    <a:gd name="T13" fmla="*/ 324 h 327"/>
                    <a:gd name="T14" fmla="*/ 21 w 55"/>
                    <a:gd name="T15" fmla="*/ 324 h 327"/>
                    <a:gd name="T16" fmla="*/ 21 w 55"/>
                    <a:gd name="T17" fmla="*/ 324 h 327"/>
                    <a:gd name="T18" fmla="*/ 16 w 55"/>
                    <a:gd name="T19" fmla="*/ 322 h 327"/>
                    <a:gd name="T20" fmla="*/ 16 w 55"/>
                    <a:gd name="T21" fmla="*/ 324 h 327"/>
                    <a:gd name="T22" fmla="*/ 16 w 55"/>
                    <a:gd name="T23" fmla="*/ 326 h 327"/>
                    <a:gd name="T24" fmla="*/ 13 w 55"/>
                    <a:gd name="T25" fmla="*/ 326 h 327"/>
                    <a:gd name="T26" fmla="*/ 10 w 55"/>
                    <a:gd name="T27" fmla="*/ 326 h 327"/>
                    <a:gd name="T28" fmla="*/ 5 w 55"/>
                    <a:gd name="T29" fmla="*/ 327 h 327"/>
                    <a:gd name="T30" fmla="*/ 3 w 55"/>
                    <a:gd name="T31" fmla="*/ 327 h 327"/>
                    <a:gd name="T32" fmla="*/ 0 w 55"/>
                    <a:gd name="T33" fmla="*/ 327 h 327"/>
                    <a:gd name="T34" fmla="*/ 7 w 55"/>
                    <a:gd name="T35" fmla="*/ 326 h 327"/>
                    <a:gd name="T36" fmla="*/ 12 w 55"/>
                    <a:gd name="T37" fmla="*/ 324 h 327"/>
                    <a:gd name="T38" fmla="*/ 15 w 55"/>
                    <a:gd name="T39" fmla="*/ 323 h 327"/>
                    <a:gd name="T40" fmla="*/ 16 w 55"/>
                    <a:gd name="T41" fmla="*/ 322 h 327"/>
                    <a:gd name="T42" fmla="*/ 16 w 55"/>
                    <a:gd name="T43" fmla="*/ 322 h 327"/>
                    <a:gd name="T44" fmla="*/ 19 w 55"/>
                    <a:gd name="T45" fmla="*/ 285 h 327"/>
                    <a:gd name="T46" fmla="*/ 19 w 55"/>
                    <a:gd name="T47" fmla="*/ 292 h 327"/>
                    <a:gd name="T48" fmla="*/ 19 w 55"/>
                    <a:gd name="T49" fmla="*/ 301 h 327"/>
                    <a:gd name="T50" fmla="*/ 18 w 55"/>
                    <a:gd name="T51" fmla="*/ 313 h 327"/>
                    <a:gd name="T52" fmla="*/ 16 w 55"/>
                    <a:gd name="T53" fmla="*/ 322 h 327"/>
                    <a:gd name="T54" fmla="*/ 16 w 55"/>
                    <a:gd name="T55" fmla="*/ 314 h 327"/>
                    <a:gd name="T56" fmla="*/ 18 w 55"/>
                    <a:gd name="T57" fmla="*/ 304 h 327"/>
                    <a:gd name="T58" fmla="*/ 19 w 55"/>
                    <a:gd name="T59" fmla="*/ 292 h 327"/>
                    <a:gd name="T60" fmla="*/ 19 w 55"/>
                    <a:gd name="T61" fmla="*/ 285 h 327"/>
                    <a:gd name="T62" fmla="*/ 25 w 55"/>
                    <a:gd name="T63" fmla="*/ 179 h 327"/>
                    <a:gd name="T64" fmla="*/ 22 w 55"/>
                    <a:gd name="T65" fmla="*/ 218 h 327"/>
                    <a:gd name="T66" fmla="*/ 19 w 55"/>
                    <a:gd name="T67" fmla="*/ 249 h 327"/>
                    <a:gd name="T68" fmla="*/ 22 w 55"/>
                    <a:gd name="T69" fmla="*/ 218 h 327"/>
                    <a:gd name="T70" fmla="*/ 25 w 55"/>
                    <a:gd name="T71" fmla="*/ 179 h 327"/>
                    <a:gd name="T72" fmla="*/ 34 w 55"/>
                    <a:gd name="T73" fmla="*/ 115 h 327"/>
                    <a:gd name="T74" fmla="*/ 32 w 55"/>
                    <a:gd name="T75" fmla="*/ 122 h 327"/>
                    <a:gd name="T76" fmla="*/ 32 w 55"/>
                    <a:gd name="T77" fmla="*/ 122 h 327"/>
                    <a:gd name="T78" fmla="*/ 34 w 55"/>
                    <a:gd name="T79" fmla="*/ 115 h 327"/>
                    <a:gd name="T80" fmla="*/ 34 w 55"/>
                    <a:gd name="T81" fmla="*/ 115 h 327"/>
                    <a:gd name="T82" fmla="*/ 34 w 55"/>
                    <a:gd name="T83" fmla="*/ 114 h 327"/>
                    <a:gd name="T84" fmla="*/ 34 w 55"/>
                    <a:gd name="T85" fmla="*/ 115 h 327"/>
                    <a:gd name="T86" fmla="*/ 34 w 55"/>
                    <a:gd name="T87" fmla="*/ 115 h 327"/>
                    <a:gd name="T88" fmla="*/ 34 w 55"/>
                    <a:gd name="T89" fmla="*/ 114 h 327"/>
                    <a:gd name="T90" fmla="*/ 55 w 55"/>
                    <a:gd name="T91" fmla="*/ 0 h 327"/>
                    <a:gd name="T92" fmla="*/ 55 w 55"/>
                    <a:gd name="T93" fmla="*/ 2 h 327"/>
                    <a:gd name="T94" fmla="*/ 47 w 55"/>
                    <a:gd name="T95" fmla="*/ 48 h 327"/>
                    <a:gd name="T96" fmla="*/ 34 w 55"/>
                    <a:gd name="T97" fmla="*/ 114 h 327"/>
                    <a:gd name="T98" fmla="*/ 55 w 55"/>
                    <a:gd name="T99" fmla="*/ 0 h 3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55" h="327">
                      <a:moveTo>
                        <a:pt x="21" y="324"/>
                      </a:moveTo>
                      <a:lnTo>
                        <a:pt x="19" y="324"/>
                      </a:lnTo>
                      <a:lnTo>
                        <a:pt x="19" y="324"/>
                      </a:lnTo>
                      <a:lnTo>
                        <a:pt x="18" y="326"/>
                      </a:lnTo>
                      <a:lnTo>
                        <a:pt x="16" y="326"/>
                      </a:lnTo>
                      <a:lnTo>
                        <a:pt x="16" y="326"/>
                      </a:lnTo>
                      <a:lnTo>
                        <a:pt x="19" y="324"/>
                      </a:lnTo>
                      <a:lnTo>
                        <a:pt x="21" y="324"/>
                      </a:lnTo>
                      <a:lnTo>
                        <a:pt x="21" y="324"/>
                      </a:lnTo>
                      <a:close/>
                      <a:moveTo>
                        <a:pt x="16" y="322"/>
                      </a:moveTo>
                      <a:lnTo>
                        <a:pt x="16" y="324"/>
                      </a:lnTo>
                      <a:lnTo>
                        <a:pt x="16" y="326"/>
                      </a:lnTo>
                      <a:lnTo>
                        <a:pt x="13" y="326"/>
                      </a:lnTo>
                      <a:lnTo>
                        <a:pt x="10" y="326"/>
                      </a:lnTo>
                      <a:lnTo>
                        <a:pt x="5" y="327"/>
                      </a:lnTo>
                      <a:lnTo>
                        <a:pt x="3" y="327"/>
                      </a:lnTo>
                      <a:lnTo>
                        <a:pt x="0" y="327"/>
                      </a:lnTo>
                      <a:lnTo>
                        <a:pt x="7" y="326"/>
                      </a:lnTo>
                      <a:lnTo>
                        <a:pt x="12" y="324"/>
                      </a:lnTo>
                      <a:lnTo>
                        <a:pt x="15" y="323"/>
                      </a:lnTo>
                      <a:lnTo>
                        <a:pt x="16" y="322"/>
                      </a:lnTo>
                      <a:lnTo>
                        <a:pt x="16" y="322"/>
                      </a:lnTo>
                      <a:close/>
                      <a:moveTo>
                        <a:pt x="19" y="285"/>
                      </a:moveTo>
                      <a:lnTo>
                        <a:pt x="19" y="292"/>
                      </a:lnTo>
                      <a:lnTo>
                        <a:pt x="19" y="301"/>
                      </a:lnTo>
                      <a:lnTo>
                        <a:pt x="18" y="313"/>
                      </a:lnTo>
                      <a:lnTo>
                        <a:pt x="16" y="322"/>
                      </a:lnTo>
                      <a:lnTo>
                        <a:pt x="16" y="314"/>
                      </a:lnTo>
                      <a:lnTo>
                        <a:pt x="18" y="304"/>
                      </a:lnTo>
                      <a:lnTo>
                        <a:pt x="19" y="292"/>
                      </a:lnTo>
                      <a:lnTo>
                        <a:pt x="19" y="285"/>
                      </a:lnTo>
                      <a:close/>
                      <a:moveTo>
                        <a:pt x="25" y="179"/>
                      </a:moveTo>
                      <a:lnTo>
                        <a:pt x="22" y="218"/>
                      </a:lnTo>
                      <a:lnTo>
                        <a:pt x="19" y="249"/>
                      </a:lnTo>
                      <a:lnTo>
                        <a:pt x="22" y="218"/>
                      </a:lnTo>
                      <a:lnTo>
                        <a:pt x="25" y="179"/>
                      </a:lnTo>
                      <a:close/>
                      <a:moveTo>
                        <a:pt x="34" y="115"/>
                      </a:moveTo>
                      <a:lnTo>
                        <a:pt x="32" y="122"/>
                      </a:lnTo>
                      <a:lnTo>
                        <a:pt x="32" y="122"/>
                      </a:lnTo>
                      <a:lnTo>
                        <a:pt x="34" y="115"/>
                      </a:lnTo>
                      <a:lnTo>
                        <a:pt x="34" y="115"/>
                      </a:lnTo>
                      <a:close/>
                      <a:moveTo>
                        <a:pt x="34" y="114"/>
                      </a:moveTo>
                      <a:lnTo>
                        <a:pt x="34" y="115"/>
                      </a:lnTo>
                      <a:lnTo>
                        <a:pt x="34" y="115"/>
                      </a:lnTo>
                      <a:lnTo>
                        <a:pt x="34" y="114"/>
                      </a:lnTo>
                      <a:close/>
                      <a:moveTo>
                        <a:pt x="55" y="0"/>
                      </a:moveTo>
                      <a:lnTo>
                        <a:pt x="55" y="2"/>
                      </a:lnTo>
                      <a:lnTo>
                        <a:pt x="47" y="48"/>
                      </a:lnTo>
                      <a:lnTo>
                        <a:pt x="34" y="114"/>
                      </a:lnTo>
                      <a:lnTo>
                        <a:pt x="55" y="0"/>
                      </a:lnTo>
                      <a:close/>
                    </a:path>
                  </a:pathLst>
                </a:custGeom>
                <a:solidFill>
                  <a:srgbClr val="05010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23" name="Freeform 211"/>
                <p:cNvSpPr>
                  <a:spLocks/>
                </p:cNvSpPr>
                <p:nvPr/>
              </p:nvSpPr>
              <p:spPr bwMode="auto">
                <a:xfrm>
                  <a:off x="6675439" y="3937001"/>
                  <a:ext cx="68263" cy="212725"/>
                </a:xfrm>
                <a:custGeom>
                  <a:avLst/>
                  <a:gdLst>
                    <a:gd name="T0" fmla="*/ 33 w 43"/>
                    <a:gd name="T1" fmla="*/ 0 h 134"/>
                    <a:gd name="T2" fmla="*/ 39 w 43"/>
                    <a:gd name="T3" fmla="*/ 11 h 134"/>
                    <a:gd name="T4" fmla="*/ 43 w 43"/>
                    <a:gd name="T5" fmla="*/ 19 h 134"/>
                    <a:gd name="T6" fmla="*/ 22 w 43"/>
                    <a:gd name="T7" fmla="*/ 134 h 134"/>
                    <a:gd name="T8" fmla="*/ 23 w 43"/>
                    <a:gd name="T9" fmla="*/ 124 h 134"/>
                    <a:gd name="T10" fmla="*/ 20 w 43"/>
                    <a:gd name="T11" fmla="*/ 123 h 134"/>
                    <a:gd name="T12" fmla="*/ 13 w 43"/>
                    <a:gd name="T13" fmla="*/ 121 h 134"/>
                    <a:gd name="T14" fmla="*/ 0 w 43"/>
                    <a:gd name="T15" fmla="*/ 118 h 134"/>
                    <a:gd name="T16" fmla="*/ 13 w 43"/>
                    <a:gd name="T17" fmla="*/ 75 h 134"/>
                    <a:gd name="T18" fmla="*/ 23 w 43"/>
                    <a:gd name="T19" fmla="*/ 34 h 134"/>
                    <a:gd name="T20" fmla="*/ 33 w 43"/>
                    <a:gd name="T21" fmla="*/ 0 h 1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3" h="134">
                      <a:moveTo>
                        <a:pt x="33" y="0"/>
                      </a:moveTo>
                      <a:lnTo>
                        <a:pt x="39" y="11"/>
                      </a:lnTo>
                      <a:lnTo>
                        <a:pt x="43" y="19"/>
                      </a:lnTo>
                      <a:lnTo>
                        <a:pt x="22" y="134"/>
                      </a:lnTo>
                      <a:lnTo>
                        <a:pt x="23" y="124"/>
                      </a:lnTo>
                      <a:lnTo>
                        <a:pt x="20" y="123"/>
                      </a:lnTo>
                      <a:lnTo>
                        <a:pt x="13" y="121"/>
                      </a:lnTo>
                      <a:lnTo>
                        <a:pt x="0" y="118"/>
                      </a:lnTo>
                      <a:lnTo>
                        <a:pt x="13" y="75"/>
                      </a:lnTo>
                      <a:lnTo>
                        <a:pt x="23" y="34"/>
                      </a:lnTo>
                      <a:lnTo>
                        <a:pt x="33" y="0"/>
                      </a:lnTo>
                      <a:close/>
                    </a:path>
                  </a:pathLst>
                </a:custGeom>
                <a:solidFill>
                  <a:srgbClr val="78030A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24" name="Freeform 212"/>
                <p:cNvSpPr>
                  <a:spLocks noEditPoints="1"/>
                </p:cNvSpPr>
                <p:nvPr/>
              </p:nvSpPr>
              <p:spPr bwMode="auto">
                <a:xfrm>
                  <a:off x="6199189" y="4124326"/>
                  <a:ext cx="512763" cy="365125"/>
                </a:xfrm>
                <a:custGeom>
                  <a:avLst/>
                  <a:gdLst>
                    <a:gd name="T0" fmla="*/ 263 w 323"/>
                    <a:gd name="T1" fmla="*/ 74 h 230"/>
                    <a:gd name="T2" fmla="*/ 265 w 323"/>
                    <a:gd name="T3" fmla="*/ 76 h 230"/>
                    <a:gd name="T4" fmla="*/ 265 w 323"/>
                    <a:gd name="T5" fmla="*/ 76 h 230"/>
                    <a:gd name="T6" fmla="*/ 266 w 323"/>
                    <a:gd name="T7" fmla="*/ 76 h 230"/>
                    <a:gd name="T8" fmla="*/ 266 w 323"/>
                    <a:gd name="T9" fmla="*/ 76 h 230"/>
                    <a:gd name="T10" fmla="*/ 266 w 323"/>
                    <a:gd name="T11" fmla="*/ 76 h 230"/>
                    <a:gd name="T12" fmla="*/ 272 w 323"/>
                    <a:gd name="T13" fmla="*/ 77 h 230"/>
                    <a:gd name="T14" fmla="*/ 279 w 323"/>
                    <a:gd name="T15" fmla="*/ 77 h 230"/>
                    <a:gd name="T16" fmla="*/ 284 w 323"/>
                    <a:gd name="T17" fmla="*/ 77 h 230"/>
                    <a:gd name="T18" fmla="*/ 313 w 323"/>
                    <a:gd name="T19" fmla="*/ 80 h 230"/>
                    <a:gd name="T20" fmla="*/ 310 w 323"/>
                    <a:gd name="T21" fmla="*/ 119 h 230"/>
                    <a:gd name="T22" fmla="*/ 307 w 323"/>
                    <a:gd name="T23" fmla="*/ 150 h 230"/>
                    <a:gd name="T24" fmla="*/ 307 w 323"/>
                    <a:gd name="T25" fmla="*/ 151 h 230"/>
                    <a:gd name="T26" fmla="*/ 307 w 323"/>
                    <a:gd name="T27" fmla="*/ 151 h 230"/>
                    <a:gd name="T28" fmla="*/ 307 w 323"/>
                    <a:gd name="T29" fmla="*/ 151 h 230"/>
                    <a:gd name="T30" fmla="*/ 307 w 323"/>
                    <a:gd name="T31" fmla="*/ 151 h 230"/>
                    <a:gd name="T32" fmla="*/ 307 w 323"/>
                    <a:gd name="T33" fmla="*/ 169 h 230"/>
                    <a:gd name="T34" fmla="*/ 307 w 323"/>
                    <a:gd name="T35" fmla="*/ 180 h 230"/>
                    <a:gd name="T36" fmla="*/ 307 w 323"/>
                    <a:gd name="T37" fmla="*/ 186 h 230"/>
                    <a:gd name="T38" fmla="*/ 307 w 323"/>
                    <a:gd name="T39" fmla="*/ 186 h 230"/>
                    <a:gd name="T40" fmla="*/ 307 w 323"/>
                    <a:gd name="T41" fmla="*/ 193 h 230"/>
                    <a:gd name="T42" fmla="*/ 306 w 323"/>
                    <a:gd name="T43" fmla="*/ 205 h 230"/>
                    <a:gd name="T44" fmla="*/ 304 w 323"/>
                    <a:gd name="T45" fmla="*/ 215 h 230"/>
                    <a:gd name="T46" fmla="*/ 304 w 323"/>
                    <a:gd name="T47" fmla="*/ 223 h 230"/>
                    <a:gd name="T48" fmla="*/ 304 w 323"/>
                    <a:gd name="T49" fmla="*/ 223 h 230"/>
                    <a:gd name="T50" fmla="*/ 304 w 323"/>
                    <a:gd name="T51" fmla="*/ 223 h 230"/>
                    <a:gd name="T52" fmla="*/ 303 w 323"/>
                    <a:gd name="T53" fmla="*/ 224 h 230"/>
                    <a:gd name="T54" fmla="*/ 300 w 323"/>
                    <a:gd name="T55" fmla="*/ 225 h 230"/>
                    <a:gd name="T56" fmla="*/ 295 w 323"/>
                    <a:gd name="T57" fmla="*/ 227 h 230"/>
                    <a:gd name="T58" fmla="*/ 288 w 323"/>
                    <a:gd name="T59" fmla="*/ 228 h 230"/>
                    <a:gd name="T60" fmla="*/ 274 w 323"/>
                    <a:gd name="T61" fmla="*/ 228 h 230"/>
                    <a:gd name="T62" fmla="*/ 255 w 323"/>
                    <a:gd name="T63" fmla="*/ 230 h 230"/>
                    <a:gd name="T64" fmla="*/ 230 w 323"/>
                    <a:gd name="T65" fmla="*/ 230 h 230"/>
                    <a:gd name="T66" fmla="*/ 194 w 323"/>
                    <a:gd name="T67" fmla="*/ 230 h 230"/>
                    <a:gd name="T68" fmla="*/ 156 w 323"/>
                    <a:gd name="T69" fmla="*/ 228 h 230"/>
                    <a:gd name="T70" fmla="*/ 121 w 323"/>
                    <a:gd name="T71" fmla="*/ 225 h 230"/>
                    <a:gd name="T72" fmla="*/ 95 w 323"/>
                    <a:gd name="T73" fmla="*/ 224 h 230"/>
                    <a:gd name="T74" fmla="*/ 55 w 323"/>
                    <a:gd name="T75" fmla="*/ 218 h 230"/>
                    <a:gd name="T76" fmla="*/ 10 w 323"/>
                    <a:gd name="T77" fmla="*/ 212 h 230"/>
                    <a:gd name="T78" fmla="*/ 0 w 323"/>
                    <a:gd name="T79" fmla="*/ 211 h 230"/>
                    <a:gd name="T80" fmla="*/ 5 w 323"/>
                    <a:gd name="T81" fmla="*/ 147 h 230"/>
                    <a:gd name="T82" fmla="*/ 51 w 323"/>
                    <a:gd name="T83" fmla="*/ 154 h 230"/>
                    <a:gd name="T84" fmla="*/ 93 w 323"/>
                    <a:gd name="T85" fmla="*/ 157 h 230"/>
                    <a:gd name="T86" fmla="*/ 128 w 323"/>
                    <a:gd name="T87" fmla="*/ 156 h 230"/>
                    <a:gd name="T88" fmla="*/ 160 w 323"/>
                    <a:gd name="T89" fmla="*/ 150 h 230"/>
                    <a:gd name="T90" fmla="*/ 186 w 323"/>
                    <a:gd name="T91" fmla="*/ 140 h 230"/>
                    <a:gd name="T92" fmla="*/ 211 w 323"/>
                    <a:gd name="T93" fmla="*/ 127 h 230"/>
                    <a:gd name="T94" fmla="*/ 231 w 323"/>
                    <a:gd name="T95" fmla="*/ 112 h 230"/>
                    <a:gd name="T96" fmla="*/ 249 w 323"/>
                    <a:gd name="T97" fmla="*/ 95 h 230"/>
                    <a:gd name="T98" fmla="*/ 263 w 323"/>
                    <a:gd name="T99" fmla="*/ 74 h 230"/>
                    <a:gd name="T100" fmla="*/ 300 w 323"/>
                    <a:gd name="T101" fmla="*/ 0 h 230"/>
                    <a:gd name="T102" fmla="*/ 313 w 323"/>
                    <a:gd name="T103" fmla="*/ 3 h 230"/>
                    <a:gd name="T104" fmla="*/ 320 w 323"/>
                    <a:gd name="T105" fmla="*/ 5 h 230"/>
                    <a:gd name="T106" fmla="*/ 323 w 323"/>
                    <a:gd name="T107" fmla="*/ 6 h 230"/>
                    <a:gd name="T108" fmla="*/ 322 w 323"/>
                    <a:gd name="T109" fmla="*/ 16 h 230"/>
                    <a:gd name="T110" fmla="*/ 320 w 323"/>
                    <a:gd name="T111" fmla="*/ 23 h 230"/>
                    <a:gd name="T112" fmla="*/ 311 w 323"/>
                    <a:gd name="T113" fmla="*/ 23 h 230"/>
                    <a:gd name="T114" fmla="*/ 291 w 323"/>
                    <a:gd name="T115" fmla="*/ 22 h 230"/>
                    <a:gd name="T116" fmla="*/ 300 w 323"/>
                    <a:gd name="T117" fmla="*/ 0 h 2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323" h="230">
                      <a:moveTo>
                        <a:pt x="263" y="74"/>
                      </a:moveTo>
                      <a:lnTo>
                        <a:pt x="265" y="76"/>
                      </a:lnTo>
                      <a:lnTo>
                        <a:pt x="265" y="76"/>
                      </a:lnTo>
                      <a:lnTo>
                        <a:pt x="266" y="76"/>
                      </a:lnTo>
                      <a:lnTo>
                        <a:pt x="266" y="76"/>
                      </a:lnTo>
                      <a:lnTo>
                        <a:pt x="266" y="76"/>
                      </a:lnTo>
                      <a:lnTo>
                        <a:pt x="272" y="77"/>
                      </a:lnTo>
                      <a:lnTo>
                        <a:pt x="279" y="77"/>
                      </a:lnTo>
                      <a:lnTo>
                        <a:pt x="284" y="77"/>
                      </a:lnTo>
                      <a:lnTo>
                        <a:pt x="313" y="80"/>
                      </a:lnTo>
                      <a:lnTo>
                        <a:pt x="310" y="119"/>
                      </a:lnTo>
                      <a:lnTo>
                        <a:pt x="307" y="150"/>
                      </a:lnTo>
                      <a:lnTo>
                        <a:pt x="307" y="151"/>
                      </a:lnTo>
                      <a:lnTo>
                        <a:pt x="307" y="151"/>
                      </a:lnTo>
                      <a:lnTo>
                        <a:pt x="307" y="151"/>
                      </a:lnTo>
                      <a:lnTo>
                        <a:pt x="307" y="151"/>
                      </a:lnTo>
                      <a:lnTo>
                        <a:pt x="307" y="169"/>
                      </a:lnTo>
                      <a:lnTo>
                        <a:pt x="307" y="180"/>
                      </a:lnTo>
                      <a:lnTo>
                        <a:pt x="307" y="186"/>
                      </a:lnTo>
                      <a:lnTo>
                        <a:pt x="307" y="186"/>
                      </a:lnTo>
                      <a:lnTo>
                        <a:pt x="307" y="193"/>
                      </a:lnTo>
                      <a:lnTo>
                        <a:pt x="306" y="205"/>
                      </a:lnTo>
                      <a:lnTo>
                        <a:pt x="304" y="215"/>
                      </a:lnTo>
                      <a:lnTo>
                        <a:pt x="304" y="223"/>
                      </a:lnTo>
                      <a:lnTo>
                        <a:pt x="304" y="223"/>
                      </a:lnTo>
                      <a:lnTo>
                        <a:pt x="304" y="223"/>
                      </a:lnTo>
                      <a:lnTo>
                        <a:pt x="303" y="224"/>
                      </a:lnTo>
                      <a:lnTo>
                        <a:pt x="300" y="225"/>
                      </a:lnTo>
                      <a:lnTo>
                        <a:pt x="295" y="227"/>
                      </a:lnTo>
                      <a:lnTo>
                        <a:pt x="288" y="228"/>
                      </a:lnTo>
                      <a:lnTo>
                        <a:pt x="274" y="228"/>
                      </a:lnTo>
                      <a:lnTo>
                        <a:pt x="255" y="230"/>
                      </a:lnTo>
                      <a:lnTo>
                        <a:pt x="230" y="230"/>
                      </a:lnTo>
                      <a:lnTo>
                        <a:pt x="194" y="230"/>
                      </a:lnTo>
                      <a:lnTo>
                        <a:pt x="156" y="228"/>
                      </a:lnTo>
                      <a:lnTo>
                        <a:pt x="121" y="225"/>
                      </a:lnTo>
                      <a:lnTo>
                        <a:pt x="95" y="224"/>
                      </a:lnTo>
                      <a:lnTo>
                        <a:pt x="55" y="218"/>
                      </a:lnTo>
                      <a:lnTo>
                        <a:pt x="10" y="212"/>
                      </a:lnTo>
                      <a:lnTo>
                        <a:pt x="0" y="211"/>
                      </a:lnTo>
                      <a:lnTo>
                        <a:pt x="5" y="147"/>
                      </a:lnTo>
                      <a:lnTo>
                        <a:pt x="51" y="154"/>
                      </a:lnTo>
                      <a:lnTo>
                        <a:pt x="93" y="157"/>
                      </a:lnTo>
                      <a:lnTo>
                        <a:pt x="128" y="156"/>
                      </a:lnTo>
                      <a:lnTo>
                        <a:pt x="160" y="150"/>
                      </a:lnTo>
                      <a:lnTo>
                        <a:pt x="186" y="140"/>
                      </a:lnTo>
                      <a:lnTo>
                        <a:pt x="211" y="127"/>
                      </a:lnTo>
                      <a:lnTo>
                        <a:pt x="231" y="112"/>
                      </a:lnTo>
                      <a:lnTo>
                        <a:pt x="249" y="95"/>
                      </a:lnTo>
                      <a:lnTo>
                        <a:pt x="263" y="74"/>
                      </a:lnTo>
                      <a:close/>
                      <a:moveTo>
                        <a:pt x="300" y="0"/>
                      </a:moveTo>
                      <a:lnTo>
                        <a:pt x="313" y="3"/>
                      </a:lnTo>
                      <a:lnTo>
                        <a:pt x="320" y="5"/>
                      </a:lnTo>
                      <a:lnTo>
                        <a:pt x="323" y="6"/>
                      </a:lnTo>
                      <a:lnTo>
                        <a:pt x="322" y="16"/>
                      </a:lnTo>
                      <a:lnTo>
                        <a:pt x="320" y="23"/>
                      </a:lnTo>
                      <a:lnTo>
                        <a:pt x="311" y="23"/>
                      </a:lnTo>
                      <a:lnTo>
                        <a:pt x="291" y="22"/>
                      </a:lnTo>
                      <a:lnTo>
                        <a:pt x="300" y="0"/>
                      </a:lnTo>
                      <a:close/>
                    </a:path>
                  </a:pathLst>
                </a:custGeom>
                <a:solidFill>
                  <a:srgbClr val="78030A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25" name="Freeform 213"/>
                <p:cNvSpPr>
                  <a:spLocks/>
                </p:cNvSpPr>
                <p:nvPr/>
              </p:nvSpPr>
              <p:spPr bwMode="auto">
                <a:xfrm>
                  <a:off x="6040439" y="3586163"/>
                  <a:ext cx="904875" cy="439738"/>
                </a:xfrm>
                <a:custGeom>
                  <a:avLst/>
                  <a:gdLst>
                    <a:gd name="T0" fmla="*/ 205 w 570"/>
                    <a:gd name="T1" fmla="*/ 0 h 277"/>
                    <a:gd name="T2" fmla="*/ 206 w 570"/>
                    <a:gd name="T3" fmla="*/ 3 h 277"/>
                    <a:gd name="T4" fmla="*/ 208 w 570"/>
                    <a:gd name="T5" fmla="*/ 9 h 277"/>
                    <a:gd name="T6" fmla="*/ 212 w 570"/>
                    <a:gd name="T7" fmla="*/ 16 h 277"/>
                    <a:gd name="T8" fmla="*/ 221 w 570"/>
                    <a:gd name="T9" fmla="*/ 24 h 277"/>
                    <a:gd name="T10" fmla="*/ 231 w 570"/>
                    <a:gd name="T11" fmla="*/ 31 h 277"/>
                    <a:gd name="T12" fmla="*/ 247 w 570"/>
                    <a:gd name="T13" fmla="*/ 37 h 277"/>
                    <a:gd name="T14" fmla="*/ 267 w 570"/>
                    <a:gd name="T15" fmla="*/ 38 h 277"/>
                    <a:gd name="T16" fmla="*/ 286 w 570"/>
                    <a:gd name="T17" fmla="*/ 35 h 277"/>
                    <a:gd name="T18" fmla="*/ 299 w 570"/>
                    <a:gd name="T19" fmla="*/ 28 h 277"/>
                    <a:gd name="T20" fmla="*/ 310 w 570"/>
                    <a:gd name="T21" fmla="*/ 19 h 277"/>
                    <a:gd name="T22" fmla="*/ 317 w 570"/>
                    <a:gd name="T23" fmla="*/ 11 h 277"/>
                    <a:gd name="T24" fmla="*/ 321 w 570"/>
                    <a:gd name="T25" fmla="*/ 3 h 277"/>
                    <a:gd name="T26" fmla="*/ 323 w 570"/>
                    <a:gd name="T27" fmla="*/ 0 h 277"/>
                    <a:gd name="T28" fmla="*/ 340 w 570"/>
                    <a:gd name="T29" fmla="*/ 3 h 277"/>
                    <a:gd name="T30" fmla="*/ 363 w 570"/>
                    <a:gd name="T31" fmla="*/ 9 h 277"/>
                    <a:gd name="T32" fmla="*/ 388 w 570"/>
                    <a:gd name="T33" fmla="*/ 18 h 277"/>
                    <a:gd name="T34" fmla="*/ 414 w 570"/>
                    <a:gd name="T35" fmla="*/ 30 h 277"/>
                    <a:gd name="T36" fmla="*/ 442 w 570"/>
                    <a:gd name="T37" fmla="*/ 44 h 277"/>
                    <a:gd name="T38" fmla="*/ 467 w 570"/>
                    <a:gd name="T39" fmla="*/ 62 h 277"/>
                    <a:gd name="T40" fmla="*/ 489 w 570"/>
                    <a:gd name="T41" fmla="*/ 79 h 277"/>
                    <a:gd name="T42" fmla="*/ 506 w 570"/>
                    <a:gd name="T43" fmla="*/ 99 h 277"/>
                    <a:gd name="T44" fmla="*/ 516 w 570"/>
                    <a:gd name="T45" fmla="*/ 118 h 277"/>
                    <a:gd name="T46" fmla="*/ 570 w 570"/>
                    <a:gd name="T47" fmla="*/ 221 h 277"/>
                    <a:gd name="T48" fmla="*/ 464 w 570"/>
                    <a:gd name="T49" fmla="*/ 277 h 277"/>
                    <a:gd name="T50" fmla="*/ 462 w 570"/>
                    <a:gd name="T51" fmla="*/ 274 h 277"/>
                    <a:gd name="T52" fmla="*/ 458 w 570"/>
                    <a:gd name="T53" fmla="*/ 265 h 277"/>
                    <a:gd name="T54" fmla="*/ 451 w 570"/>
                    <a:gd name="T55" fmla="*/ 253 h 277"/>
                    <a:gd name="T56" fmla="*/ 442 w 570"/>
                    <a:gd name="T57" fmla="*/ 239 h 277"/>
                    <a:gd name="T58" fmla="*/ 433 w 570"/>
                    <a:gd name="T59" fmla="*/ 221 h 277"/>
                    <a:gd name="T60" fmla="*/ 425 w 570"/>
                    <a:gd name="T61" fmla="*/ 203 h 277"/>
                    <a:gd name="T62" fmla="*/ 423 w 570"/>
                    <a:gd name="T63" fmla="*/ 203 h 277"/>
                    <a:gd name="T64" fmla="*/ 138 w 570"/>
                    <a:gd name="T65" fmla="*/ 210 h 277"/>
                    <a:gd name="T66" fmla="*/ 121 w 570"/>
                    <a:gd name="T67" fmla="*/ 211 h 277"/>
                    <a:gd name="T68" fmla="*/ 103 w 570"/>
                    <a:gd name="T69" fmla="*/ 213 h 277"/>
                    <a:gd name="T70" fmla="*/ 86 w 570"/>
                    <a:gd name="T71" fmla="*/ 216 h 277"/>
                    <a:gd name="T72" fmla="*/ 67 w 570"/>
                    <a:gd name="T73" fmla="*/ 217 h 277"/>
                    <a:gd name="T74" fmla="*/ 49 w 570"/>
                    <a:gd name="T75" fmla="*/ 219 h 277"/>
                    <a:gd name="T76" fmla="*/ 33 w 570"/>
                    <a:gd name="T77" fmla="*/ 219 h 277"/>
                    <a:gd name="T78" fmla="*/ 20 w 570"/>
                    <a:gd name="T79" fmla="*/ 216 h 277"/>
                    <a:gd name="T80" fmla="*/ 10 w 570"/>
                    <a:gd name="T81" fmla="*/ 211 h 277"/>
                    <a:gd name="T82" fmla="*/ 3 w 570"/>
                    <a:gd name="T83" fmla="*/ 201 h 277"/>
                    <a:gd name="T84" fmla="*/ 0 w 570"/>
                    <a:gd name="T85" fmla="*/ 188 h 277"/>
                    <a:gd name="T86" fmla="*/ 19 w 570"/>
                    <a:gd name="T87" fmla="*/ 121 h 277"/>
                    <a:gd name="T88" fmla="*/ 23 w 570"/>
                    <a:gd name="T89" fmla="*/ 104 h 277"/>
                    <a:gd name="T90" fmla="*/ 35 w 570"/>
                    <a:gd name="T91" fmla="*/ 85 h 277"/>
                    <a:gd name="T92" fmla="*/ 55 w 570"/>
                    <a:gd name="T93" fmla="*/ 67 h 277"/>
                    <a:gd name="T94" fmla="*/ 78 w 570"/>
                    <a:gd name="T95" fmla="*/ 50 h 277"/>
                    <a:gd name="T96" fmla="*/ 106 w 570"/>
                    <a:gd name="T97" fmla="*/ 34 h 277"/>
                    <a:gd name="T98" fmla="*/ 134 w 570"/>
                    <a:gd name="T99" fmla="*/ 21 h 277"/>
                    <a:gd name="T100" fmla="*/ 160 w 570"/>
                    <a:gd name="T101" fmla="*/ 11 h 277"/>
                    <a:gd name="T102" fmla="*/ 185 w 570"/>
                    <a:gd name="T103" fmla="*/ 3 h 277"/>
                    <a:gd name="T104" fmla="*/ 205 w 570"/>
                    <a:gd name="T105" fmla="*/ 0 h 2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570" h="277">
                      <a:moveTo>
                        <a:pt x="205" y="0"/>
                      </a:moveTo>
                      <a:lnTo>
                        <a:pt x="206" y="3"/>
                      </a:lnTo>
                      <a:lnTo>
                        <a:pt x="208" y="9"/>
                      </a:lnTo>
                      <a:lnTo>
                        <a:pt x="212" y="16"/>
                      </a:lnTo>
                      <a:lnTo>
                        <a:pt x="221" y="24"/>
                      </a:lnTo>
                      <a:lnTo>
                        <a:pt x="231" y="31"/>
                      </a:lnTo>
                      <a:lnTo>
                        <a:pt x="247" y="37"/>
                      </a:lnTo>
                      <a:lnTo>
                        <a:pt x="267" y="38"/>
                      </a:lnTo>
                      <a:lnTo>
                        <a:pt x="286" y="35"/>
                      </a:lnTo>
                      <a:lnTo>
                        <a:pt x="299" y="28"/>
                      </a:lnTo>
                      <a:lnTo>
                        <a:pt x="310" y="19"/>
                      </a:lnTo>
                      <a:lnTo>
                        <a:pt x="317" y="11"/>
                      </a:lnTo>
                      <a:lnTo>
                        <a:pt x="321" y="3"/>
                      </a:lnTo>
                      <a:lnTo>
                        <a:pt x="323" y="0"/>
                      </a:lnTo>
                      <a:lnTo>
                        <a:pt x="340" y="3"/>
                      </a:lnTo>
                      <a:lnTo>
                        <a:pt x="363" y="9"/>
                      </a:lnTo>
                      <a:lnTo>
                        <a:pt x="388" y="18"/>
                      </a:lnTo>
                      <a:lnTo>
                        <a:pt x="414" y="30"/>
                      </a:lnTo>
                      <a:lnTo>
                        <a:pt x="442" y="44"/>
                      </a:lnTo>
                      <a:lnTo>
                        <a:pt x="467" y="62"/>
                      </a:lnTo>
                      <a:lnTo>
                        <a:pt x="489" y="79"/>
                      </a:lnTo>
                      <a:lnTo>
                        <a:pt x="506" y="99"/>
                      </a:lnTo>
                      <a:lnTo>
                        <a:pt x="516" y="118"/>
                      </a:lnTo>
                      <a:lnTo>
                        <a:pt x="570" y="221"/>
                      </a:lnTo>
                      <a:lnTo>
                        <a:pt x="464" y="277"/>
                      </a:lnTo>
                      <a:lnTo>
                        <a:pt x="462" y="274"/>
                      </a:lnTo>
                      <a:lnTo>
                        <a:pt x="458" y="265"/>
                      </a:lnTo>
                      <a:lnTo>
                        <a:pt x="451" y="253"/>
                      </a:lnTo>
                      <a:lnTo>
                        <a:pt x="442" y="239"/>
                      </a:lnTo>
                      <a:lnTo>
                        <a:pt x="433" y="221"/>
                      </a:lnTo>
                      <a:lnTo>
                        <a:pt x="425" y="203"/>
                      </a:lnTo>
                      <a:lnTo>
                        <a:pt x="423" y="203"/>
                      </a:lnTo>
                      <a:lnTo>
                        <a:pt x="138" y="210"/>
                      </a:lnTo>
                      <a:lnTo>
                        <a:pt x="121" y="211"/>
                      </a:lnTo>
                      <a:lnTo>
                        <a:pt x="103" y="213"/>
                      </a:lnTo>
                      <a:lnTo>
                        <a:pt x="86" y="216"/>
                      </a:lnTo>
                      <a:lnTo>
                        <a:pt x="67" y="217"/>
                      </a:lnTo>
                      <a:lnTo>
                        <a:pt x="49" y="219"/>
                      </a:lnTo>
                      <a:lnTo>
                        <a:pt x="33" y="219"/>
                      </a:lnTo>
                      <a:lnTo>
                        <a:pt x="20" y="216"/>
                      </a:lnTo>
                      <a:lnTo>
                        <a:pt x="10" y="211"/>
                      </a:lnTo>
                      <a:lnTo>
                        <a:pt x="3" y="201"/>
                      </a:lnTo>
                      <a:lnTo>
                        <a:pt x="0" y="188"/>
                      </a:lnTo>
                      <a:lnTo>
                        <a:pt x="19" y="121"/>
                      </a:lnTo>
                      <a:lnTo>
                        <a:pt x="23" y="104"/>
                      </a:lnTo>
                      <a:lnTo>
                        <a:pt x="35" y="85"/>
                      </a:lnTo>
                      <a:lnTo>
                        <a:pt x="55" y="67"/>
                      </a:lnTo>
                      <a:lnTo>
                        <a:pt x="78" y="50"/>
                      </a:lnTo>
                      <a:lnTo>
                        <a:pt x="106" y="34"/>
                      </a:lnTo>
                      <a:lnTo>
                        <a:pt x="134" y="21"/>
                      </a:lnTo>
                      <a:lnTo>
                        <a:pt x="160" y="11"/>
                      </a:lnTo>
                      <a:lnTo>
                        <a:pt x="185" y="3"/>
                      </a:lnTo>
                      <a:lnTo>
                        <a:pt x="205" y="0"/>
                      </a:lnTo>
                      <a:close/>
                    </a:path>
                  </a:pathLst>
                </a:custGeom>
                <a:solidFill>
                  <a:srgbClr val="AF1B32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26" name="Freeform 214"/>
                <p:cNvSpPr>
                  <a:spLocks/>
                </p:cNvSpPr>
                <p:nvPr/>
              </p:nvSpPr>
              <p:spPr bwMode="auto">
                <a:xfrm>
                  <a:off x="6769101" y="3676651"/>
                  <a:ext cx="68263" cy="57150"/>
                </a:xfrm>
                <a:custGeom>
                  <a:avLst/>
                  <a:gdLst>
                    <a:gd name="T0" fmla="*/ 0 w 43"/>
                    <a:gd name="T1" fmla="*/ 0 h 36"/>
                    <a:gd name="T2" fmla="*/ 19 w 43"/>
                    <a:gd name="T3" fmla="*/ 12 h 36"/>
                    <a:gd name="T4" fmla="*/ 32 w 43"/>
                    <a:gd name="T5" fmla="*/ 25 h 36"/>
                    <a:gd name="T6" fmla="*/ 43 w 43"/>
                    <a:gd name="T7" fmla="*/ 36 h 36"/>
                    <a:gd name="T8" fmla="*/ 24 w 43"/>
                    <a:gd name="T9" fmla="*/ 18 h 36"/>
                    <a:gd name="T10" fmla="*/ 0 w 43"/>
                    <a:gd name="T11" fmla="*/ 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3" h="36">
                      <a:moveTo>
                        <a:pt x="0" y="0"/>
                      </a:moveTo>
                      <a:lnTo>
                        <a:pt x="19" y="12"/>
                      </a:lnTo>
                      <a:lnTo>
                        <a:pt x="32" y="25"/>
                      </a:lnTo>
                      <a:lnTo>
                        <a:pt x="43" y="36"/>
                      </a:lnTo>
                      <a:lnTo>
                        <a:pt x="24" y="1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5010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27" name="Rectangle 215"/>
                <p:cNvSpPr>
                  <a:spLocks noChangeArrowheads="1"/>
                </p:cNvSpPr>
                <p:nvPr/>
              </p:nvSpPr>
              <p:spPr bwMode="auto">
                <a:xfrm>
                  <a:off x="6423026" y="3641726"/>
                  <a:ext cx="4763" cy="1588"/>
                </a:xfrm>
                <a:prstGeom prst="rect">
                  <a:avLst/>
                </a:prstGeom>
                <a:solidFill>
                  <a:srgbClr val="A61623"/>
                </a:soli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28" name="Freeform 216"/>
                <p:cNvSpPr>
                  <a:spLocks/>
                </p:cNvSpPr>
                <p:nvPr/>
              </p:nvSpPr>
              <p:spPr bwMode="auto">
                <a:xfrm>
                  <a:off x="6400801" y="3633788"/>
                  <a:ext cx="22225" cy="7938"/>
                </a:xfrm>
                <a:custGeom>
                  <a:avLst/>
                  <a:gdLst>
                    <a:gd name="T0" fmla="*/ 0 w 14"/>
                    <a:gd name="T1" fmla="*/ 0 h 5"/>
                    <a:gd name="T2" fmla="*/ 7 w 14"/>
                    <a:gd name="T3" fmla="*/ 2 h 5"/>
                    <a:gd name="T4" fmla="*/ 14 w 14"/>
                    <a:gd name="T5" fmla="*/ 5 h 5"/>
                    <a:gd name="T6" fmla="*/ 14 w 14"/>
                    <a:gd name="T7" fmla="*/ 5 h 5"/>
                    <a:gd name="T8" fmla="*/ 7 w 14"/>
                    <a:gd name="T9" fmla="*/ 2 h 5"/>
                    <a:gd name="T10" fmla="*/ 0 w 14"/>
                    <a:gd name="T11" fmla="*/ 0 h 5"/>
                    <a:gd name="T12" fmla="*/ 0 w 14"/>
                    <a:gd name="T13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4" h="5">
                      <a:moveTo>
                        <a:pt x="0" y="0"/>
                      </a:moveTo>
                      <a:lnTo>
                        <a:pt x="7" y="2"/>
                      </a:lnTo>
                      <a:lnTo>
                        <a:pt x="14" y="5"/>
                      </a:lnTo>
                      <a:lnTo>
                        <a:pt x="14" y="5"/>
                      </a:lnTo>
                      <a:lnTo>
                        <a:pt x="7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72020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29" name="Freeform 217"/>
                <p:cNvSpPr>
                  <a:spLocks/>
                </p:cNvSpPr>
                <p:nvPr/>
              </p:nvSpPr>
              <p:spPr bwMode="auto">
                <a:xfrm>
                  <a:off x="6427789" y="3641726"/>
                  <a:ext cx="19050" cy="4763"/>
                </a:xfrm>
                <a:custGeom>
                  <a:avLst/>
                  <a:gdLst>
                    <a:gd name="T0" fmla="*/ 0 w 12"/>
                    <a:gd name="T1" fmla="*/ 0 h 3"/>
                    <a:gd name="T2" fmla="*/ 6 w 12"/>
                    <a:gd name="T3" fmla="*/ 2 h 3"/>
                    <a:gd name="T4" fmla="*/ 12 w 12"/>
                    <a:gd name="T5" fmla="*/ 3 h 3"/>
                    <a:gd name="T6" fmla="*/ 12 w 12"/>
                    <a:gd name="T7" fmla="*/ 3 h 3"/>
                    <a:gd name="T8" fmla="*/ 6 w 12"/>
                    <a:gd name="T9" fmla="*/ 2 h 3"/>
                    <a:gd name="T10" fmla="*/ 0 w 12"/>
                    <a:gd name="T11" fmla="*/ 0 h 3"/>
                    <a:gd name="T12" fmla="*/ 0 w 12"/>
                    <a:gd name="T13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3">
                      <a:moveTo>
                        <a:pt x="0" y="0"/>
                      </a:moveTo>
                      <a:lnTo>
                        <a:pt x="6" y="2"/>
                      </a:lnTo>
                      <a:lnTo>
                        <a:pt x="12" y="3"/>
                      </a:lnTo>
                      <a:lnTo>
                        <a:pt x="12" y="3"/>
                      </a:lnTo>
                      <a:lnTo>
                        <a:pt x="6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520002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30" name="Freeform 218"/>
                <p:cNvSpPr>
                  <a:spLocks noEditPoints="1"/>
                </p:cNvSpPr>
                <p:nvPr/>
              </p:nvSpPr>
              <p:spPr bwMode="auto">
                <a:xfrm>
                  <a:off x="6397626" y="3586163"/>
                  <a:ext cx="547688" cy="365125"/>
                </a:xfrm>
                <a:custGeom>
                  <a:avLst/>
                  <a:gdLst>
                    <a:gd name="T0" fmla="*/ 2 w 345"/>
                    <a:gd name="T1" fmla="*/ 30 h 230"/>
                    <a:gd name="T2" fmla="*/ 9 w 345"/>
                    <a:gd name="T3" fmla="*/ 32 h 230"/>
                    <a:gd name="T4" fmla="*/ 16 w 345"/>
                    <a:gd name="T5" fmla="*/ 35 h 230"/>
                    <a:gd name="T6" fmla="*/ 19 w 345"/>
                    <a:gd name="T7" fmla="*/ 35 h 230"/>
                    <a:gd name="T8" fmla="*/ 25 w 345"/>
                    <a:gd name="T9" fmla="*/ 37 h 230"/>
                    <a:gd name="T10" fmla="*/ 31 w 345"/>
                    <a:gd name="T11" fmla="*/ 38 h 230"/>
                    <a:gd name="T12" fmla="*/ 40 w 345"/>
                    <a:gd name="T13" fmla="*/ 47 h 230"/>
                    <a:gd name="T14" fmla="*/ 19 w 345"/>
                    <a:gd name="T15" fmla="*/ 41 h 230"/>
                    <a:gd name="T16" fmla="*/ 0 w 345"/>
                    <a:gd name="T17" fmla="*/ 31 h 230"/>
                    <a:gd name="T18" fmla="*/ 2 w 345"/>
                    <a:gd name="T19" fmla="*/ 30 h 230"/>
                    <a:gd name="T20" fmla="*/ 98 w 345"/>
                    <a:gd name="T21" fmla="*/ 0 h 230"/>
                    <a:gd name="T22" fmla="*/ 124 w 345"/>
                    <a:gd name="T23" fmla="*/ 5 h 230"/>
                    <a:gd name="T24" fmla="*/ 153 w 345"/>
                    <a:gd name="T25" fmla="*/ 14 h 230"/>
                    <a:gd name="T26" fmla="*/ 182 w 345"/>
                    <a:gd name="T27" fmla="*/ 27 h 230"/>
                    <a:gd name="T28" fmla="*/ 210 w 345"/>
                    <a:gd name="T29" fmla="*/ 41 h 230"/>
                    <a:gd name="T30" fmla="*/ 234 w 345"/>
                    <a:gd name="T31" fmla="*/ 57 h 230"/>
                    <a:gd name="T32" fmla="*/ 258 w 345"/>
                    <a:gd name="T33" fmla="*/ 75 h 230"/>
                    <a:gd name="T34" fmla="*/ 277 w 345"/>
                    <a:gd name="T35" fmla="*/ 93 h 230"/>
                    <a:gd name="T36" fmla="*/ 277 w 345"/>
                    <a:gd name="T37" fmla="*/ 93 h 230"/>
                    <a:gd name="T38" fmla="*/ 291 w 345"/>
                    <a:gd name="T39" fmla="*/ 120 h 230"/>
                    <a:gd name="T40" fmla="*/ 307 w 345"/>
                    <a:gd name="T41" fmla="*/ 150 h 230"/>
                    <a:gd name="T42" fmla="*/ 325 w 345"/>
                    <a:gd name="T43" fmla="*/ 184 h 230"/>
                    <a:gd name="T44" fmla="*/ 345 w 345"/>
                    <a:gd name="T45" fmla="*/ 221 h 230"/>
                    <a:gd name="T46" fmla="*/ 326 w 345"/>
                    <a:gd name="T47" fmla="*/ 230 h 230"/>
                    <a:gd name="T48" fmla="*/ 309 w 345"/>
                    <a:gd name="T49" fmla="*/ 204 h 230"/>
                    <a:gd name="T50" fmla="*/ 294 w 345"/>
                    <a:gd name="T51" fmla="*/ 179 h 230"/>
                    <a:gd name="T52" fmla="*/ 281 w 345"/>
                    <a:gd name="T53" fmla="*/ 156 h 230"/>
                    <a:gd name="T54" fmla="*/ 269 w 345"/>
                    <a:gd name="T55" fmla="*/ 136 h 230"/>
                    <a:gd name="T56" fmla="*/ 258 w 345"/>
                    <a:gd name="T57" fmla="*/ 118 h 230"/>
                    <a:gd name="T58" fmla="*/ 245 w 345"/>
                    <a:gd name="T59" fmla="*/ 102 h 230"/>
                    <a:gd name="T60" fmla="*/ 229 w 345"/>
                    <a:gd name="T61" fmla="*/ 88 h 230"/>
                    <a:gd name="T62" fmla="*/ 210 w 345"/>
                    <a:gd name="T63" fmla="*/ 76 h 230"/>
                    <a:gd name="T64" fmla="*/ 186 w 345"/>
                    <a:gd name="T65" fmla="*/ 67 h 230"/>
                    <a:gd name="T66" fmla="*/ 159 w 345"/>
                    <a:gd name="T67" fmla="*/ 59 h 230"/>
                    <a:gd name="T68" fmla="*/ 125 w 345"/>
                    <a:gd name="T69" fmla="*/ 54 h 230"/>
                    <a:gd name="T70" fmla="*/ 85 w 345"/>
                    <a:gd name="T71" fmla="*/ 50 h 230"/>
                    <a:gd name="T72" fmla="*/ 95 w 345"/>
                    <a:gd name="T73" fmla="*/ 6 h 230"/>
                    <a:gd name="T74" fmla="*/ 96 w 345"/>
                    <a:gd name="T75" fmla="*/ 3 h 230"/>
                    <a:gd name="T76" fmla="*/ 96 w 345"/>
                    <a:gd name="T77" fmla="*/ 2 h 230"/>
                    <a:gd name="T78" fmla="*/ 98 w 345"/>
                    <a:gd name="T79" fmla="*/ 0 h 2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345" h="230">
                      <a:moveTo>
                        <a:pt x="2" y="30"/>
                      </a:moveTo>
                      <a:lnTo>
                        <a:pt x="9" y="32"/>
                      </a:lnTo>
                      <a:lnTo>
                        <a:pt x="16" y="35"/>
                      </a:lnTo>
                      <a:lnTo>
                        <a:pt x="19" y="35"/>
                      </a:lnTo>
                      <a:lnTo>
                        <a:pt x="25" y="37"/>
                      </a:lnTo>
                      <a:lnTo>
                        <a:pt x="31" y="38"/>
                      </a:lnTo>
                      <a:lnTo>
                        <a:pt x="40" y="47"/>
                      </a:lnTo>
                      <a:lnTo>
                        <a:pt x="19" y="41"/>
                      </a:lnTo>
                      <a:lnTo>
                        <a:pt x="0" y="31"/>
                      </a:lnTo>
                      <a:lnTo>
                        <a:pt x="2" y="30"/>
                      </a:lnTo>
                      <a:close/>
                      <a:moveTo>
                        <a:pt x="98" y="0"/>
                      </a:moveTo>
                      <a:lnTo>
                        <a:pt x="124" y="5"/>
                      </a:lnTo>
                      <a:lnTo>
                        <a:pt x="153" y="14"/>
                      </a:lnTo>
                      <a:lnTo>
                        <a:pt x="182" y="27"/>
                      </a:lnTo>
                      <a:lnTo>
                        <a:pt x="210" y="41"/>
                      </a:lnTo>
                      <a:lnTo>
                        <a:pt x="234" y="57"/>
                      </a:lnTo>
                      <a:lnTo>
                        <a:pt x="258" y="75"/>
                      </a:lnTo>
                      <a:lnTo>
                        <a:pt x="277" y="93"/>
                      </a:lnTo>
                      <a:lnTo>
                        <a:pt x="277" y="93"/>
                      </a:lnTo>
                      <a:lnTo>
                        <a:pt x="291" y="120"/>
                      </a:lnTo>
                      <a:lnTo>
                        <a:pt x="307" y="150"/>
                      </a:lnTo>
                      <a:lnTo>
                        <a:pt x="325" y="184"/>
                      </a:lnTo>
                      <a:lnTo>
                        <a:pt x="345" y="221"/>
                      </a:lnTo>
                      <a:lnTo>
                        <a:pt x="326" y="230"/>
                      </a:lnTo>
                      <a:lnTo>
                        <a:pt x="309" y="204"/>
                      </a:lnTo>
                      <a:lnTo>
                        <a:pt x="294" y="179"/>
                      </a:lnTo>
                      <a:lnTo>
                        <a:pt x="281" y="156"/>
                      </a:lnTo>
                      <a:lnTo>
                        <a:pt x="269" y="136"/>
                      </a:lnTo>
                      <a:lnTo>
                        <a:pt x="258" y="118"/>
                      </a:lnTo>
                      <a:lnTo>
                        <a:pt x="245" y="102"/>
                      </a:lnTo>
                      <a:lnTo>
                        <a:pt x="229" y="88"/>
                      </a:lnTo>
                      <a:lnTo>
                        <a:pt x="210" y="76"/>
                      </a:lnTo>
                      <a:lnTo>
                        <a:pt x="186" y="67"/>
                      </a:lnTo>
                      <a:lnTo>
                        <a:pt x="159" y="59"/>
                      </a:lnTo>
                      <a:lnTo>
                        <a:pt x="125" y="54"/>
                      </a:lnTo>
                      <a:lnTo>
                        <a:pt x="85" y="50"/>
                      </a:lnTo>
                      <a:lnTo>
                        <a:pt x="95" y="6"/>
                      </a:lnTo>
                      <a:lnTo>
                        <a:pt x="96" y="3"/>
                      </a:lnTo>
                      <a:lnTo>
                        <a:pt x="96" y="2"/>
                      </a:lnTo>
                      <a:lnTo>
                        <a:pt x="98" y="0"/>
                      </a:lnTo>
                      <a:close/>
                    </a:path>
                  </a:pathLst>
                </a:custGeom>
                <a:solidFill>
                  <a:srgbClr val="78030A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31" name="Freeform 219"/>
                <p:cNvSpPr>
                  <a:spLocks/>
                </p:cNvSpPr>
                <p:nvPr/>
              </p:nvSpPr>
              <p:spPr bwMode="auto">
                <a:xfrm>
                  <a:off x="6261101" y="3071813"/>
                  <a:ext cx="352425" cy="508000"/>
                </a:xfrm>
                <a:custGeom>
                  <a:avLst/>
                  <a:gdLst>
                    <a:gd name="T0" fmla="*/ 111 w 222"/>
                    <a:gd name="T1" fmla="*/ 0 h 320"/>
                    <a:gd name="T2" fmla="*/ 136 w 222"/>
                    <a:gd name="T3" fmla="*/ 3 h 320"/>
                    <a:gd name="T4" fmla="*/ 159 w 222"/>
                    <a:gd name="T5" fmla="*/ 15 h 320"/>
                    <a:gd name="T6" fmla="*/ 179 w 222"/>
                    <a:gd name="T7" fmla="*/ 32 h 320"/>
                    <a:gd name="T8" fmla="*/ 197 w 222"/>
                    <a:gd name="T9" fmla="*/ 57 h 320"/>
                    <a:gd name="T10" fmla="*/ 210 w 222"/>
                    <a:gd name="T11" fmla="*/ 86 h 320"/>
                    <a:gd name="T12" fmla="*/ 219 w 222"/>
                    <a:gd name="T13" fmla="*/ 119 h 320"/>
                    <a:gd name="T14" fmla="*/ 222 w 222"/>
                    <a:gd name="T15" fmla="*/ 156 h 320"/>
                    <a:gd name="T16" fmla="*/ 217 w 222"/>
                    <a:gd name="T17" fmla="*/ 194 h 320"/>
                    <a:gd name="T18" fmla="*/ 207 w 222"/>
                    <a:gd name="T19" fmla="*/ 229 h 320"/>
                    <a:gd name="T20" fmla="*/ 192 w 222"/>
                    <a:gd name="T21" fmla="*/ 259 h 320"/>
                    <a:gd name="T22" fmla="*/ 174 w 222"/>
                    <a:gd name="T23" fmla="*/ 284 h 320"/>
                    <a:gd name="T24" fmla="*/ 152 w 222"/>
                    <a:gd name="T25" fmla="*/ 303 h 320"/>
                    <a:gd name="T26" fmla="*/ 131 w 222"/>
                    <a:gd name="T27" fmla="*/ 316 h 320"/>
                    <a:gd name="T28" fmla="*/ 111 w 222"/>
                    <a:gd name="T29" fmla="*/ 320 h 320"/>
                    <a:gd name="T30" fmla="*/ 89 w 222"/>
                    <a:gd name="T31" fmla="*/ 316 h 320"/>
                    <a:gd name="T32" fmla="*/ 67 w 222"/>
                    <a:gd name="T33" fmla="*/ 303 h 320"/>
                    <a:gd name="T34" fmla="*/ 47 w 222"/>
                    <a:gd name="T35" fmla="*/ 284 h 320"/>
                    <a:gd name="T36" fmla="*/ 28 w 222"/>
                    <a:gd name="T37" fmla="*/ 259 h 320"/>
                    <a:gd name="T38" fmla="*/ 14 w 222"/>
                    <a:gd name="T39" fmla="*/ 229 h 320"/>
                    <a:gd name="T40" fmla="*/ 3 w 222"/>
                    <a:gd name="T41" fmla="*/ 194 h 320"/>
                    <a:gd name="T42" fmla="*/ 0 w 222"/>
                    <a:gd name="T43" fmla="*/ 156 h 320"/>
                    <a:gd name="T44" fmla="*/ 3 w 222"/>
                    <a:gd name="T45" fmla="*/ 119 h 320"/>
                    <a:gd name="T46" fmla="*/ 11 w 222"/>
                    <a:gd name="T47" fmla="*/ 86 h 320"/>
                    <a:gd name="T48" fmla="*/ 24 w 222"/>
                    <a:gd name="T49" fmla="*/ 57 h 320"/>
                    <a:gd name="T50" fmla="*/ 41 w 222"/>
                    <a:gd name="T51" fmla="*/ 32 h 320"/>
                    <a:gd name="T52" fmla="*/ 62 w 222"/>
                    <a:gd name="T53" fmla="*/ 15 h 320"/>
                    <a:gd name="T54" fmla="*/ 85 w 222"/>
                    <a:gd name="T55" fmla="*/ 3 h 320"/>
                    <a:gd name="T56" fmla="*/ 111 w 222"/>
                    <a:gd name="T57" fmla="*/ 0 h 3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222" h="320">
                      <a:moveTo>
                        <a:pt x="111" y="0"/>
                      </a:moveTo>
                      <a:lnTo>
                        <a:pt x="136" y="3"/>
                      </a:lnTo>
                      <a:lnTo>
                        <a:pt x="159" y="15"/>
                      </a:lnTo>
                      <a:lnTo>
                        <a:pt x="179" y="32"/>
                      </a:lnTo>
                      <a:lnTo>
                        <a:pt x="197" y="57"/>
                      </a:lnTo>
                      <a:lnTo>
                        <a:pt x="210" y="86"/>
                      </a:lnTo>
                      <a:lnTo>
                        <a:pt x="219" y="119"/>
                      </a:lnTo>
                      <a:lnTo>
                        <a:pt x="222" y="156"/>
                      </a:lnTo>
                      <a:lnTo>
                        <a:pt x="217" y="194"/>
                      </a:lnTo>
                      <a:lnTo>
                        <a:pt x="207" y="229"/>
                      </a:lnTo>
                      <a:lnTo>
                        <a:pt x="192" y="259"/>
                      </a:lnTo>
                      <a:lnTo>
                        <a:pt x="174" y="284"/>
                      </a:lnTo>
                      <a:lnTo>
                        <a:pt x="152" y="303"/>
                      </a:lnTo>
                      <a:lnTo>
                        <a:pt x="131" y="316"/>
                      </a:lnTo>
                      <a:lnTo>
                        <a:pt x="111" y="320"/>
                      </a:lnTo>
                      <a:lnTo>
                        <a:pt x="89" y="316"/>
                      </a:lnTo>
                      <a:lnTo>
                        <a:pt x="67" y="303"/>
                      </a:lnTo>
                      <a:lnTo>
                        <a:pt x="47" y="284"/>
                      </a:lnTo>
                      <a:lnTo>
                        <a:pt x="28" y="259"/>
                      </a:lnTo>
                      <a:lnTo>
                        <a:pt x="14" y="229"/>
                      </a:lnTo>
                      <a:lnTo>
                        <a:pt x="3" y="194"/>
                      </a:lnTo>
                      <a:lnTo>
                        <a:pt x="0" y="156"/>
                      </a:lnTo>
                      <a:lnTo>
                        <a:pt x="3" y="119"/>
                      </a:lnTo>
                      <a:lnTo>
                        <a:pt x="11" y="86"/>
                      </a:lnTo>
                      <a:lnTo>
                        <a:pt x="24" y="57"/>
                      </a:lnTo>
                      <a:lnTo>
                        <a:pt x="41" y="32"/>
                      </a:lnTo>
                      <a:lnTo>
                        <a:pt x="62" y="15"/>
                      </a:lnTo>
                      <a:lnTo>
                        <a:pt x="85" y="3"/>
                      </a:lnTo>
                      <a:lnTo>
                        <a:pt x="111" y="0"/>
                      </a:lnTo>
                      <a:close/>
                    </a:path>
                  </a:pathLst>
                </a:custGeom>
                <a:solidFill>
                  <a:srgbClr val="F2D2B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32" name="Freeform 220"/>
                <p:cNvSpPr>
                  <a:spLocks/>
                </p:cNvSpPr>
                <p:nvPr/>
              </p:nvSpPr>
              <p:spPr bwMode="auto">
                <a:xfrm>
                  <a:off x="6243639" y="3035301"/>
                  <a:ext cx="381000" cy="314325"/>
                </a:xfrm>
                <a:custGeom>
                  <a:avLst/>
                  <a:gdLst>
                    <a:gd name="T0" fmla="*/ 87 w 240"/>
                    <a:gd name="T1" fmla="*/ 0 h 198"/>
                    <a:gd name="T2" fmla="*/ 113 w 240"/>
                    <a:gd name="T3" fmla="*/ 0 h 198"/>
                    <a:gd name="T4" fmla="*/ 137 w 240"/>
                    <a:gd name="T5" fmla="*/ 6 h 198"/>
                    <a:gd name="T6" fmla="*/ 154 w 240"/>
                    <a:gd name="T7" fmla="*/ 15 h 198"/>
                    <a:gd name="T8" fmla="*/ 167 w 240"/>
                    <a:gd name="T9" fmla="*/ 23 h 198"/>
                    <a:gd name="T10" fmla="*/ 177 w 240"/>
                    <a:gd name="T11" fmla="*/ 31 h 198"/>
                    <a:gd name="T12" fmla="*/ 187 w 240"/>
                    <a:gd name="T13" fmla="*/ 35 h 198"/>
                    <a:gd name="T14" fmla="*/ 208 w 240"/>
                    <a:gd name="T15" fmla="*/ 42 h 198"/>
                    <a:gd name="T16" fmla="*/ 222 w 240"/>
                    <a:gd name="T17" fmla="*/ 52 h 198"/>
                    <a:gd name="T18" fmla="*/ 233 w 240"/>
                    <a:gd name="T19" fmla="*/ 64 h 198"/>
                    <a:gd name="T20" fmla="*/ 237 w 240"/>
                    <a:gd name="T21" fmla="*/ 77 h 198"/>
                    <a:gd name="T22" fmla="*/ 240 w 240"/>
                    <a:gd name="T23" fmla="*/ 93 h 198"/>
                    <a:gd name="T24" fmla="*/ 240 w 240"/>
                    <a:gd name="T25" fmla="*/ 108 h 198"/>
                    <a:gd name="T26" fmla="*/ 240 w 240"/>
                    <a:gd name="T27" fmla="*/ 125 h 198"/>
                    <a:gd name="T28" fmla="*/ 240 w 240"/>
                    <a:gd name="T29" fmla="*/ 141 h 198"/>
                    <a:gd name="T30" fmla="*/ 238 w 240"/>
                    <a:gd name="T31" fmla="*/ 153 h 198"/>
                    <a:gd name="T32" fmla="*/ 237 w 240"/>
                    <a:gd name="T33" fmla="*/ 166 h 198"/>
                    <a:gd name="T34" fmla="*/ 234 w 240"/>
                    <a:gd name="T35" fmla="*/ 177 h 198"/>
                    <a:gd name="T36" fmla="*/ 231 w 240"/>
                    <a:gd name="T37" fmla="*/ 186 h 198"/>
                    <a:gd name="T38" fmla="*/ 230 w 240"/>
                    <a:gd name="T39" fmla="*/ 192 h 198"/>
                    <a:gd name="T40" fmla="*/ 228 w 240"/>
                    <a:gd name="T41" fmla="*/ 193 h 198"/>
                    <a:gd name="T42" fmla="*/ 228 w 240"/>
                    <a:gd name="T43" fmla="*/ 189 h 198"/>
                    <a:gd name="T44" fmla="*/ 227 w 240"/>
                    <a:gd name="T45" fmla="*/ 173 h 198"/>
                    <a:gd name="T46" fmla="*/ 222 w 240"/>
                    <a:gd name="T47" fmla="*/ 154 h 198"/>
                    <a:gd name="T48" fmla="*/ 217 w 240"/>
                    <a:gd name="T49" fmla="*/ 137 h 198"/>
                    <a:gd name="T50" fmla="*/ 209 w 240"/>
                    <a:gd name="T51" fmla="*/ 122 h 198"/>
                    <a:gd name="T52" fmla="*/ 202 w 240"/>
                    <a:gd name="T53" fmla="*/ 112 h 198"/>
                    <a:gd name="T54" fmla="*/ 193 w 240"/>
                    <a:gd name="T55" fmla="*/ 106 h 198"/>
                    <a:gd name="T56" fmla="*/ 183 w 240"/>
                    <a:gd name="T57" fmla="*/ 103 h 198"/>
                    <a:gd name="T58" fmla="*/ 174 w 240"/>
                    <a:gd name="T59" fmla="*/ 105 h 198"/>
                    <a:gd name="T60" fmla="*/ 166 w 240"/>
                    <a:gd name="T61" fmla="*/ 109 h 198"/>
                    <a:gd name="T62" fmla="*/ 147 w 240"/>
                    <a:gd name="T63" fmla="*/ 122 h 198"/>
                    <a:gd name="T64" fmla="*/ 126 w 240"/>
                    <a:gd name="T65" fmla="*/ 128 h 198"/>
                    <a:gd name="T66" fmla="*/ 106 w 240"/>
                    <a:gd name="T67" fmla="*/ 129 h 198"/>
                    <a:gd name="T68" fmla="*/ 86 w 240"/>
                    <a:gd name="T69" fmla="*/ 127 h 198"/>
                    <a:gd name="T70" fmla="*/ 68 w 240"/>
                    <a:gd name="T71" fmla="*/ 121 h 198"/>
                    <a:gd name="T72" fmla="*/ 54 w 240"/>
                    <a:gd name="T73" fmla="*/ 116 h 198"/>
                    <a:gd name="T74" fmla="*/ 41 w 240"/>
                    <a:gd name="T75" fmla="*/ 113 h 198"/>
                    <a:gd name="T76" fmla="*/ 32 w 240"/>
                    <a:gd name="T77" fmla="*/ 115 h 198"/>
                    <a:gd name="T78" fmla="*/ 27 w 240"/>
                    <a:gd name="T79" fmla="*/ 119 h 198"/>
                    <a:gd name="T80" fmla="*/ 25 w 240"/>
                    <a:gd name="T81" fmla="*/ 129 h 198"/>
                    <a:gd name="T82" fmla="*/ 20 w 240"/>
                    <a:gd name="T83" fmla="*/ 144 h 198"/>
                    <a:gd name="T84" fmla="*/ 16 w 240"/>
                    <a:gd name="T85" fmla="*/ 160 h 198"/>
                    <a:gd name="T86" fmla="*/ 13 w 240"/>
                    <a:gd name="T87" fmla="*/ 176 h 198"/>
                    <a:gd name="T88" fmla="*/ 13 w 240"/>
                    <a:gd name="T89" fmla="*/ 189 h 198"/>
                    <a:gd name="T90" fmla="*/ 14 w 240"/>
                    <a:gd name="T91" fmla="*/ 196 h 198"/>
                    <a:gd name="T92" fmla="*/ 13 w 240"/>
                    <a:gd name="T93" fmla="*/ 198 h 198"/>
                    <a:gd name="T94" fmla="*/ 10 w 240"/>
                    <a:gd name="T95" fmla="*/ 192 h 198"/>
                    <a:gd name="T96" fmla="*/ 7 w 240"/>
                    <a:gd name="T97" fmla="*/ 183 h 198"/>
                    <a:gd name="T98" fmla="*/ 3 w 240"/>
                    <a:gd name="T99" fmla="*/ 172 h 198"/>
                    <a:gd name="T100" fmla="*/ 1 w 240"/>
                    <a:gd name="T101" fmla="*/ 158 h 198"/>
                    <a:gd name="T102" fmla="*/ 0 w 240"/>
                    <a:gd name="T103" fmla="*/ 144 h 198"/>
                    <a:gd name="T104" fmla="*/ 0 w 240"/>
                    <a:gd name="T105" fmla="*/ 124 h 198"/>
                    <a:gd name="T106" fmla="*/ 3 w 240"/>
                    <a:gd name="T107" fmla="*/ 102 h 198"/>
                    <a:gd name="T108" fmla="*/ 6 w 240"/>
                    <a:gd name="T109" fmla="*/ 81 h 198"/>
                    <a:gd name="T110" fmla="*/ 11 w 240"/>
                    <a:gd name="T111" fmla="*/ 61 h 198"/>
                    <a:gd name="T112" fmla="*/ 20 w 240"/>
                    <a:gd name="T113" fmla="*/ 42 h 198"/>
                    <a:gd name="T114" fmla="*/ 32 w 240"/>
                    <a:gd name="T115" fmla="*/ 26 h 198"/>
                    <a:gd name="T116" fmla="*/ 46 w 240"/>
                    <a:gd name="T117" fmla="*/ 13 h 198"/>
                    <a:gd name="T118" fmla="*/ 65 w 240"/>
                    <a:gd name="T119" fmla="*/ 4 h 198"/>
                    <a:gd name="T120" fmla="*/ 87 w 240"/>
                    <a:gd name="T121" fmla="*/ 0 h 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240" h="198">
                      <a:moveTo>
                        <a:pt x="87" y="0"/>
                      </a:moveTo>
                      <a:lnTo>
                        <a:pt x="113" y="0"/>
                      </a:lnTo>
                      <a:lnTo>
                        <a:pt x="137" y="6"/>
                      </a:lnTo>
                      <a:lnTo>
                        <a:pt x="154" y="15"/>
                      </a:lnTo>
                      <a:lnTo>
                        <a:pt x="167" y="23"/>
                      </a:lnTo>
                      <a:lnTo>
                        <a:pt x="177" y="31"/>
                      </a:lnTo>
                      <a:lnTo>
                        <a:pt x="187" y="35"/>
                      </a:lnTo>
                      <a:lnTo>
                        <a:pt x="208" y="42"/>
                      </a:lnTo>
                      <a:lnTo>
                        <a:pt x="222" y="52"/>
                      </a:lnTo>
                      <a:lnTo>
                        <a:pt x="233" y="64"/>
                      </a:lnTo>
                      <a:lnTo>
                        <a:pt x="237" y="77"/>
                      </a:lnTo>
                      <a:lnTo>
                        <a:pt x="240" y="93"/>
                      </a:lnTo>
                      <a:lnTo>
                        <a:pt x="240" y="108"/>
                      </a:lnTo>
                      <a:lnTo>
                        <a:pt x="240" y="125"/>
                      </a:lnTo>
                      <a:lnTo>
                        <a:pt x="240" y="141"/>
                      </a:lnTo>
                      <a:lnTo>
                        <a:pt x="238" y="153"/>
                      </a:lnTo>
                      <a:lnTo>
                        <a:pt x="237" y="166"/>
                      </a:lnTo>
                      <a:lnTo>
                        <a:pt x="234" y="177"/>
                      </a:lnTo>
                      <a:lnTo>
                        <a:pt x="231" y="186"/>
                      </a:lnTo>
                      <a:lnTo>
                        <a:pt x="230" y="192"/>
                      </a:lnTo>
                      <a:lnTo>
                        <a:pt x="228" y="193"/>
                      </a:lnTo>
                      <a:lnTo>
                        <a:pt x="228" y="189"/>
                      </a:lnTo>
                      <a:lnTo>
                        <a:pt x="227" y="173"/>
                      </a:lnTo>
                      <a:lnTo>
                        <a:pt x="222" y="154"/>
                      </a:lnTo>
                      <a:lnTo>
                        <a:pt x="217" y="137"/>
                      </a:lnTo>
                      <a:lnTo>
                        <a:pt x="209" y="122"/>
                      </a:lnTo>
                      <a:lnTo>
                        <a:pt x="202" y="112"/>
                      </a:lnTo>
                      <a:lnTo>
                        <a:pt x="193" y="106"/>
                      </a:lnTo>
                      <a:lnTo>
                        <a:pt x="183" y="103"/>
                      </a:lnTo>
                      <a:lnTo>
                        <a:pt x="174" y="105"/>
                      </a:lnTo>
                      <a:lnTo>
                        <a:pt x="166" y="109"/>
                      </a:lnTo>
                      <a:lnTo>
                        <a:pt x="147" y="122"/>
                      </a:lnTo>
                      <a:lnTo>
                        <a:pt x="126" y="128"/>
                      </a:lnTo>
                      <a:lnTo>
                        <a:pt x="106" y="129"/>
                      </a:lnTo>
                      <a:lnTo>
                        <a:pt x="86" y="127"/>
                      </a:lnTo>
                      <a:lnTo>
                        <a:pt x="68" y="121"/>
                      </a:lnTo>
                      <a:lnTo>
                        <a:pt x="54" y="116"/>
                      </a:lnTo>
                      <a:lnTo>
                        <a:pt x="41" y="113"/>
                      </a:lnTo>
                      <a:lnTo>
                        <a:pt x="32" y="115"/>
                      </a:lnTo>
                      <a:lnTo>
                        <a:pt x="27" y="119"/>
                      </a:lnTo>
                      <a:lnTo>
                        <a:pt x="25" y="129"/>
                      </a:lnTo>
                      <a:lnTo>
                        <a:pt x="20" y="144"/>
                      </a:lnTo>
                      <a:lnTo>
                        <a:pt x="16" y="160"/>
                      </a:lnTo>
                      <a:lnTo>
                        <a:pt x="13" y="176"/>
                      </a:lnTo>
                      <a:lnTo>
                        <a:pt x="13" y="189"/>
                      </a:lnTo>
                      <a:lnTo>
                        <a:pt x="14" y="196"/>
                      </a:lnTo>
                      <a:lnTo>
                        <a:pt x="13" y="198"/>
                      </a:lnTo>
                      <a:lnTo>
                        <a:pt x="10" y="192"/>
                      </a:lnTo>
                      <a:lnTo>
                        <a:pt x="7" y="183"/>
                      </a:lnTo>
                      <a:lnTo>
                        <a:pt x="3" y="172"/>
                      </a:lnTo>
                      <a:lnTo>
                        <a:pt x="1" y="158"/>
                      </a:lnTo>
                      <a:lnTo>
                        <a:pt x="0" y="144"/>
                      </a:lnTo>
                      <a:lnTo>
                        <a:pt x="0" y="124"/>
                      </a:lnTo>
                      <a:lnTo>
                        <a:pt x="3" y="102"/>
                      </a:lnTo>
                      <a:lnTo>
                        <a:pt x="6" y="81"/>
                      </a:lnTo>
                      <a:lnTo>
                        <a:pt x="11" y="61"/>
                      </a:lnTo>
                      <a:lnTo>
                        <a:pt x="20" y="42"/>
                      </a:lnTo>
                      <a:lnTo>
                        <a:pt x="32" y="26"/>
                      </a:lnTo>
                      <a:lnTo>
                        <a:pt x="46" y="13"/>
                      </a:lnTo>
                      <a:lnTo>
                        <a:pt x="65" y="4"/>
                      </a:lnTo>
                      <a:lnTo>
                        <a:pt x="87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33" name="Freeform 221"/>
                <p:cNvSpPr>
                  <a:spLocks noEditPoints="1"/>
                </p:cNvSpPr>
                <p:nvPr/>
              </p:nvSpPr>
              <p:spPr bwMode="auto">
                <a:xfrm>
                  <a:off x="6564314" y="3213101"/>
                  <a:ext cx="34925" cy="76200"/>
                </a:xfrm>
                <a:custGeom>
                  <a:avLst/>
                  <a:gdLst>
                    <a:gd name="T0" fmla="*/ 20 w 22"/>
                    <a:gd name="T1" fmla="*/ 42 h 48"/>
                    <a:gd name="T2" fmla="*/ 22 w 22"/>
                    <a:gd name="T3" fmla="*/ 48 h 48"/>
                    <a:gd name="T4" fmla="*/ 22 w 22"/>
                    <a:gd name="T5" fmla="*/ 48 h 48"/>
                    <a:gd name="T6" fmla="*/ 20 w 22"/>
                    <a:gd name="T7" fmla="*/ 45 h 48"/>
                    <a:gd name="T8" fmla="*/ 20 w 22"/>
                    <a:gd name="T9" fmla="*/ 42 h 48"/>
                    <a:gd name="T10" fmla="*/ 17 w 22"/>
                    <a:gd name="T11" fmla="*/ 33 h 48"/>
                    <a:gd name="T12" fmla="*/ 19 w 22"/>
                    <a:gd name="T13" fmla="*/ 35 h 48"/>
                    <a:gd name="T14" fmla="*/ 20 w 22"/>
                    <a:gd name="T15" fmla="*/ 42 h 48"/>
                    <a:gd name="T16" fmla="*/ 17 w 22"/>
                    <a:gd name="T17" fmla="*/ 33 h 48"/>
                    <a:gd name="T18" fmla="*/ 15 w 22"/>
                    <a:gd name="T19" fmla="*/ 25 h 48"/>
                    <a:gd name="T20" fmla="*/ 16 w 22"/>
                    <a:gd name="T21" fmla="*/ 28 h 48"/>
                    <a:gd name="T22" fmla="*/ 17 w 22"/>
                    <a:gd name="T23" fmla="*/ 33 h 48"/>
                    <a:gd name="T24" fmla="*/ 15 w 22"/>
                    <a:gd name="T25" fmla="*/ 25 h 48"/>
                    <a:gd name="T26" fmla="*/ 10 w 22"/>
                    <a:gd name="T27" fmla="*/ 16 h 48"/>
                    <a:gd name="T28" fmla="*/ 15 w 22"/>
                    <a:gd name="T29" fmla="*/ 23 h 48"/>
                    <a:gd name="T30" fmla="*/ 15 w 22"/>
                    <a:gd name="T31" fmla="*/ 25 h 48"/>
                    <a:gd name="T32" fmla="*/ 10 w 22"/>
                    <a:gd name="T33" fmla="*/ 16 h 48"/>
                    <a:gd name="T34" fmla="*/ 4 w 22"/>
                    <a:gd name="T35" fmla="*/ 6 h 48"/>
                    <a:gd name="T36" fmla="*/ 9 w 22"/>
                    <a:gd name="T37" fmla="*/ 10 h 48"/>
                    <a:gd name="T38" fmla="*/ 10 w 22"/>
                    <a:gd name="T39" fmla="*/ 16 h 48"/>
                    <a:gd name="T40" fmla="*/ 7 w 22"/>
                    <a:gd name="T41" fmla="*/ 10 h 48"/>
                    <a:gd name="T42" fmla="*/ 4 w 22"/>
                    <a:gd name="T43" fmla="*/ 6 h 48"/>
                    <a:gd name="T44" fmla="*/ 0 w 22"/>
                    <a:gd name="T45" fmla="*/ 0 h 48"/>
                    <a:gd name="T46" fmla="*/ 0 w 22"/>
                    <a:gd name="T47" fmla="*/ 0 h 48"/>
                    <a:gd name="T48" fmla="*/ 4 w 22"/>
                    <a:gd name="T49" fmla="*/ 6 h 48"/>
                    <a:gd name="T50" fmla="*/ 0 w 22"/>
                    <a:gd name="T51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22" h="48">
                      <a:moveTo>
                        <a:pt x="20" y="42"/>
                      </a:moveTo>
                      <a:lnTo>
                        <a:pt x="22" y="48"/>
                      </a:lnTo>
                      <a:lnTo>
                        <a:pt x="22" y="48"/>
                      </a:lnTo>
                      <a:lnTo>
                        <a:pt x="20" y="45"/>
                      </a:lnTo>
                      <a:lnTo>
                        <a:pt x="20" y="42"/>
                      </a:lnTo>
                      <a:close/>
                      <a:moveTo>
                        <a:pt x="17" y="33"/>
                      </a:moveTo>
                      <a:lnTo>
                        <a:pt x="19" y="35"/>
                      </a:lnTo>
                      <a:lnTo>
                        <a:pt x="20" y="42"/>
                      </a:lnTo>
                      <a:lnTo>
                        <a:pt x="17" y="33"/>
                      </a:lnTo>
                      <a:close/>
                      <a:moveTo>
                        <a:pt x="15" y="25"/>
                      </a:moveTo>
                      <a:lnTo>
                        <a:pt x="16" y="28"/>
                      </a:lnTo>
                      <a:lnTo>
                        <a:pt x="17" y="33"/>
                      </a:lnTo>
                      <a:lnTo>
                        <a:pt x="15" y="25"/>
                      </a:lnTo>
                      <a:close/>
                      <a:moveTo>
                        <a:pt x="10" y="16"/>
                      </a:moveTo>
                      <a:lnTo>
                        <a:pt x="15" y="23"/>
                      </a:lnTo>
                      <a:lnTo>
                        <a:pt x="15" y="25"/>
                      </a:lnTo>
                      <a:lnTo>
                        <a:pt x="10" y="16"/>
                      </a:lnTo>
                      <a:close/>
                      <a:moveTo>
                        <a:pt x="4" y="6"/>
                      </a:moveTo>
                      <a:lnTo>
                        <a:pt x="9" y="10"/>
                      </a:lnTo>
                      <a:lnTo>
                        <a:pt x="10" y="16"/>
                      </a:lnTo>
                      <a:lnTo>
                        <a:pt x="7" y="10"/>
                      </a:lnTo>
                      <a:lnTo>
                        <a:pt x="4" y="6"/>
                      </a:lnTo>
                      <a:close/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4" y="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2A632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34" name="Freeform 222"/>
                <p:cNvSpPr>
                  <a:spLocks noEditPoints="1"/>
                </p:cNvSpPr>
                <p:nvPr/>
              </p:nvSpPr>
              <p:spPr bwMode="auto">
                <a:xfrm>
                  <a:off x="6376989" y="3035301"/>
                  <a:ext cx="247650" cy="268288"/>
                </a:xfrm>
                <a:custGeom>
                  <a:avLst/>
                  <a:gdLst>
                    <a:gd name="T0" fmla="*/ 144 w 156"/>
                    <a:gd name="T1" fmla="*/ 160 h 169"/>
                    <a:gd name="T2" fmla="*/ 149 w 156"/>
                    <a:gd name="T3" fmla="*/ 163 h 169"/>
                    <a:gd name="T4" fmla="*/ 151 w 156"/>
                    <a:gd name="T5" fmla="*/ 169 h 169"/>
                    <a:gd name="T6" fmla="*/ 149 w 156"/>
                    <a:gd name="T7" fmla="*/ 163 h 169"/>
                    <a:gd name="T8" fmla="*/ 144 w 156"/>
                    <a:gd name="T9" fmla="*/ 160 h 169"/>
                    <a:gd name="T10" fmla="*/ 16 w 156"/>
                    <a:gd name="T11" fmla="*/ 0 h 169"/>
                    <a:gd name="T12" fmla="*/ 23 w 156"/>
                    <a:gd name="T13" fmla="*/ 0 h 169"/>
                    <a:gd name="T14" fmla="*/ 29 w 156"/>
                    <a:gd name="T15" fmla="*/ 0 h 169"/>
                    <a:gd name="T16" fmla="*/ 29 w 156"/>
                    <a:gd name="T17" fmla="*/ 0 h 169"/>
                    <a:gd name="T18" fmla="*/ 53 w 156"/>
                    <a:gd name="T19" fmla="*/ 6 h 169"/>
                    <a:gd name="T20" fmla="*/ 70 w 156"/>
                    <a:gd name="T21" fmla="*/ 15 h 169"/>
                    <a:gd name="T22" fmla="*/ 83 w 156"/>
                    <a:gd name="T23" fmla="*/ 23 h 169"/>
                    <a:gd name="T24" fmla="*/ 93 w 156"/>
                    <a:gd name="T25" fmla="*/ 31 h 169"/>
                    <a:gd name="T26" fmla="*/ 103 w 156"/>
                    <a:gd name="T27" fmla="*/ 35 h 169"/>
                    <a:gd name="T28" fmla="*/ 124 w 156"/>
                    <a:gd name="T29" fmla="*/ 42 h 169"/>
                    <a:gd name="T30" fmla="*/ 137 w 156"/>
                    <a:gd name="T31" fmla="*/ 51 h 169"/>
                    <a:gd name="T32" fmla="*/ 147 w 156"/>
                    <a:gd name="T33" fmla="*/ 63 h 169"/>
                    <a:gd name="T34" fmla="*/ 153 w 156"/>
                    <a:gd name="T35" fmla="*/ 76 h 169"/>
                    <a:gd name="T36" fmla="*/ 156 w 156"/>
                    <a:gd name="T37" fmla="*/ 90 h 169"/>
                    <a:gd name="T38" fmla="*/ 156 w 156"/>
                    <a:gd name="T39" fmla="*/ 105 h 169"/>
                    <a:gd name="T40" fmla="*/ 156 w 156"/>
                    <a:gd name="T41" fmla="*/ 141 h 169"/>
                    <a:gd name="T42" fmla="*/ 154 w 156"/>
                    <a:gd name="T43" fmla="*/ 154 h 169"/>
                    <a:gd name="T44" fmla="*/ 151 w 156"/>
                    <a:gd name="T45" fmla="*/ 169 h 169"/>
                    <a:gd name="T46" fmla="*/ 150 w 156"/>
                    <a:gd name="T47" fmla="*/ 164 h 169"/>
                    <a:gd name="T48" fmla="*/ 149 w 156"/>
                    <a:gd name="T49" fmla="*/ 163 h 169"/>
                    <a:gd name="T50" fmla="*/ 147 w 156"/>
                    <a:gd name="T51" fmla="*/ 163 h 169"/>
                    <a:gd name="T52" fmla="*/ 147 w 156"/>
                    <a:gd name="T53" fmla="*/ 161 h 169"/>
                    <a:gd name="T54" fmla="*/ 144 w 156"/>
                    <a:gd name="T55" fmla="*/ 160 h 169"/>
                    <a:gd name="T56" fmla="*/ 143 w 156"/>
                    <a:gd name="T57" fmla="*/ 160 h 169"/>
                    <a:gd name="T58" fmla="*/ 141 w 156"/>
                    <a:gd name="T59" fmla="*/ 160 h 169"/>
                    <a:gd name="T60" fmla="*/ 141 w 156"/>
                    <a:gd name="T61" fmla="*/ 160 h 169"/>
                    <a:gd name="T62" fmla="*/ 140 w 156"/>
                    <a:gd name="T63" fmla="*/ 160 h 169"/>
                    <a:gd name="T64" fmla="*/ 134 w 156"/>
                    <a:gd name="T65" fmla="*/ 140 h 169"/>
                    <a:gd name="T66" fmla="*/ 127 w 156"/>
                    <a:gd name="T67" fmla="*/ 122 h 169"/>
                    <a:gd name="T68" fmla="*/ 118 w 156"/>
                    <a:gd name="T69" fmla="*/ 112 h 169"/>
                    <a:gd name="T70" fmla="*/ 105 w 156"/>
                    <a:gd name="T71" fmla="*/ 96 h 169"/>
                    <a:gd name="T72" fmla="*/ 95 w 156"/>
                    <a:gd name="T73" fmla="*/ 80 h 169"/>
                    <a:gd name="T74" fmla="*/ 85 w 156"/>
                    <a:gd name="T75" fmla="*/ 64 h 169"/>
                    <a:gd name="T76" fmla="*/ 76 w 156"/>
                    <a:gd name="T77" fmla="*/ 48 h 169"/>
                    <a:gd name="T78" fmla="*/ 63 w 156"/>
                    <a:gd name="T79" fmla="*/ 33 h 169"/>
                    <a:gd name="T80" fmla="*/ 48 w 156"/>
                    <a:gd name="T81" fmla="*/ 20 h 169"/>
                    <a:gd name="T82" fmla="*/ 28 w 156"/>
                    <a:gd name="T83" fmla="*/ 10 h 169"/>
                    <a:gd name="T84" fmla="*/ 0 w 156"/>
                    <a:gd name="T85" fmla="*/ 0 h 169"/>
                    <a:gd name="T86" fmla="*/ 0 w 156"/>
                    <a:gd name="T87" fmla="*/ 0 h 169"/>
                    <a:gd name="T88" fmla="*/ 3 w 156"/>
                    <a:gd name="T89" fmla="*/ 0 h 169"/>
                    <a:gd name="T90" fmla="*/ 6 w 156"/>
                    <a:gd name="T91" fmla="*/ 0 h 169"/>
                    <a:gd name="T92" fmla="*/ 10 w 156"/>
                    <a:gd name="T93" fmla="*/ 0 h 169"/>
                    <a:gd name="T94" fmla="*/ 16 w 156"/>
                    <a:gd name="T95" fmla="*/ 0 h 1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156" h="169">
                      <a:moveTo>
                        <a:pt x="144" y="160"/>
                      </a:moveTo>
                      <a:lnTo>
                        <a:pt x="149" y="163"/>
                      </a:lnTo>
                      <a:lnTo>
                        <a:pt x="151" y="169"/>
                      </a:lnTo>
                      <a:lnTo>
                        <a:pt x="149" y="163"/>
                      </a:lnTo>
                      <a:lnTo>
                        <a:pt x="144" y="160"/>
                      </a:lnTo>
                      <a:close/>
                      <a:moveTo>
                        <a:pt x="16" y="0"/>
                      </a:moveTo>
                      <a:lnTo>
                        <a:pt x="23" y="0"/>
                      </a:lnTo>
                      <a:lnTo>
                        <a:pt x="29" y="0"/>
                      </a:lnTo>
                      <a:lnTo>
                        <a:pt x="29" y="0"/>
                      </a:lnTo>
                      <a:lnTo>
                        <a:pt x="53" y="6"/>
                      </a:lnTo>
                      <a:lnTo>
                        <a:pt x="70" y="15"/>
                      </a:lnTo>
                      <a:lnTo>
                        <a:pt x="83" y="23"/>
                      </a:lnTo>
                      <a:lnTo>
                        <a:pt x="93" y="31"/>
                      </a:lnTo>
                      <a:lnTo>
                        <a:pt x="103" y="35"/>
                      </a:lnTo>
                      <a:lnTo>
                        <a:pt x="124" y="42"/>
                      </a:lnTo>
                      <a:lnTo>
                        <a:pt x="137" y="51"/>
                      </a:lnTo>
                      <a:lnTo>
                        <a:pt x="147" y="63"/>
                      </a:lnTo>
                      <a:lnTo>
                        <a:pt x="153" y="76"/>
                      </a:lnTo>
                      <a:lnTo>
                        <a:pt x="156" y="90"/>
                      </a:lnTo>
                      <a:lnTo>
                        <a:pt x="156" y="105"/>
                      </a:lnTo>
                      <a:lnTo>
                        <a:pt x="156" y="141"/>
                      </a:lnTo>
                      <a:lnTo>
                        <a:pt x="154" y="154"/>
                      </a:lnTo>
                      <a:lnTo>
                        <a:pt x="151" y="169"/>
                      </a:lnTo>
                      <a:lnTo>
                        <a:pt x="150" y="164"/>
                      </a:lnTo>
                      <a:lnTo>
                        <a:pt x="149" y="163"/>
                      </a:lnTo>
                      <a:lnTo>
                        <a:pt x="147" y="163"/>
                      </a:lnTo>
                      <a:lnTo>
                        <a:pt x="147" y="161"/>
                      </a:lnTo>
                      <a:lnTo>
                        <a:pt x="144" y="160"/>
                      </a:lnTo>
                      <a:lnTo>
                        <a:pt x="143" y="160"/>
                      </a:lnTo>
                      <a:lnTo>
                        <a:pt x="141" y="160"/>
                      </a:lnTo>
                      <a:lnTo>
                        <a:pt x="141" y="160"/>
                      </a:lnTo>
                      <a:lnTo>
                        <a:pt x="140" y="160"/>
                      </a:lnTo>
                      <a:lnTo>
                        <a:pt x="134" y="140"/>
                      </a:lnTo>
                      <a:lnTo>
                        <a:pt x="127" y="122"/>
                      </a:lnTo>
                      <a:lnTo>
                        <a:pt x="118" y="112"/>
                      </a:lnTo>
                      <a:lnTo>
                        <a:pt x="105" y="96"/>
                      </a:lnTo>
                      <a:lnTo>
                        <a:pt x="95" y="80"/>
                      </a:lnTo>
                      <a:lnTo>
                        <a:pt x="85" y="64"/>
                      </a:lnTo>
                      <a:lnTo>
                        <a:pt x="76" y="48"/>
                      </a:lnTo>
                      <a:lnTo>
                        <a:pt x="63" y="33"/>
                      </a:lnTo>
                      <a:lnTo>
                        <a:pt x="48" y="20"/>
                      </a:lnTo>
                      <a:lnTo>
                        <a:pt x="28" y="1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6" y="0"/>
                      </a:lnTo>
                      <a:lnTo>
                        <a:pt x="10" y="0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solidFill>
                  <a:srgbClr val="FFA01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35" name="Freeform 223"/>
                <p:cNvSpPr>
                  <a:spLocks/>
                </p:cNvSpPr>
                <p:nvPr/>
              </p:nvSpPr>
              <p:spPr bwMode="auto">
                <a:xfrm>
                  <a:off x="6351589" y="3557588"/>
                  <a:ext cx="14288" cy="31750"/>
                </a:xfrm>
                <a:custGeom>
                  <a:avLst/>
                  <a:gdLst>
                    <a:gd name="T0" fmla="*/ 3 w 9"/>
                    <a:gd name="T1" fmla="*/ 0 h 20"/>
                    <a:gd name="T2" fmla="*/ 9 w 9"/>
                    <a:gd name="T3" fmla="*/ 7 h 20"/>
                    <a:gd name="T4" fmla="*/ 9 w 9"/>
                    <a:gd name="T5" fmla="*/ 18 h 20"/>
                    <a:gd name="T6" fmla="*/ 0 w 9"/>
                    <a:gd name="T7" fmla="*/ 20 h 20"/>
                    <a:gd name="T8" fmla="*/ 3 w 9"/>
                    <a:gd name="T9" fmla="*/ 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20">
                      <a:moveTo>
                        <a:pt x="3" y="0"/>
                      </a:moveTo>
                      <a:lnTo>
                        <a:pt x="9" y="7"/>
                      </a:lnTo>
                      <a:lnTo>
                        <a:pt x="9" y="18"/>
                      </a:lnTo>
                      <a:lnTo>
                        <a:pt x="0" y="2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05010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36" name="Freeform 224"/>
                <p:cNvSpPr>
                  <a:spLocks/>
                </p:cNvSpPr>
                <p:nvPr/>
              </p:nvSpPr>
              <p:spPr bwMode="auto">
                <a:xfrm>
                  <a:off x="6405564" y="3611563"/>
                  <a:ext cx="6350" cy="7938"/>
                </a:xfrm>
                <a:custGeom>
                  <a:avLst/>
                  <a:gdLst>
                    <a:gd name="T0" fmla="*/ 0 w 4"/>
                    <a:gd name="T1" fmla="*/ 0 h 5"/>
                    <a:gd name="T2" fmla="*/ 4 w 4"/>
                    <a:gd name="T3" fmla="*/ 5 h 5"/>
                    <a:gd name="T4" fmla="*/ 3 w 4"/>
                    <a:gd name="T5" fmla="*/ 5 h 5"/>
                    <a:gd name="T6" fmla="*/ 0 w 4"/>
                    <a:gd name="T7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5">
                      <a:moveTo>
                        <a:pt x="0" y="0"/>
                      </a:moveTo>
                      <a:lnTo>
                        <a:pt x="4" y="5"/>
                      </a:lnTo>
                      <a:lnTo>
                        <a:pt x="3" y="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A61623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37" name="Rectangle 225"/>
                <p:cNvSpPr>
                  <a:spLocks noChangeArrowheads="1"/>
                </p:cNvSpPr>
                <p:nvPr/>
              </p:nvSpPr>
              <p:spPr bwMode="auto">
                <a:xfrm>
                  <a:off x="6365876" y="3568701"/>
                  <a:ext cx="1588" cy="1588"/>
                </a:xfrm>
                <a:prstGeom prst="rect">
                  <a:avLst/>
                </a:prstGeom>
                <a:solidFill>
                  <a:srgbClr val="78030A"/>
                </a:soli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38" name="Freeform 226"/>
                <p:cNvSpPr>
                  <a:spLocks/>
                </p:cNvSpPr>
                <p:nvPr/>
              </p:nvSpPr>
              <p:spPr bwMode="auto">
                <a:xfrm>
                  <a:off x="6375401" y="3578226"/>
                  <a:ext cx="34925" cy="55563"/>
                </a:xfrm>
                <a:custGeom>
                  <a:avLst/>
                  <a:gdLst>
                    <a:gd name="T0" fmla="*/ 0 w 22"/>
                    <a:gd name="T1" fmla="*/ 0 h 35"/>
                    <a:gd name="T2" fmla="*/ 19 w 22"/>
                    <a:gd name="T3" fmla="*/ 21 h 35"/>
                    <a:gd name="T4" fmla="*/ 22 w 22"/>
                    <a:gd name="T5" fmla="*/ 26 h 35"/>
                    <a:gd name="T6" fmla="*/ 16 w 22"/>
                    <a:gd name="T7" fmla="*/ 35 h 35"/>
                    <a:gd name="T8" fmla="*/ 14 w 22"/>
                    <a:gd name="T9" fmla="*/ 33 h 35"/>
                    <a:gd name="T10" fmla="*/ 7 w 22"/>
                    <a:gd name="T11" fmla="*/ 16 h 35"/>
                    <a:gd name="T12" fmla="*/ 0 w 22"/>
                    <a:gd name="T13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2" h="35">
                      <a:moveTo>
                        <a:pt x="0" y="0"/>
                      </a:moveTo>
                      <a:lnTo>
                        <a:pt x="19" y="21"/>
                      </a:lnTo>
                      <a:lnTo>
                        <a:pt x="22" y="26"/>
                      </a:lnTo>
                      <a:lnTo>
                        <a:pt x="16" y="35"/>
                      </a:lnTo>
                      <a:lnTo>
                        <a:pt x="14" y="33"/>
                      </a:lnTo>
                      <a:lnTo>
                        <a:pt x="7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72020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39" name="Freeform 227"/>
                <p:cNvSpPr>
                  <a:spLocks/>
                </p:cNvSpPr>
                <p:nvPr/>
              </p:nvSpPr>
              <p:spPr bwMode="auto">
                <a:xfrm>
                  <a:off x="6365876" y="3568701"/>
                  <a:ext cx="31750" cy="61913"/>
                </a:xfrm>
                <a:custGeom>
                  <a:avLst/>
                  <a:gdLst>
                    <a:gd name="T0" fmla="*/ 0 w 20"/>
                    <a:gd name="T1" fmla="*/ 0 h 39"/>
                    <a:gd name="T2" fmla="*/ 0 w 20"/>
                    <a:gd name="T3" fmla="*/ 0 h 39"/>
                    <a:gd name="T4" fmla="*/ 6 w 20"/>
                    <a:gd name="T5" fmla="*/ 6 h 39"/>
                    <a:gd name="T6" fmla="*/ 13 w 20"/>
                    <a:gd name="T7" fmla="*/ 22 h 39"/>
                    <a:gd name="T8" fmla="*/ 20 w 20"/>
                    <a:gd name="T9" fmla="*/ 39 h 39"/>
                    <a:gd name="T10" fmla="*/ 14 w 20"/>
                    <a:gd name="T11" fmla="*/ 35 h 39"/>
                    <a:gd name="T12" fmla="*/ 10 w 20"/>
                    <a:gd name="T13" fmla="*/ 30 h 39"/>
                    <a:gd name="T14" fmla="*/ 10 w 20"/>
                    <a:gd name="T15" fmla="*/ 30 h 39"/>
                    <a:gd name="T16" fmla="*/ 6 w 20"/>
                    <a:gd name="T17" fmla="*/ 25 h 39"/>
                    <a:gd name="T18" fmla="*/ 3 w 20"/>
                    <a:gd name="T19" fmla="*/ 20 h 39"/>
                    <a:gd name="T20" fmla="*/ 1 w 20"/>
                    <a:gd name="T21" fmla="*/ 16 h 39"/>
                    <a:gd name="T22" fmla="*/ 0 w 20"/>
                    <a:gd name="T23" fmla="*/ 13 h 39"/>
                    <a:gd name="T24" fmla="*/ 0 w 20"/>
                    <a:gd name="T25" fmla="*/ 11 h 39"/>
                    <a:gd name="T26" fmla="*/ 0 w 20"/>
                    <a:gd name="T27" fmla="*/ 0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0" h="39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6" y="6"/>
                      </a:lnTo>
                      <a:lnTo>
                        <a:pt x="13" y="22"/>
                      </a:lnTo>
                      <a:lnTo>
                        <a:pt x="20" y="39"/>
                      </a:lnTo>
                      <a:lnTo>
                        <a:pt x="14" y="35"/>
                      </a:lnTo>
                      <a:lnTo>
                        <a:pt x="10" y="30"/>
                      </a:lnTo>
                      <a:lnTo>
                        <a:pt x="10" y="30"/>
                      </a:lnTo>
                      <a:lnTo>
                        <a:pt x="6" y="25"/>
                      </a:lnTo>
                      <a:lnTo>
                        <a:pt x="3" y="20"/>
                      </a:lnTo>
                      <a:lnTo>
                        <a:pt x="1" y="16"/>
                      </a:lnTo>
                      <a:lnTo>
                        <a:pt x="0" y="13"/>
                      </a:lnTo>
                      <a:lnTo>
                        <a:pt x="0" y="1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520002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40" name="Freeform 228"/>
                <p:cNvSpPr>
                  <a:spLocks/>
                </p:cNvSpPr>
                <p:nvPr/>
              </p:nvSpPr>
              <p:spPr bwMode="auto">
                <a:xfrm>
                  <a:off x="6340476" y="3586163"/>
                  <a:ext cx="57150" cy="122238"/>
                </a:xfrm>
                <a:custGeom>
                  <a:avLst/>
                  <a:gdLst>
                    <a:gd name="T0" fmla="*/ 16 w 36"/>
                    <a:gd name="T1" fmla="*/ 0 h 77"/>
                    <a:gd name="T2" fmla="*/ 16 w 36"/>
                    <a:gd name="T3" fmla="*/ 2 h 77"/>
                    <a:gd name="T4" fmla="*/ 17 w 36"/>
                    <a:gd name="T5" fmla="*/ 5 h 77"/>
                    <a:gd name="T6" fmla="*/ 19 w 36"/>
                    <a:gd name="T7" fmla="*/ 9 h 77"/>
                    <a:gd name="T8" fmla="*/ 22 w 36"/>
                    <a:gd name="T9" fmla="*/ 14 h 77"/>
                    <a:gd name="T10" fmla="*/ 26 w 36"/>
                    <a:gd name="T11" fmla="*/ 19 h 77"/>
                    <a:gd name="T12" fmla="*/ 30 w 36"/>
                    <a:gd name="T13" fmla="*/ 25 h 77"/>
                    <a:gd name="T14" fmla="*/ 36 w 36"/>
                    <a:gd name="T15" fmla="*/ 31 h 77"/>
                    <a:gd name="T16" fmla="*/ 0 w 36"/>
                    <a:gd name="T17" fmla="*/ 77 h 77"/>
                    <a:gd name="T18" fmla="*/ 7 w 36"/>
                    <a:gd name="T19" fmla="*/ 2 h 77"/>
                    <a:gd name="T20" fmla="*/ 16 w 36"/>
                    <a:gd name="T21" fmla="*/ 0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6" h="77">
                      <a:moveTo>
                        <a:pt x="16" y="0"/>
                      </a:moveTo>
                      <a:lnTo>
                        <a:pt x="16" y="2"/>
                      </a:lnTo>
                      <a:lnTo>
                        <a:pt x="17" y="5"/>
                      </a:lnTo>
                      <a:lnTo>
                        <a:pt x="19" y="9"/>
                      </a:lnTo>
                      <a:lnTo>
                        <a:pt x="22" y="14"/>
                      </a:lnTo>
                      <a:lnTo>
                        <a:pt x="26" y="19"/>
                      </a:lnTo>
                      <a:lnTo>
                        <a:pt x="30" y="25"/>
                      </a:lnTo>
                      <a:lnTo>
                        <a:pt x="36" y="31"/>
                      </a:lnTo>
                      <a:lnTo>
                        <a:pt x="0" y="77"/>
                      </a:lnTo>
                      <a:lnTo>
                        <a:pt x="7" y="2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solidFill>
                  <a:srgbClr val="78030A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41" name="Freeform 229"/>
                <p:cNvSpPr>
                  <a:spLocks/>
                </p:cNvSpPr>
                <p:nvPr/>
              </p:nvSpPr>
              <p:spPr bwMode="auto">
                <a:xfrm>
                  <a:off x="6397626" y="3630613"/>
                  <a:ext cx="3175" cy="3175"/>
                </a:xfrm>
                <a:custGeom>
                  <a:avLst/>
                  <a:gdLst>
                    <a:gd name="T0" fmla="*/ 0 w 2"/>
                    <a:gd name="T1" fmla="*/ 0 h 2"/>
                    <a:gd name="T2" fmla="*/ 2 w 2"/>
                    <a:gd name="T3" fmla="*/ 2 h 2"/>
                    <a:gd name="T4" fmla="*/ 2 w 2"/>
                    <a:gd name="T5" fmla="*/ 2 h 2"/>
                    <a:gd name="T6" fmla="*/ 0 w 2"/>
                    <a:gd name="T7" fmla="*/ 0 h 2"/>
                    <a:gd name="T8" fmla="*/ 0 w 2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2">
                      <a:moveTo>
                        <a:pt x="0" y="0"/>
                      </a:move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E000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42" name="Freeform 230"/>
                <p:cNvSpPr>
                  <a:spLocks/>
                </p:cNvSpPr>
                <p:nvPr/>
              </p:nvSpPr>
              <p:spPr bwMode="auto">
                <a:xfrm>
                  <a:off x="6381751" y="3616326"/>
                  <a:ext cx="15875" cy="14288"/>
                </a:xfrm>
                <a:custGeom>
                  <a:avLst/>
                  <a:gdLst>
                    <a:gd name="T0" fmla="*/ 0 w 10"/>
                    <a:gd name="T1" fmla="*/ 0 h 9"/>
                    <a:gd name="T2" fmla="*/ 4 w 10"/>
                    <a:gd name="T3" fmla="*/ 5 h 9"/>
                    <a:gd name="T4" fmla="*/ 10 w 10"/>
                    <a:gd name="T5" fmla="*/ 9 h 9"/>
                    <a:gd name="T6" fmla="*/ 10 w 10"/>
                    <a:gd name="T7" fmla="*/ 9 h 9"/>
                    <a:gd name="T8" fmla="*/ 4 w 10"/>
                    <a:gd name="T9" fmla="*/ 5 h 9"/>
                    <a:gd name="T10" fmla="*/ 0 w 10"/>
                    <a:gd name="T11" fmla="*/ 0 h 9"/>
                    <a:gd name="T12" fmla="*/ 0 w 10"/>
                    <a:gd name="T13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" h="9">
                      <a:moveTo>
                        <a:pt x="0" y="0"/>
                      </a:moveTo>
                      <a:lnTo>
                        <a:pt x="4" y="5"/>
                      </a:lnTo>
                      <a:lnTo>
                        <a:pt x="10" y="9"/>
                      </a:lnTo>
                      <a:lnTo>
                        <a:pt x="10" y="9"/>
                      </a:lnTo>
                      <a:lnTo>
                        <a:pt x="4" y="5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3800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43" name="Freeform 231"/>
                <p:cNvSpPr>
                  <a:spLocks/>
                </p:cNvSpPr>
                <p:nvPr/>
              </p:nvSpPr>
              <p:spPr bwMode="auto">
                <a:xfrm>
                  <a:off x="6381751" y="3616326"/>
                  <a:ext cx="19050" cy="19050"/>
                </a:xfrm>
                <a:custGeom>
                  <a:avLst/>
                  <a:gdLst>
                    <a:gd name="T0" fmla="*/ 0 w 12"/>
                    <a:gd name="T1" fmla="*/ 0 h 12"/>
                    <a:gd name="T2" fmla="*/ 4 w 12"/>
                    <a:gd name="T3" fmla="*/ 5 h 12"/>
                    <a:gd name="T4" fmla="*/ 10 w 12"/>
                    <a:gd name="T5" fmla="*/ 9 h 12"/>
                    <a:gd name="T6" fmla="*/ 12 w 12"/>
                    <a:gd name="T7" fmla="*/ 11 h 12"/>
                    <a:gd name="T8" fmla="*/ 10 w 12"/>
                    <a:gd name="T9" fmla="*/ 12 h 12"/>
                    <a:gd name="T10" fmla="*/ 4 w 12"/>
                    <a:gd name="T11" fmla="*/ 6 h 12"/>
                    <a:gd name="T12" fmla="*/ 0 w 12"/>
                    <a:gd name="T13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12">
                      <a:moveTo>
                        <a:pt x="0" y="0"/>
                      </a:moveTo>
                      <a:lnTo>
                        <a:pt x="4" y="5"/>
                      </a:lnTo>
                      <a:lnTo>
                        <a:pt x="10" y="9"/>
                      </a:lnTo>
                      <a:lnTo>
                        <a:pt x="12" y="11"/>
                      </a:lnTo>
                      <a:lnTo>
                        <a:pt x="10" y="12"/>
                      </a:lnTo>
                      <a:lnTo>
                        <a:pt x="4" y="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520002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44" name="Freeform 232"/>
                <p:cNvSpPr>
                  <a:spLocks/>
                </p:cNvSpPr>
                <p:nvPr/>
              </p:nvSpPr>
              <p:spPr bwMode="auto">
                <a:xfrm>
                  <a:off x="6335714" y="3557588"/>
                  <a:ext cx="76200" cy="142875"/>
                </a:xfrm>
                <a:custGeom>
                  <a:avLst/>
                  <a:gdLst>
                    <a:gd name="T0" fmla="*/ 13 w 48"/>
                    <a:gd name="T1" fmla="*/ 0 h 90"/>
                    <a:gd name="T2" fmla="*/ 48 w 48"/>
                    <a:gd name="T3" fmla="*/ 39 h 90"/>
                    <a:gd name="T4" fmla="*/ 0 w 48"/>
                    <a:gd name="T5" fmla="*/ 90 h 90"/>
                    <a:gd name="T6" fmla="*/ 13 w 48"/>
                    <a:gd name="T7" fmla="*/ 0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8" h="90">
                      <a:moveTo>
                        <a:pt x="13" y="0"/>
                      </a:moveTo>
                      <a:lnTo>
                        <a:pt x="48" y="39"/>
                      </a:lnTo>
                      <a:lnTo>
                        <a:pt x="0" y="90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AF1B32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45" name="Freeform 233"/>
                <p:cNvSpPr>
                  <a:spLocks/>
                </p:cNvSpPr>
                <p:nvPr/>
              </p:nvSpPr>
              <p:spPr bwMode="auto">
                <a:xfrm>
                  <a:off x="5649914" y="4279901"/>
                  <a:ext cx="125413" cy="7938"/>
                </a:xfrm>
                <a:custGeom>
                  <a:avLst/>
                  <a:gdLst>
                    <a:gd name="T0" fmla="*/ 4 w 79"/>
                    <a:gd name="T1" fmla="*/ 0 h 5"/>
                    <a:gd name="T2" fmla="*/ 79 w 79"/>
                    <a:gd name="T3" fmla="*/ 0 h 5"/>
                    <a:gd name="T4" fmla="*/ 74 w 79"/>
                    <a:gd name="T5" fmla="*/ 2 h 5"/>
                    <a:gd name="T6" fmla="*/ 68 w 79"/>
                    <a:gd name="T7" fmla="*/ 5 h 5"/>
                    <a:gd name="T8" fmla="*/ 63 w 79"/>
                    <a:gd name="T9" fmla="*/ 5 h 5"/>
                    <a:gd name="T10" fmla="*/ 0 w 79"/>
                    <a:gd name="T11" fmla="*/ 5 h 5"/>
                    <a:gd name="T12" fmla="*/ 3 w 79"/>
                    <a:gd name="T13" fmla="*/ 2 h 5"/>
                    <a:gd name="T14" fmla="*/ 4 w 79"/>
                    <a:gd name="T15" fmla="*/ 0 h 5"/>
                    <a:gd name="T16" fmla="*/ 4 w 79"/>
                    <a:gd name="T17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9" h="5">
                      <a:moveTo>
                        <a:pt x="4" y="0"/>
                      </a:moveTo>
                      <a:lnTo>
                        <a:pt x="79" y="0"/>
                      </a:lnTo>
                      <a:lnTo>
                        <a:pt x="74" y="2"/>
                      </a:lnTo>
                      <a:lnTo>
                        <a:pt x="68" y="5"/>
                      </a:lnTo>
                      <a:lnTo>
                        <a:pt x="63" y="5"/>
                      </a:lnTo>
                      <a:lnTo>
                        <a:pt x="0" y="5"/>
                      </a:lnTo>
                      <a:lnTo>
                        <a:pt x="3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EFD6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46" name="Freeform 234"/>
                <p:cNvSpPr>
                  <a:spLocks/>
                </p:cNvSpPr>
                <p:nvPr/>
              </p:nvSpPr>
              <p:spPr bwMode="auto">
                <a:xfrm>
                  <a:off x="5453064" y="4265613"/>
                  <a:ext cx="71438" cy="22225"/>
                </a:xfrm>
                <a:custGeom>
                  <a:avLst/>
                  <a:gdLst>
                    <a:gd name="T0" fmla="*/ 0 w 45"/>
                    <a:gd name="T1" fmla="*/ 0 h 14"/>
                    <a:gd name="T2" fmla="*/ 21 w 45"/>
                    <a:gd name="T3" fmla="*/ 0 h 14"/>
                    <a:gd name="T4" fmla="*/ 45 w 45"/>
                    <a:gd name="T5" fmla="*/ 14 h 14"/>
                    <a:gd name="T6" fmla="*/ 0 w 45"/>
                    <a:gd name="T7" fmla="*/ 14 h 14"/>
                    <a:gd name="T8" fmla="*/ 0 w 45"/>
                    <a:gd name="T9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5" h="14">
                      <a:moveTo>
                        <a:pt x="0" y="0"/>
                      </a:moveTo>
                      <a:lnTo>
                        <a:pt x="21" y="0"/>
                      </a:lnTo>
                      <a:lnTo>
                        <a:pt x="45" y="14"/>
                      </a:lnTo>
                      <a:lnTo>
                        <a:pt x="0" y="1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70503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47" name="Freeform 235"/>
                <p:cNvSpPr>
                  <a:spLocks/>
                </p:cNvSpPr>
                <p:nvPr/>
              </p:nvSpPr>
              <p:spPr bwMode="auto">
                <a:xfrm>
                  <a:off x="5411789" y="4260851"/>
                  <a:ext cx="41275" cy="26988"/>
                </a:xfrm>
                <a:custGeom>
                  <a:avLst/>
                  <a:gdLst>
                    <a:gd name="T0" fmla="*/ 0 w 26"/>
                    <a:gd name="T1" fmla="*/ 0 h 17"/>
                    <a:gd name="T2" fmla="*/ 3 w 26"/>
                    <a:gd name="T3" fmla="*/ 0 h 17"/>
                    <a:gd name="T4" fmla="*/ 7 w 26"/>
                    <a:gd name="T5" fmla="*/ 1 h 17"/>
                    <a:gd name="T6" fmla="*/ 13 w 26"/>
                    <a:gd name="T7" fmla="*/ 3 h 17"/>
                    <a:gd name="T8" fmla="*/ 19 w 26"/>
                    <a:gd name="T9" fmla="*/ 3 h 17"/>
                    <a:gd name="T10" fmla="*/ 26 w 26"/>
                    <a:gd name="T11" fmla="*/ 3 h 17"/>
                    <a:gd name="T12" fmla="*/ 26 w 26"/>
                    <a:gd name="T13" fmla="*/ 17 h 17"/>
                    <a:gd name="T14" fmla="*/ 19 w 26"/>
                    <a:gd name="T15" fmla="*/ 17 h 17"/>
                    <a:gd name="T16" fmla="*/ 13 w 26"/>
                    <a:gd name="T17" fmla="*/ 17 h 17"/>
                    <a:gd name="T18" fmla="*/ 7 w 26"/>
                    <a:gd name="T19" fmla="*/ 14 h 17"/>
                    <a:gd name="T20" fmla="*/ 3 w 26"/>
                    <a:gd name="T21" fmla="*/ 10 h 17"/>
                    <a:gd name="T22" fmla="*/ 0 w 26"/>
                    <a:gd name="T23" fmla="*/ 6 h 17"/>
                    <a:gd name="T24" fmla="*/ 0 w 26"/>
                    <a:gd name="T25" fmla="*/ 0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6" h="17">
                      <a:moveTo>
                        <a:pt x="0" y="0"/>
                      </a:moveTo>
                      <a:lnTo>
                        <a:pt x="3" y="0"/>
                      </a:lnTo>
                      <a:lnTo>
                        <a:pt x="7" y="1"/>
                      </a:lnTo>
                      <a:lnTo>
                        <a:pt x="13" y="3"/>
                      </a:lnTo>
                      <a:lnTo>
                        <a:pt x="19" y="3"/>
                      </a:lnTo>
                      <a:lnTo>
                        <a:pt x="26" y="3"/>
                      </a:lnTo>
                      <a:lnTo>
                        <a:pt x="26" y="17"/>
                      </a:lnTo>
                      <a:lnTo>
                        <a:pt x="19" y="17"/>
                      </a:lnTo>
                      <a:lnTo>
                        <a:pt x="13" y="17"/>
                      </a:lnTo>
                      <a:lnTo>
                        <a:pt x="7" y="14"/>
                      </a:lnTo>
                      <a:lnTo>
                        <a:pt x="3" y="10"/>
                      </a:lnTo>
                      <a:lnTo>
                        <a:pt x="0" y="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70503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48" name="Freeform 236"/>
                <p:cNvSpPr>
                  <a:spLocks/>
                </p:cNvSpPr>
                <p:nvPr/>
              </p:nvSpPr>
              <p:spPr bwMode="auto">
                <a:xfrm>
                  <a:off x="5486401" y="4265613"/>
                  <a:ext cx="169863" cy="22225"/>
                </a:xfrm>
                <a:custGeom>
                  <a:avLst/>
                  <a:gdLst>
                    <a:gd name="T0" fmla="*/ 0 w 107"/>
                    <a:gd name="T1" fmla="*/ 0 h 14"/>
                    <a:gd name="T2" fmla="*/ 62 w 107"/>
                    <a:gd name="T3" fmla="*/ 0 h 14"/>
                    <a:gd name="T4" fmla="*/ 67 w 107"/>
                    <a:gd name="T5" fmla="*/ 4 h 14"/>
                    <a:gd name="T6" fmla="*/ 72 w 107"/>
                    <a:gd name="T7" fmla="*/ 7 h 14"/>
                    <a:gd name="T8" fmla="*/ 78 w 107"/>
                    <a:gd name="T9" fmla="*/ 9 h 14"/>
                    <a:gd name="T10" fmla="*/ 107 w 107"/>
                    <a:gd name="T11" fmla="*/ 9 h 14"/>
                    <a:gd name="T12" fmla="*/ 107 w 107"/>
                    <a:gd name="T13" fmla="*/ 9 h 14"/>
                    <a:gd name="T14" fmla="*/ 106 w 107"/>
                    <a:gd name="T15" fmla="*/ 11 h 14"/>
                    <a:gd name="T16" fmla="*/ 103 w 107"/>
                    <a:gd name="T17" fmla="*/ 14 h 14"/>
                    <a:gd name="T18" fmla="*/ 24 w 107"/>
                    <a:gd name="T19" fmla="*/ 14 h 14"/>
                    <a:gd name="T20" fmla="*/ 0 w 107"/>
                    <a:gd name="T21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07" h="14">
                      <a:moveTo>
                        <a:pt x="0" y="0"/>
                      </a:moveTo>
                      <a:lnTo>
                        <a:pt x="62" y="0"/>
                      </a:lnTo>
                      <a:lnTo>
                        <a:pt x="67" y="4"/>
                      </a:lnTo>
                      <a:lnTo>
                        <a:pt x="72" y="7"/>
                      </a:lnTo>
                      <a:lnTo>
                        <a:pt x="78" y="9"/>
                      </a:lnTo>
                      <a:lnTo>
                        <a:pt x="107" y="9"/>
                      </a:lnTo>
                      <a:lnTo>
                        <a:pt x="107" y="9"/>
                      </a:lnTo>
                      <a:lnTo>
                        <a:pt x="106" y="11"/>
                      </a:lnTo>
                      <a:lnTo>
                        <a:pt x="103" y="14"/>
                      </a:lnTo>
                      <a:lnTo>
                        <a:pt x="24" y="1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51B39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49" name="Freeform 237"/>
                <p:cNvSpPr>
                  <a:spLocks/>
                </p:cNvSpPr>
                <p:nvPr/>
              </p:nvSpPr>
              <p:spPr bwMode="auto">
                <a:xfrm>
                  <a:off x="6386514" y="4195763"/>
                  <a:ext cx="223838" cy="84138"/>
                </a:xfrm>
                <a:custGeom>
                  <a:avLst/>
                  <a:gdLst>
                    <a:gd name="T0" fmla="*/ 70 w 141"/>
                    <a:gd name="T1" fmla="*/ 0 h 53"/>
                    <a:gd name="T2" fmla="*/ 93 w 141"/>
                    <a:gd name="T3" fmla="*/ 0 h 53"/>
                    <a:gd name="T4" fmla="*/ 112 w 141"/>
                    <a:gd name="T5" fmla="*/ 5 h 53"/>
                    <a:gd name="T6" fmla="*/ 127 w 141"/>
                    <a:gd name="T7" fmla="*/ 10 h 53"/>
                    <a:gd name="T8" fmla="*/ 137 w 141"/>
                    <a:gd name="T9" fmla="*/ 18 h 53"/>
                    <a:gd name="T10" fmla="*/ 141 w 141"/>
                    <a:gd name="T11" fmla="*/ 26 h 53"/>
                    <a:gd name="T12" fmla="*/ 137 w 141"/>
                    <a:gd name="T13" fmla="*/ 34 h 53"/>
                    <a:gd name="T14" fmla="*/ 127 w 141"/>
                    <a:gd name="T15" fmla="*/ 41 h 53"/>
                    <a:gd name="T16" fmla="*/ 112 w 141"/>
                    <a:gd name="T17" fmla="*/ 47 h 53"/>
                    <a:gd name="T18" fmla="*/ 93 w 141"/>
                    <a:gd name="T19" fmla="*/ 51 h 53"/>
                    <a:gd name="T20" fmla="*/ 70 w 141"/>
                    <a:gd name="T21" fmla="*/ 53 h 53"/>
                    <a:gd name="T22" fmla="*/ 48 w 141"/>
                    <a:gd name="T23" fmla="*/ 51 h 53"/>
                    <a:gd name="T24" fmla="*/ 29 w 141"/>
                    <a:gd name="T25" fmla="*/ 47 h 53"/>
                    <a:gd name="T26" fmla="*/ 13 w 141"/>
                    <a:gd name="T27" fmla="*/ 41 h 53"/>
                    <a:gd name="T28" fmla="*/ 4 w 141"/>
                    <a:gd name="T29" fmla="*/ 34 h 53"/>
                    <a:gd name="T30" fmla="*/ 0 w 141"/>
                    <a:gd name="T31" fmla="*/ 26 h 53"/>
                    <a:gd name="T32" fmla="*/ 4 w 141"/>
                    <a:gd name="T33" fmla="*/ 18 h 53"/>
                    <a:gd name="T34" fmla="*/ 13 w 141"/>
                    <a:gd name="T35" fmla="*/ 10 h 53"/>
                    <a:gd name="T36" fmla="*/ 29 w 141"/>
                    <a:gd name="T37" fmla="*/ 5 h 53"/>
                    <a:gd name="T38" fmla="*/ 48 w 141"/>
                    <a:gd name="T39" fmla="*/ 0 h 53"/>
                    <a:gd name="T40" fmla="*/ 70 w 141"/>
                    <a:gd name="T41" fmla="*/ 0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41" h="53">
                      <a:moveTo>
                        <a:pt x="70" y="0"/>
                      </a:moveTo>
                      <a:lnTo>
                        <a:pt x="93" y="0"/>
                      </a:lnTo>
                      <a:lnTo>
                        <a:pt x="112" y="5"/>
                      </a:lnTo>
                      <a:lnTo>
                        <a:pt x="127" y="10"/>
                      </a:lnTo>
                      <a:lnTo>
                        <a:pt x="137" y="18"/>
                      </a:lnTo>
                      <a:lnTo>
                        <a:pt x="141" y="26"/>
                      </a:lnTo>
                      <a:lnTo>
                        <a:pt x="137" y="34"/>
                      </a:lnTo>
                      <a:lnTo>
                        <a:pt x="127" y="41"/>
                      </a:lnTo>
                      <a:lnTo>
                        <a:pt x="112" y="47"/>
                      </a:lnTo>
                      <a:lnTo>
                        <a:pt x="93" y="51"/>
                      </a:lnTo>
                      <a:lnTo>
                        <a:pt x="70" y="53"/>
                      </a:lnTo>
                      <a:lnTo>
                        <a:pt x="48" y="51"/>
                      </a:lnTo>
                      <a:lnTo>
                        <a:pt x="29" y="47"/>
                      </a:lnTo>
                      <a:lnTo>
                        <a:pt x="13" y="41"/>
                      </a:lnTo>
                      <a:lnTo>
                        <a:pt x="4" y="34"/>
                      </a:lnTo>
                      <a:lnTo>
                        <a:pt x="0" y="26"/>
                      </a:lnTo>
                      <a:lnTo>
                        <a:pt x="4" y="18"/>
                      </a:lnTo>
                      <a:lnTo>
                        <a:pt x="13" y="10"/>
                      </a:lnTo>
                      <a:lnTo>
                        <a:pt x="29" y="5"/>
                      </a:lnTo>
                      <a:lnTo>
                        <a:pt x="48" y="0"/>
                      </a:lnTo>
                      <a:lnTo>
                        <a:pt x="70" y="0"/>
                      </a:lnTo>
                      <a:close/>
                    </a:path>
                  </a:pathLst>
                </a:custGeom>
                <a:solidFill>
                  <a:srgbClr val="FFF0D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50" name="Freeform 238"/>
                <p:cNvSpPr>
                  <a:spLocks/>
                </p:cNvSpPr>
                <p:nvPr/>
              </p:nvSpPr>
              <p:spPr bwMode="auto">
                <a:xfrm>
                  <a:off x="6386514" y="4200526"/>
                  <a:ext cx="222250" cy="79375"/>
                </a:xfrm>
                <a:custGeom>
                  <a:avLst/>
                  <a:gdLst>
                    <a:gd name="T0" fmla="*/ 99 w 140"/>
                    <a:gd name="T1" fmla="*/ 0 h 50"/>
                    <a:gd name="T2" fmla="*/ 103 w 140"/>
                    <a:gd name="T3" fmla="*/ 0 h 50"/>
                    <a:gd name="T4" fmla="*/ 108 w 140"/>
                    <a:gd name="T5" fmla="*/ 0 h 50"/>
                    <a:gd name="T6" fmla="*/ 108 w 140"/>
                    <a:gd name="T7" fmla="*/ 0 h 50"/>
                    <a:gd name="T8" fmla="*/ 109 w 140"/>
                    <a:gd name="T9" fmla="*/ 2 h 50"/>
                    <a:gd name="T10" fmla="*/ 116 w 140"/>
                    <a:gd name="T11" fmla="*/ 3 h 50"/>
                    <a:gd name="T12" fmla="*/ 121 w 140"/>
                    <a:gd name="T13" fmla="*/ 7 h 50"/>
                    <a:gd name="T14" fmla="*/ 125 w 140"/>
                    <a:gd name="T15" fmla="*/ 10 h 50"/>
                    <a:gd name="T16" fmla="*/ 129 w 140"/>
                    <a:gd name="T17" fmla="*/ 15 h 50"/>
                    <a:gd name="T18" fmla="*/ 134 w 140"/>
                    <a:gd name="T19" fmla="*/ 19 h 50"/>
                    <a:gd name="T20" fmla="*/ 140 w 140"/>
                    <a:gd name="T21" fmla="*/ 25 h 50"/>
                    <a:gd name="T22" fmla="*/ 135 w 140"/>
                    <a:gd name="T23" fmla="*/ 32 h 50"/>
                    <a:gd name="T24" fmla="*/ 125 w 140"/>
                    <a:gd name="T25" fmla="*/ 39 h 50"/>
                    <a:gd name="T26" fmla="*/ 111 w 140"/>
                    <a:gd name="T27" fmla="*/ 45 h 50"/>
                    <a:gd name="T28" fmla="*/ 92 w 140"/>
                    <a:gd name="T29" fmla="*/ 48 h 50"/>
                    <a:gd name="T30" fmla="*/ 70 w 140"/>
                    <a:gd name="T31" fmla="*/ 50 h 50"/>
                    <a:gd name="T32" fmla="*/ 48 w 140"/>
                    <a:gd name="T33" fmla="*/ 48 h 50"/>
                    <a:gd name="T34" fmla="*/ 29 w 140"/>
                    <a:gd name="T35" fmla="*/ 44 h 50"/>
                    <a:gd name="T36" fmla="*/ 13 w 140"/>
                    <a:gd name="T37" fmla="*/ 38 h 50"/>
                    <a:gd name="T38" fmla="*/ 4 w 140"/>
                    <a:gd name="T39" fmla="*/ 31 h 50"/>
                    <a:gd name="T40" fmla="*/ 0 w 140"/>
                    <a:gd name="T41" fmla="*/ 23 h 50"/>
                    <a:gd name="T42" fmla="*/ 1 w 140"/>
                    <a:gd name="T43" fmla="*/ 18 h 50"/>
                    <a:gd name="T44" fmla="*/ 4 w 140"/>
                    <a:gd name="T45" fmla="*/ 13 h 50"/>
                    <a:gd name="T46" fmla="*/ 10 w 140"/>
                    <a:gd name="T47" fmla="*/ 9 h 50"/>
                    <a:gd name="T48" fmla="*/ 12 w 140"/>
                    <a:gd name="T49" fmla="*/ 12 h 50"/>
                    <a:gd name="T50" fmla="*/ 12 w 140"/>
                    <a:gd name="T51" fmla="*/ 12 h 50"/>
                    <a:gd name="T52" fmla="*/ 12 w 140"/>
                    <a:gd name="T53" fmla="*/ 12 h 50"/>
                    <a:gd name="T54" fmla="*/ 31 w 140"/>
                    <a:gd name="T55" fmla="*/ 7 h 50"/>
                    <a:gd name="T56" fmla="*/ 48 w 140"/>
                    <a:gd name="T57" fmla="*/ 4 h 50"/>
                    <a:gd name="T58" fmla="*/ 65 w 140"/>
                    <a:gd name="T59" fmla="*/ 3 h 50"/>
                    <a:gd name="T60" fmla="*/ 80 w 140"/>
                    <a:gd name="T61" fmla="*/ 2 h 50"/>
                    <a:gd name="T62" fmla="*/ 89 w 140"/>
                    <a:gd name="T63" fmla="*/ 0 h 50"/>
                    <a:gd name="T64" fmla="*/ 93 w 140"/>
                    <a:gd name="T65" fmla="*/ 0 h 50"/>
                    <a:gd name="T66" fmla="*/ 99 w 140"/>
                    <a:gd name="T67" fmla="*/ 0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40" h="50">
                      <a:moveTo>
                        <a:pt x="99" y="0"/>
                      </a:moveTo>
                      <a:lnTo>
                        <a:pt x="103" y="0"/>
                      </a:lnTo>
                      <a:lnTo>
                        <a:pt x="108" y="0"/>
                      </a:lnTo>
                      <a:lnTo>
                        <a:pt x="108" y="0"/>
                      </a:lnTo>
                      <a:lnTo>
                        <a:pt x="109" y="2"/>
                      </a:lnTo>
                      <a:lnTo>
                        <a:pt x="116" y="3"/>
                      </a:lnTo>
                      <a:lnTo>
                        <a:pt x="121" y="7"/>
                      </a:lnTo>
                      <a:lnTo>
                        <a:pt x="125" y="10"/>
                      </a:lnTo>
                      <a:lnTo>
                        <a:pt x="129" y="15"/>
                      </a:lnTo>
                      <a:lnTo>
                        <a:pt x="134" y="19"/>
                      </a:lnTo>
                      <a:lnTo>
                        <a:pt x="140" y="25"/>
                      </a:lnTo>
                      <a:lnTo>
                        <a:pt x="135" y="32"/>
                      </a:lnTo>
                      <a:lnTo>
                        <a:pt x="125" y="39"/>
                      </a:lnTo>
                      <a:lnTo>
                        <a:pt x="111" y="45"/>
                      </a:lnTo>
                      <a:lnTo>
                        <a:pt x="92" y="48"/>
                      </a:lnTo>
                      <a:lnTo>
                        <a:pt x="70" y="50"/>
                      </a:lnTo>
                      <a:lnTo>
                        <a:pt x="48" y="48"/>
                      </a:lnTo>
                      <a:lnTo>
                        <a:pt x="29" y="44"/>
                      </a:lnTo>
                      <a:lnTo>
                        <a:pt x="13" y="38"/>
                      </a:lnTo>
                      <a:lnTo>
                        <a:pt x="4" y="31"/>
                      </a:lnTo>
                      <a:lnTo>
                        <a:pt x="0" y="23"/>
                      </a:lnTo>
                      <a:lnTo>
                        <a:pt x="1" y="18"/>
                      </a:lnTo>
                      <a:lnTo>
                        <a:pt x="4" y="13"/>
                      </a:lnTo>
                      <a:lnTo>
                        <a:pt x="10" y="9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12" y="12"/>
                      </a:lnTo>
                      <a:lnTo>
                        <a:pt x="31" y="7"/>
                      </a:lnTo>
                      <a:lnTo>
                        <a:pt x="48" y="4"/>
                      </a:lnTo>
                      <a:lnTo>
                        <a:pt x="65" y="3"/>
                      </a:lnTo>
                      <a:lnTo>
                        <a:pt x="80" y="2"/>
                      </a:lnTo>
                      <a:lnTo>
                        <a:pt x="89" y="0"/>
                      </a:lnTo>
                      <a:lnTo>
                        <a:pt x="93" y="0"/>
                      </a:lnTo>
                      <a:lnTo>
                        <a:pt x="99" y="0"/>
                      </a:lnTo>
                      <a:close/>
                    </a:path>
                  </a:pathLst>
                </a:custGeom>
                <a:solidFill>
                  <a:srgbClr val="FFE2B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51" name="Freeform 239"/>
                <p:cNvSpPr>
                  <a:spLocks/>
                </p:cNvSpPr>
                <p:nvPr/>
              </p:nvSpPr>
              <p:spPr bwMode="auto">
                <a:xfrm>
                  <a:off x="5264151" y="4038601"/>
                  <a:ext cx="180975" cy="222250"/>
                </a:xfrm>
                <a:custGeom>
                  <a:avLst/>
                  <a:gdLst>
                    <a:gd name="T0" fmla="*/ 0 w 114"/>
                    <a:gd name="T1" fmla="*/ 0 h 140"/>
                    <a:gd name="T2" fmla="*/ 114 w 114"/>
                    <a:gd name="T3" fmla="*/ 0 h 140"/>
                    <a:gd name="T4" fmla="*/ 98 w 114"/>
                    <a:gd name="T5" fmla="*/ 140 h 140"/>
                    <a:gd name="T6" fmla="*/ 15 w 114"/>
                    <a:gd name="T7" fmla="*/ 140 h 140"/>
                    <a:gd name="T8" fmla="*/ 0 w 114"/>
                    <a:gd name="T9" fmla="*/ 0 h 1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4" h="140">
                      <a:moveTo>
                        <a:pt x="0" y="0"/>
                      </a:moveTo>
                      <a:lnTo>
                        <a:pt x="114" y="0"/>
                      </a:lnTo>
                      <a:lnTo>
                        <a:pt x="98" y="140"/>
                      </a:lnTo>
                      <a:lnTo>
                        <a:pt x="15" y="14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0D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52" name="Freeform 240"/>
                <p:cNvSpPr>
                  <a:spLocks/>
                </p:cNvSpPr>
                <p:nvPr/>
              </p:nvSpPr>
              <p:spPr bwMode="auto">
                <a:xfrm>
                  <a:off x="5267326" y="4103688"/>
                  <a:ext cx="173038" cy="77788"/>
                </a:xfrm>
                <a:custGeom>
                  <a:avLst/>
                  <a:gdLst>
                    <a:gd name="T0" fmla="*/ 0 w 109"/>
                    <a:gd name="T1" fmla="*/ 0 h 49"/>
                    <a:gd name="T2" fmla="*/ 109 w 109"/>
                    <a:gd name="T3" fmla="*/ 0 h 49"/>
                    <a:gd name="T4" fmla="*/ 103 w 109"/>
                    <a:gd name="T5" fmla="*/ 49 h 49"/>
                    <a:gd name="T6" fmla="*/ 5 w 109"/>
                    <a:gd name="T7" fmla="*/ 49 h 49"/>
                    <a:gd name="T8" fmla="*/ 0 w 109"/>
                    <a:gd name="T9" fmla="*/ 0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9" h="49">
                      <a:moveTo>
                        <a:pt x="0" y="0"/>
                      </a:moveTo>
                      <a:lnTo>
                        <a:pt x="109" y="0"/>
                      </a:lnTo>
                      <a:lnTo>
                        <a:pt x="103" y="49"/>
                      </a:lnTo>
                      <a:lnTo>
                        <a:pt x="5" y="4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2794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53" name="Freeform 241"/>
                <p:cNvSpPr>
                  <a:spLocks/>
                </p:cNvSpPr>
                <p:nvPr/>
              </p:nvSpPr>
              <p:spPr bwMode="auto">
                <a:xfrm>
                  <a:off x="5321301" y="4113213"/>
                  <a:ext cx="63500" cy="60325"/>
                </a:xfrm>
                <a:custGeom>
                  <a:avLst/>
                  <a:gdLst>
                    <a:gd name="T0" fmla="*/ 21 w 40"/>
                    <a:gd name="T1" fmla="*/ 0 h 38"/>
                    <a:gd name="T2" fmla="*/ 27 w 40"/>
                    <a:gd name="T3" fmla="*/ 0 h 38"/>
                    <a:gd name="T4" fmla="*/ 32 w 40"/>
                    <a:gd name="T5" fmla="*/ 3 h 38"/>
                    <a:gd name="T6" fmla="*/ 35 w 40"/>
                    <a:gd name="T7" fmla="*/ 7 h 38"/>
                    <a:gd name="T8" fmla="*/ 38 w 40"/>
                    <a:gd name="T9" fmla="*/ 13 h 38"/>
                    <a:gd name="T10" fmla="*/ 40 w 40"/>
                    <a:gd name="T11" fmla="*/ 19 h 38"/>
                    <a:gd name="T12" fmla="*/ 38 w 40"/>
                    <a:gd name="T13" fmla="*/ 25 h 38"/>
                    <a:gd name="T14" fmla="*/ 35 w 40"/>
                    <a:gd name="T15" fmla="*/ 30 h 38"/>
                    <a:gd name="T16" fmla="*/ 32 w 40"/>
                    <a:gd name="T17" fmla="*/ 35 h 38"/>
                    <a:gd name="T18" fmla="*/ 27 w 40"/>
                    <a:gd name="T19" fmla="*/ 38 h 38"/>
                    <a:gd name="T20" fmla="*/ 21 w 40"/>
                    <a:gd name="T21" fmla="*/ 38 h 38"/>
                    <a:gd name="T22" fmla="*/ 14 w 40"/>
                    <a:gd name="T23" fmla="*/ 38 h 38"/>
                    <a:gd name="T24" fmla="*/ 9 w 40"/>
                    <a:gd name="T25" fmla="*/ 35 h 38"/>
                    <a:gd name="T26" fmla="*/ 5 w 40"/>
                    <a:gd name="T27" fmla="*/ 30 h 38"/>
                    <a:gd name="T28" fmla="*/ 2 w 40"/>
                    <a:gd name="T29" fmla="*/ 25 h 38"/>
                    <a:gd name="T30" fmla="*/ 0 w 40"/>
                    <a:gd name="T31" fmla="*/ 19 h 38"/>
                    <a:gd name="T32" fmla="*/ 2 w 40"/>
                    <a:gd name="T33" fmla="*/ 13 h 38"/>
                    <a:gd name="T34" fmla="*/ 5 w 40"/>
                    <a:gd name="T35" fmla="*/ 7 h 38"/>
                    <a:gd name="T36" fmla="*/ 9 w 40"/>
                    <a:gd name="T37" fmla="*/ 3 h 38"/>
                    <a:gd name="T38" fmla="*/ 14 w 40"/>
                    <a:gd name="T39" fmla="*/ 0 h 38"/>
                    <a:gd name="T40" fmla="*/ 21 w 40"/>
                    <a:gd name="T41" fmla="*/ 0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40" h="38">
                      <a:moveTo>
                        <a:pt x="21" y="0"/>
                      </a:moveTo>
                      <a:lnTo>
                        <a:pt x="27" y="0"/>
                      </a:lnTo>
                      <a:lnTo>
                        <a:pt x="32" y="3"/>
                      </a:lnTo>
                      <a:lnTo>
                        <a:pt x="35" y="7"/>
                      </a:lnTo>
                      <a:lnTo>
                        <a:pt x="38" y="13"/>
                      </a:lnTo>
                      <a:lnTo>
                        <a:pt x="40" y="19"/>
                      </a:lnTo>
                      <a:lnTo>
                        <a:pt x="38" y="25"/>
                      </a:lnTo>
                      <a:lnTo>
                        <a:pt x="35" y="30"/>
                      </a:lnTo>
                      <a:lnTo>
                        <a:pt x="32" y="35"/>
                      </a:lnTo>
                      <a:lnTo>
                        <a:pt x="27" y="38"/>
                      </a:lnTo>
                      <a:lnTo>
                        <a:pt x="21" y="38"/>
                      </a:lnTo>
                      <a:lnTo>
                        <a:pt x="14" y="38"/>
                      </a:lnTo>
                      <a:lnTo>
                        <a:pt x="9" y="35"/>
                      </a:lnTo>
                      <a:lnTo>
                        <a:pt x="5" y="30"/>
                      </a:lnTo>
                      <a:lnTo>
                        <a:pt x="2" y="25"/>
                      </a:lnTo>
                      <a:lnTo>
                        <a:pt x="0" y="19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9" y="3"/>
                      </a:lnTo>
                      <a:lnTo>
                        <a:pt x="14" y="0"/>
                      </a:lnTo>
                      <a:lnTo>
                        <a:pt x="21" y="0"/>
                      </a:lnTo>
                      <a:close/>
                    </a:path>
                  </a:pathLst>
                </a:custGeom>
                <a:solidFill>
                  <a:srgbClr val="FFF0D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54" name="Freeform 242"/>
                <p:cNvSpPr>
                  <a:spLocks/>
                </p:cNvSpPr>
                <p:nvPr/>
              </p:nvSpPr>
              <p:spPr bwMode="auto">
                <a:xfrm>
                  <a:off x="5248276" y="4022726"/>
                  <a:ext cx="209550" cy="34925"/>
                </a:xfrm>
                <a:custGeom>
                  <a:avLst/>
                  <a:gdLst>
                    <a:gd name="T0" fmla="*/ 9 w 132"/>
                    <a:gd name="T1" fmla="*/ 0 h 22"/>
                    <a:gd name="T2" fmla="*/ 124 w 132"/>
                    <a:gd name="T3" fmla="*/ 0 h 22"/>
                    <a:gd name="T4" fmla="*/ 128 w 132"/>
                    <a:gd name="T5" fmla="*/ 2 h 22"/>
                    <a:gd name="T6" fmla="*/ 129 w 132"/>
                    <a:gd name="T7" fmla="*/ 3 h 22"/>
                    <a:gd name="T8" fmla="*/ 132 w 132"/>
                    <a:gd name="T9" fmla="*/ 7 h 22"/>
                    <a:gd name="T10" fmla="*/ 132 w 132"/>
                    <a:gd name="T11" fmla="*/ 10 h 22"/>
                    <a:gd name="T12" fmla="*/ 132 w 132"/>
                    <a:gd name="T13" fmla="*/ 15 h 22"/>
                    <a:gd name="T14" fmla="*/ 129 w 132"/>
                    <a:gd name="T15" fmla="*/ 19 h 22"/>
                    <a:gd name="T16" fmla="*/ 128 w 132"/>
                    <a:gd name="T17" fmla="*/ 21 h 22"/>
                    <a:gd name="T18" fmla="*/ 124 w 132"/>
                    <a:gd name="T19" fmla="*/ 22 h 22"/>
                    <a:gd name="T20" fmla="*/ 9 w 132"/>
                    <a:gd name="T21" fmla="*/ 22 h 22"/>
                    <a:gd name="T22" fmla="*/ 6 w 132"/>
                    <a:gd name="T23" fmla="*/ 21 h 22"/>
                    <a:gd name="T24" fmla="*/ 3 w 132"/>
                    <a:gd name="T25" fmla="*/ 19 h 22"/>
                    <a:gd name="T26" fmla="*/ 1 w 132"/>
                    <a:gd name="T27" fmla="*/ 15 h 22"/>
                    <a:gd name="T28" fmla="*/ 0 w 132"/>
                    <a:gd name="T29" fmla="*/ 10 h 22"/>
                    <a:gd name="T30" fmla="*/ 1 w 132"/>
                    <a:gd name="T31" fmla="*/ 7 h 22"/>
                    <a:gd name="T32" fmla="*/ 3 w 132"/>
                    <a:gd name="T33" fmla="*/ 3 h 22"/>
                    <a:gd name="T34" fmla="*/ 6 w 132"/>
                    <a:gd name="T35" fmla="*/ 2 h 22"/>
                    <a:gd name="T36" fmla="*/ 9 w 132"/>
                    <a:gd name="T37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32" h="22">
                      <a:moveTo>
                        <a:pt x="9" y="0"/>
                      </a:moveTo>
                      <a:lnTo>
                        <a:pt x="124" y="0"/>
                      </a:lnTo>
                      <a:lnTo>
                        <a:pt x="128" y="2"/>
                      </a:lnTo>
                      <a:lnTo>
                        <a:pt x="129" y="3"/>
                      </a:lnTo>
                      <a:lnTo>
                        <a:pt x="132" y="7"/>
                      </a:lnTo>
                      <a:lnTo>
                        <a:pt x="132" y="10"/>
                      </a:lnTo>
                      <a:lnTo>
                        <a:pt x="132" y="15"/>
                      </a:lnTo>
                      <a:lnTo>
                        <a:pt x="129" y="19"/>
                      </a:lnTo>
                      <a:lnTo>
                        <a:pt x="128" y="21"/>
                      </a:lnTo>
                      <a:lnTo>
                        <a:pt x="124" y="22"/>
                      </a:lnTo>
                      <a:lnTo>
                        <a:pt x="9" y="22"/>
                      </a:lnTo>
                      <a:lnTo>
                        <a:pt x="6" y="21"/>
                      </a:lnTo>
                      <a:lnTo>
                        <a:pt x="3" y="19"/>
                      </a:lnTo>
                      <a:lnTo>
                        <a:pt x="1" y="15"/>
                      </a:lnTo>
                      <a:lnTo>
                        <a:pt x="0" y="10"/>
                      </a:lnTo>
                      <a:lnTo>
                        <a:pt x="1" y="7"/>
                      </a:lnTo>
                      <a:lnTo>
                        <a:pt x="3" y="3"/>
                      </a:lnTo>
                      <a:lnTo>
                        <a:pt x="6" y="2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solidFill>
                  <a:srgbClr val="D2794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55" name="Freeform 243"/>
                <p:cNvSpPr>
                  <a:spLocks/>
                </p:cNvSpPr>
                <p:nvPr/>
              </p:nvSpPr>
              <p:spPr bwMode="auto">
                <a:xfrm>
                  <a:off x="5280026" y="4002088"/>
                  <a:ext cx="147638" cy="41275"/>
                </a:xfrm>
                <a:custGeom>
                  <a:avLst/>
                  <a:gdLst>
                    <a:gd name="T0" fmla="*/ 10 w 93"/>
                    <a:gd name="T1" fmla="*/ 0 h 26"/>
                    <a:gd name="T2" fmla="*/ 82 w 93"/>
                    <a:gd name="T3" fmla="*/ 0 h 26"/>
                    <a:gd name="T4" fmla="*/ 86 w 93"/>
                    <a:gd name="T5" fmla="*/ 2 h 26"/>
                    <a:gd name="T6" fmla="*/ 90 w 93"/>
                    <a:gd name="T7" fmla="*/ 4 h 26"/>
                    <a:gd name="T8" fmla="*/ 92 w 93"/>
                    <a:gd name="T9" fmla="*/ 9 h 26"/>
                    <a:gd name="T10" fmla="*/ 93 w 93"/>
                    <a:gd name="T11" fmla="*/ 13 h 26"/>
                    <a:gd name="T12" fmla="*/ 92 w 93"/>
                    <a:gd name="T13" fmla="*/ 19 h 26"/>
                    <a:gd name="T14" fmla="*/ 90 w 93"/>
                    <a:gd name="T15" fmla="*/ 23 h 26"/>
                    <a:gd name="T16" fmla="*/ 86 w 93"/>
                    <a:gd name="T17" fmla="*/ 25 h 26"/>
                    <a:gd name="T18" fmla="*/ 82 w 93"/>
                    <a:gd name="T19" fmla="*/ 26 h 26"/>
                    <a:gd name="T20" fmla="*/ 10 w 93"/>
                    <a:gd name="T21" fmla="*/ 26 h 26"/>
                    <a:gd name="T22" fmla="*/ 6 w 93"/>
                    <a:gd name="T23" fmla="*/ 25 h 26"/>
                    <a:gd name="T24" fmla="*/ 3 w 93"/>
                    <a:gd name="T25" fmla="*/ 23 h 26"/>
                    <a:gd name="T26" fmla="*/ 0 w 93"/>
                    <a:gd name="T27" fmla="*/ 19 h 26"/>
                    <a:gd name="T28" fmla="*/ 0 w 93"/>
                    <a:gd name="T29" fmla="*/ 13 h 26"/>
                    <a:gd name="T30" fmla="*/ 0 w 93"/>
                    <a:gd name="T31" fmla="*/ 9 h 26"/>
                    <a:gd name="T32" fmla="*/ 3 w 93"/>
                    <a:gd name="T33" fmla="*/ 4 h 26"/>
                    <a:gd name="T34" fmla="*/ 6 w 93"/>
                    <a:gd name="T35" fmla="*/ 2 h 26"/>
                    <a:gd name="T36" fmla="*/ 10 w 93"/>
                    <a:gd name="T37" fmla="*/ 0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93" h="26">
                      <a:moveTo>
                        <a:pt x="10" y="0"/>
                      </a:moveTo>
                      <a:lnTo>
                        <a:pt x="82" y="0"/>
                      </a:lnTo>
                      <a:lnTo>
                        <a:pt x="86" y="2"/>
                      </a:lnTo>
                      <a:lnTo>
                        <a:pt x="90" y="4"/>
                      </a:lnTo>
                      <a:lnTo>
                        <a:pt x="92" y="9"/>
                      </a:lnTo>
                      <a:lnTo>
                        <a:pt x="93" y="13"/>
                      </a:lnTo>
                      <a:lnTo>
                        <a:pt x="92" y="19"/>
                      </a:lnTo>
                      <a:lnTo>
                        <a:pt x="90" y="23"/>
                      </a:lnTo>
                      <a:lnTo>
                        <a:pt x="86" y="25"/>
                      </a:lnTo>
                      <a:lnTo>
                        <a:pt x="82" y="26"/>
                      </a:lnTo>
                      <a:lnTo>
                        <a:pt x="10" y="26"/>
                      </a:lnTo>
                      <a:lnTo>
                        <a:pt x="6" y="25"/>
                      </a:lnTo>
                      <a:lnTo>
                        <a:pt x="3" y="23"/>
                      </a:lnTo>
                      <a:lnTo>
                        <a:pt x="0" y="19"/>
                      </a:lnTo>
                      <a:lnTo>
                        <a:pt x="0" y="13"/>
                      </a:lnTo>
                      <a:lnTo>
                        <a:pt x="0" y="9"/>
                      </a:lnTo>
                      <a:lnTo>
                        <a:pt x="3" y="4"/>
                      </a:lnTo>
                      <a:lnTo>
                        <a:pt x="6" y="2"/>
                      </a:lnTo>
                      <a:lnTo>
                        <a:pt x="10" y="0"/>
                      </a:lnTo>
                      <a:close/>
                    </a:path>
                  </a:pathLst>
                </a:custGeom>
                <a:solidFill>
                  <a:srgbClr val="D2794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56" name="Freeform 244"/>
                <p:cNvSpPr>
                  <a:spLocks noEditPoints="1"/>
                </p:cNvSpPr>
                <p:nvPr/>
              </p:nvSpPr>
              <p:spPr bwMode="auto">
                <a:xfrm>
                  <a:off x="5264151" y="4057651"/>
                  <a:ext cx="53975" cy="203200"/>
                </a:xfrm>
                <a:custGeom>
                  <a:avLst/>
                  <a:gdLst>
                    <a:gd name="T0" fmla="*/ 9 w 34"/>
                    <a:gd name="T1" fmla="*/ 78 h 128"/>
                    <a:gd name="T2" fmla="*/ 20 w 34"/>
                    <a:gd name="T3" fmla="*/ 78 h 128"/>
                    <a:gd name="T4" fmla="*/ 22 w 34"/>
                    <a:gd name="T5" fmla="*/ 84 h 128"/>
                    <a:gd name="T6" fmla="*/ 25 w 34"/>
                    <a:gd name="T7" fmla="*/ 94 h 128"/>
                    <a:gd name="T8" fmla="*/ 26 w 34"/>
                    <a:gd name="T9" fmla="*/ 108 h 128"/>
                    <a:gd name="T10" fmla="*/ 26 w 34"/>
                    <a:gd name="T11" fmla="*/ 118 h 128"/>
                    <a:gd name="T12" fmla="*/ 28 w 34"/>
                    <a:gd name="T13" fmla="*/ 125 h 128"/>
                    <a:gd name="T14" fmla="*/ 28 w 34"/>
                    <a:gd name="T15" fmla="*/ 126 h 128"/>
                    <a:gd name="T16" fmla="*/ 29 w 34"/>
                    <a:gd name="T17" fmla="*/ 126 h 128"/>
                    <a:gd name="T18" fmla="*/ 32 w 34"/>
                    <a:gd name="T19" fmla="*/ 126 h 128"/>
                    <a:gd name="T20" fmla="*/ 34 w 34"/>
                    <a:gd name="T21" fmla="*/ 126 h 128"/>
                    <a:gd name="T22" fmla="*/ 34 w 34"/>
                    <a:gd name="T23" fmla="*/ 128 h 128"/>
                    <a:gd name="T24" fmla="*/ 15 w 34"/>
                    <a:gd name="T25" fmla="*/ 128 h 128"/>
                    <a:gd name="T26" fmla="*/ 15 w 34"/>
                    <a:gd name="T27" fmla="*/ 119 h 128"/>
                    <a:gd name="T28" fmla="*/ 13 w 34"/>
                    <a:gd name="T29" fmla="*/ 109 h 128"/>
                    <a:gd name="T30" fmla="*/ 9 w 34"/>
                    <a:gd name="T31" fmla="*/ 78 h 128"/>
                    <a:gd name="T32" fmla="*/ 0 w 34"/>
                    <a:gd name="T33" fmla="*/ 0 h 128"/>
                    <a:gd name="T34" fmla="*/ 19 w 34"/>
                    <a:gd name="T35" fmla="*/ 0 h 128"/>
                    <a:gd name="T36" fmla="*/ 19 w 34"/>
                    <a:gd name="T37" fmla="*/ 0 h 128"/>
                    <a:gd name="T38" fmla="*/ 18 w 34"/>
                    <a:gd name="T39" fmla="*/ 10 h 128"/>
                    <a:gd name="T40" fmla="*/ 18 w 34"/>
                    <a:gd name="T41" fmla="*/ 19 h 128"/>
                    <a:gd name="T42" fmla="*/ 19 w 34"/>
                    <a:gd name="T43" fmla="*/ 29 h 128"/>
                    <a:gd name="T44" fmla="*/ 4 w 34"/>
                    <a:gd name="T45" fmla="*/ 29 h 128"/>
                    <a:gd name="T46" fmla="*/ 0 w 34"/>
                    <a:gd name="T47" fmla="*/ 0 h 1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34" h="128">
                      <a:moveTo>
                        <a:pt x="9" y="78"/>
                      </a:moveTo>
                      <a:lnTo>
                        <a:pt x="20" y="78"/>
                      </a:lnTo>
                      <a:lnTo>
                        <a:pt x="22" y="84"/>
                      </a:lnTo>
                      <a:lnTo>
                        <a:pt x="25" y="94"/>
                      </a:lnTo>
                      <a:lnTo>
                        <a:pt x="26" y="108"/>
                      </a:lnTo>
                      <a:lnTo>
                        <a:pt x="26" y="118"/>
                      </a:lnTo>
                      <a:lnTo>
                        <a:pt x="28" y="125"/>
                      </a:lnTo>
                      <a:lnTo>
                        <a:pt x="28" y="126"/>
                      </a:lnTo>
                      <a:lnTo>
                        <a:pt x="29" y="126"/>
                      </a:lnTo>
                      <a:lnTo>
                        <a:pt x="32" y="126"/>
                      </a:lnTo>
                      <a:lnTo>
                        <a:pt x="34" y="126"/>
                      </a:lnTo>
                      <a:lnTo>
                        <a:pt x="34" y="128"/>
                      </a:lnTo>
                      <a:lnTo>
                        <a:pt x="15" y="128"/>
                      </a:lnTo>
                      <a:lnTo>
                        <a:pt x="15" y="119"/>
                      </a:lnTo>
                      <a:lnTo>
                        <a:pt x="13" y="109"/>
                      </a:lnTo>
                      <a:lnTo>
                        <a:pt x="9" y="78"/>
                      </a:lnTo>
                      <a:close/>
                      <a:moveTo>
                        <a:pt x="0" y="0"/>
                      </a:moveTo>
                      <a:lnTo>
                        <a:pt x="19" y="0"/>
                      </a:lnTo>
                      <a:lnTo>
                        <a:pt x="19" y="0"/>
                      </a:lnTo>
                      <a:lnTo>
                        <a:pt x="18" y="10"/>
                      </a:lnTo>
                      <a:lnTo>
                        <a:pt x="18" y="19"/>
                      </a:lnTo>
                      <a:lnTo>
                        <a:pt x="19" y="29"/>
                      </a:lnTo>
                      <a:lnTo>
                        <a:pt x="4" y="2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27243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57" name="Freeform 245"/>
                <p:cNvSpPr>
                  <a:spLocks/>
                </p:cNvSpPr>
                <p:nvPr/>
              </p:nvSpPr>
              <p:spPr bwMode="auto">
                <a:xfrm>
                  <a:off x="5267326" y="4103688"/>
                  <a:ext cx="28575" cy="77788"/>
                </a:xfrm>
                <a:custGeom>
                  <a:avLst/>
                  <a:gdLst>
                    <a:gd name="T0" fmla="*/ 0 w 18"/>
                    <a:gd name="T1" fmla="*/ 0 h 49"/>
                    <a:gd name="T2" fmla="*/ 17 w 18"/>
                    <a:gd name="T3" fmla="*/ 0 h 49"/>
                    <a:gd name="T4" fmla="*/ 17 w 18"/>
                    <a:gd name="T5" fmla="*/ 0 h 49"/>
                    <a:gd name="T6" fmla="*/ 16 w 18"/>
                    <a:gd name="T7" fmla="*/ 6 h 49"/>
                    <a:gd name="T8" fmla="*/ 16 w 18"/>
                    <a:gd name="T9" fmla="*/ 18 h 49"/>
                    <a:gd name="T10" fmla="*/ 16 w 18"/>
                    <a:gd name="T11" fmla="*/ 32 h 49"/>
                    <a:gd name="T12" fmla="*/ 17 w 18"/>
                    <a:gd name="T13" fmla="*/ 44 h 49"/>
                    <a:gd name="T14" fmla="*/ 18 w 18"/>
                    <a:gd name="T15" fmla="*/ 48 h 49"/>
                    <a:gd name="T16" fmla="*/ 18 w 18"/>
                    <a:gd name="T17" fmla="*/ 49 h 49"/>
                    <a:gd name="T18" fmla="*/ 5 w 18"/>
                    <a:gd name="T19" fmla="*/ 49 h 49"/>
                    <a:gd name="T20" fmla="*/ 0 w 18"/>
                    <a:gd name="T21" fmla="*/ 0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8" h="49">
                      <a:moveTo>
                        <a:pt x="0" y="0"/>
                      </a:moveTo>
                      <a:lnTo>
                        <a:pt x="17" y="0"/>
                      </a:lnTo>
                      <a:lnTo>
                        <a:pt x="17" y="0"/>
                      </a:lnTo>
                      <a:lnTo>
                        <a:pt x="16" y="6"/>
                      </a:lnTo>
                      <a:lnTo>
                        <a:pt x="16" y="18"/>
                      </a:lnTo>
                      <a:lnTo>
                        <a:pt x="16" y="32"/>
                      </a:lnTo>
                      <a:lnTo>
                        <a:pt x="17" y="44"/>
                      </a:lnTo>
                      <a:lnTo>
                        <a:pt x="18" y="48"/>
                      </a:lnTo>
                      <a:lnTo>
                        <a:pt x="18" y="49"/>
                      </a:lnTo>
                      <a:lnTo>
                        <a:pt x="5" y="4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AD3918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58" name="Freeform 246"/>
                <p:cNvSpPr>
                  <a:spLocks/>
                </p:cNvSpPr>
                <p:nvPr/>
              </p:nvSpPr>
              <p:spPr bwMode="auto">
                <a:xfrm>
                  <a:off x="5248276" y="4022726"/>
                  <a:ext cx="46038" cy="34925"/>
                </a:xfrm>
                <a:custGeom>
                  <a:avLst/>
                  <a:gdLst>
                    <a:gd name="T0" fmla="*/ 9 w 29"/>
                    <a:gd name="T1" fmla="*/ 0 h 22"/>
                    <a:gd name="T2" fmla="*/ 20 w 29"/>
                    <a:gd name="T3" fmla="*/ 0 h 22"/>
                    <a:gd name="T4" fmla="*/ 20 w 29"/>
                    <a:gd name="T5" fmla="*/ 5 h 22"/>
                    <a:gd name="T6" fmla="*/ 22 w 29"/>
                    <a:gd name="T7" fmla="*/ 9 h 22"/>
                    <a:gd name="T8" fmla="*/ 26 w 29"/>
                    <a:gd name="T9" fmla="*/ 12 h 22"/>
                    <a:gd name="T10" fmla="*/ 29 w 29"/>
                    <a:gd name="T11" fmla="*/ 13 h 22"/>
                    <a:gd name="T12" fmla="*/ 29 w 29"/>
                    <a:gd name="T13" fmla="*/ 18 h 22"/>
                    <a:gd name="T14" fmla="*/ 29 w 29"/>
                    <a:gd name="T15" fmla="*/ 22 h 22"/>
                    <a:gd name="T16" fmla="*/ 9 w 29"/>
                    <a:gd name="T17" fmla="*/ 22 h 22"/>
                    <a:gd name="T18" fmla="*/ 6 w 29"/>
                    <a:gd name="T19" fmla="*/ 21 h 22"/>
                    <a:gd name="T20" fmla="*/ 3 w 29"/>
                    <a:gd name="T21" fmla="*/ 19 h 22"/>
                    <a:gd name="T22" fmla="*/ 1 w 29"/>
                    <a:gd name="T23" fmla="*/ 15 h 22"/>
                    <a:gd name="T24" fmla="*/ 0 w 29"/>
                    <a:gd name="T25" fmla="*/ 10 h 22"/>
                    <a:gd name="T26" fmla="*/ 1 w 29"/>
                    <a:gd name="T27" fmla="*/ 7 h 22"/>
                    <a:gd name="T28" fmla="*/ 3 w 29"/>
                    <a:gd name="T29" fmla="*/ 3 h 22"/>
                    <a:gd name="T30" fmla="*/ 6 w 29"/>
                    <a:gd name="T31" fmla="*/ 2 h 22"/>
                    <a:gd name="T32" fmla="*/ 9 w 29"/>
                    <a:gd name="T33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9" h="22">
                      <a:moveTo>
                        <a:pt x="9" y="0"/>
                      </a:moveTo>
                      <a:lnTo>
                        <a:pt x="20" y="0"/>
                      </a:lnTo>
                      <a:lnTo>
                        <a:pt x="20" y="5"/>
                      </a:lnTo>
                      <a:lnTo>
                        <a:pt x="22" y="9"/>
                      </a:lnTo>
                      <a:lnTo>
                        <a:pt x="26" y="12"/>
                      </a:lnTo>
                      <a:lnTo>
                        <a:pt x="29" y="13"/>
                      </a:lnTo>
                      <a:lnTo>
                        <a:pt x="29" y="18"/>
                      </a:lnTo>
                      <a:lnTo>
                        <a:pt x="29" y="22"/>
                      </a:lnTo>
                      <a:lnTo>
                        <a:pt x="9" y="22"/>
                      </a:lnTo>
                      <a:lnTo>
                        <a:pt x="6" y="21"/>
                      </a:lnTo>
                      <a:lnTo>
                        <a:pt x="3" y="19"/>
                      </a:lnTo>
                      <a:lnTo>
                        <a:pt x="1" y="15"/>
                      </a:lnTo>
                      <a:lnTo>
                        <a:pt x="0" y="10"/>
                      </a:lnTo>
                      <a:lnTo>
                        <a:pt x="1" y="7"/>
                      </a:lnTo>
                      <a:lnTo>
                        <a:pt x="3" y="3"/>
                      </a:lnTo>
                      <a:lnTo>
                        <a:pt x="6" y="2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solidFill>
                  <a:srgbClr val="AD3918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59" name="Freeform 247"/>
                <p:cNvSpPr>
                  <a:spLocks/>
                </p:cNvSpPr>
                <p:nvPr/>
              </p:nvSpPr>
              <p:spPr bwMode="auto">
                <a:xfrm>
                  <a:off x="5280026" y="4002088"/>
                  <a:ext cx="38100" cy="41275"/>
                </a:xfrm>
                <a:custGeom>
                  <a:avLst/>
                  <a:gdLst>
                    <a:gd name="T0" fmla="*/ 10 w 24"/>
                    <a:gd name="T1" fmla="*/ 0 h 26"/>
                    <a:gd name="T2" fmla="*/ 24 w 24"/>
                    <a:gd name="T3" fmla="*/ 0 h 26"/>
                    <a:gd name="T4" fmla="*/ 21 w 24"/>
                    <a:gd name="T5" fmla="*/ 2 h 26"/>
                    <a:gd name="T6" fmla="*/ 19 w 24"/>
                    <a:gd name="T7" fmla="*/ 4 h 26"/>
                    <a:gd name="T8" fmla="*/ 18 w 24"/>
                    <a:gd name="T9" fmla="*/ 9 h 26"/>
                    <a:gd name="T10" fmla="*/ 16 w 24"/>
                    <a:gd name="T11" fmla="*/ 13 h 26"/>
                    <a:gd name="T12" fmla="*/ 13 w 24"/>
                    <a:gd name="T13" fmla="*/ 19 h 26"/>
                    <a:gd name="T14" fmla="*/ 10 w 24"/>
                    <a:gd name="T15" fmla="*/ 22 h 26"/>
                    <a:gd name="T16" fmla="*/ 9 w 24"/>
                    <a:gd name="T17" fmla="*/ 26 h 26"/>
                    <a:gd name="T18" fmla="*/ 6 w 24"/>
                    <a:gd name="T19" fmla="*/ 25 h 26"/>
                    <a:gd name="T20" fmla="*/ 2 w 24"/>
                    <a:gd name="T21" fmla="*/ 22 h 26"/>
                    <a:gd name="T22" fmla="*/ 0 w 24"/>
                    <a:gd name="T23" fmla="*/ 18 h 26"/>
                    <a:gd name="T24" fmla="*/ 0 w 24"/>
                    <a:gd name="T25" fmla="*/ 13 h 26"/>
                    <a:gd name="T26" fmla="*/ 0 w 24"/>
                    <a:gd name="T27" fmla="*/ 9 h 26"/>
                    <a:gd name="T28" fmla="*/ 3 w 24"/>
                    <a:gd name="T29" fmla="*/ 4 h 26"/>
                    <a:gd name="T30" fmla="*/ 6 w 24"/>
                    <a:gd name="T31" fmla="*/ 2 h 26"/>
                    <a:gd name="T32" fmla="*/ 10 w 24"/>
                    <a:gd name="T33" fmla="*/ 0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4" h="26">
                      <a:moveTo>
                        <a:pt x="10" y="0"/>
                      </a:moveTo>
                      <a:lnTo>
                        <a:pt x="24" y="0"/>
                      </a:lnTo>
                      <a:lnTo>
                        <a:pt x="21" y="2"/>
                      </a:lnTo>
                      <a:lnTo>
                        <a:pt x="19" y="4"/>
                      </a:lnTo>
                      <a:lnTo>
                        <a:pt x="18" y="9"/>
                      </a:lnTo>
                      <a:lnTo>
                        <a:pt x="16" y="13"/>
                      </a:lnTo>
                      <a:lnTo>
                        <a:pt x="13" y="19"/>
                      </a:lnTo>
                      <a:lnTo>
                        <a:pt x="10" y="22"/>
                      </a:lnTo>
                      <a:lnTo>
                        <a:pt x="9" y="26"/>
                      </a:lnTo>
                      <a:lnTo>
                        <a:pt x="6" y="25"/>
                      </a:lnTo>
                      <a:lnTo>
                        <a:pt x="2" y="22"/>
                      </a:lnTo>
                      <a:lnTo>
                        <a:pt x="0" y="18"/>
                      </a:lnTo>
                      <a:lnTo>
                        <a:pt x="0" y="13"/>
                      </a:lnTo>
                      <a:lnTo>
                        <a:pt x="0" y="9"/>
                      </a:lnTo>
                      <a:lnTo>
                        <a:pt x="3" y="4"/>
                      </a:lnTo>
                      <a:lnTo>
                        <a:pt x="6" y="2"/>
                      </a:lnTo>
                      <a:lnTo>
                        <a:pt x="10" y="0"/>
                      </a:lnTo>
                      <a:close/>
                    </a:path>
                  </a:pathLst>
                </a:custGeom>
                <a:solidFill>
                  <a:srgbClr val="AD3918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60" name="Freeform 248"/>
                <p:cNvSpPr>
                  <a:spLocks/>
                </p:cNvSpPr>
                <p:nvPr/>
              </p:nvSpPr>
              <p:spPr bwMode="auto">
                <a:xfrm>
                  <a:off x="5284789" y="4257676"/>
                  <a:ext cx="136525" cy="3175"/>
                </a:xfrm>
                <a:custGeom>
                  <a:avLst/>
                  <a:gdLst>
                    <a:gd name="T0" fmla="*/ 2 w 86"/>
                    <a:gd name="T1" fmla="*/ 0 h 2"/>
                    <a:gd name="T2" fmla="*/ 85 w 86"/>
                    <a:gd name="T3" fmla="*/ 0 h 2"/>
                    <a:gd name="T4" fmla="*/ 86 w 86"/>
                    <a:gd name="T5" fmla="*/ 0 h 2"/>
                    <a:gd name="T6" fmla="*/ 86 w 86"/>
                    <a:gd name="T7" fmla="*/ 0 h 2"/>
                    <a:gd name="T8" fmla="*/ 86 w 86"/>
                    <a:gd name="T9" fmla="*/ 2 h 2"/>
                    <a:gd name="T10" fmla="*/ 85 w 86"/>
                    <a:gd name="T11" fmla="*/ 2 h 2"/>
                    <a:gd name="T12" fmla="*/ 2 w 86"/>
                    <a:gd name="T13" fmla="*/ 2 h 2"/>
                    <a:gd name="T14" fmla="*/ 2 w 86"/>
                    <a:gd name="T15" fmla="*/ 2 h 2"/>
                    <a:gd name="T16" fmla="*/ 0 w 86"/>
                    <a:gd name="T17" fmla="*/ 0 h 2"/>
                    <a:gd name="T18" fmla="*/ 2 w 86"/>
                    <a:gd name="T19" fmla="*/ 0 h 2"/>
                    <a:gd name="T20" fmla="*/ 2 w 86"/>
                    <a:gd name="T2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6" h="2">
                      <a:moveTo>
                        <a:pt x="2" y="0"/>
                      </a:moveTo>
                      <a:lnTo>
                        <a:pt x="85" y="0"/>
                      </a:lnTo>
                      <a:lnTo>
                        <a:pt x="86" y="0"/>
                      </a:lnTo>
                      <a:lnTo>
                        <a:pt x="86" y="0"/>
                      </a:lnTo>
                      <a:lnTo>
                        <a:pt x="86" y="2"/>
                      </a:lnTo>
                      <a:lnTo>
                        <a:pt x="85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E8BD8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61" name="Freeform 249"/>
                <p:cNvSpPr>
                  <a:spLocks/>
                </p:cNvSpPr>
                <p:nvPr/>
              </p:nvSpPr>
              <p:spPr bwMode="auto">
                <a:xfrm>
                  <a:off x="5462589" y="4067176"/>
                  <a:ext cx="20638" cy="34925"/>
                </a:xfrm>
                <a:custGeom>
                  <a:avLst/>
                  <a:gdLst>
                    <a:gd name="T0" fmla="*/ 0 w 13"/>
                    <a:gd name="T1" fmla="*/ 0 h 22"/>
                    <a:gd name="T2" fmla="*/ 2 w 13"/>
                    <a:gd name="T3" fmla="*/ 0 h 22"/>
                    <a:gd name="T4" fmla="*/ 7 w 13"/>
                    <a:gd name="T5" fmla="*/ 0 h 22"/>
                    <a:gd name="T6" fmla="*/ 13 w 13"/>
                    <a:gd name="T7" fmla="*/ 1 h 22"/>
                    <a:gd name="T8" fmla="*/ 13 w 13"/>
                    <a:gd name="T9" fmla="*/ 22 h 22"/>
                    <a:gd name="T10" fmla="*/ 0 w 13"/>
                    <a:gd name="T11" fmla="*/ 17 h 22"/>
                    <a:gd name="T12" fmla="*/ 5 w 13"/>
                    <a:gd name="T13" fmla="*/ 17 h 22"/>
                    <a:gd name="T14" fmla="*/ 6 w 13"/>
                    <a:gd name="T15" fmla="*/ 14 h 22"/>
                    <a:gd name="T16" fmla="*/ 6 w 13"/>
                    <a:gd name="T17" fmla="*/ 13 h 22"/>
                    <a:gd name="T18" fmla="*/ 6 w 13"/>
                    <a:gd name="T19" fmla="*/ 11 h 22"/>
                    <a:gd name="T20" fmla="*/ 7 w 13"/>
                    <a:gd name="T21" fmla="*/ 9 h 22"/>
                    <a:gd name="T22" fmla="*/ 7 w 13"/>
                    <a:gd name="T23" fmla="*/ 7 h 22"/>
                    <a:gd name="T24" fmla="*/ 7 w 13"/>
                    <a:gd name="T25" fmla="*/ 6 h 22"/>
                    <a:gd name="T26" fmla="*/ 7 w 13"/>
                    <a:gd name="T27" fmla="*/ 3 h 22"/>
                    <a:gd name="T28" fmla="*/ 9 w 13"/>
                    <a:gd name="T29" fmla="*/ 1 h 22"/>
                    <a:gd name="T30" fmla="*/ 7 w 13"/>
                    <a:gd name="T31" fmla="*/ 1 h 22"/>
                    <a:gd name="T32" fmla="*/ 6 w 13"/>
                    <a:gd name="T33" fmla="*/ 1 h 22"/>
                    <a:gd name="T34" fmla="*/ 6 w 13"/>
                    <a:gd name="T35" fmla="*/ 1 h 22"/>
                    <a:gd name="T36" fmla="*/ 5 w 13"/>
                    <a:gd name="T37" fmla="*/ 1 h 22"/>
                    <a:gd name="T38" fmla="*/ 2 w 13"/>
                    <a:gd name="T39" fmla="*/ 0 h 22"/>
                    <a:gd name="T40" fmla="*/ 0 w 13"/>
                    <a:gd name="T41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3" h="22">
                      <a:moveTo>
                        <a:pt x="0" y="0"/>
                      </a:moveTo>
                      <a:lnTo>
                        <a:pt x="2" y="0"/>
                      </a:lnTo>
                      <a:lnTo>
                        <a:pt x="7" y="0"/>
                      </a:lnTo>
                      <a:lnTo>
                        <a:pt x="13" y="1"/>
                      </a:lnTo>
                      <a:lnTo>
                        <a:pt x="13" y="22"/>
                      </a:lnTo>
                      <a:lnTo>
                        <a:pt x="0" y="17"/>
                      </a:lnTo>
                      <a:lnTo>
                        <a:pt x="5" y="17"/>
                      </a:lnTo>
                      <a:lnTo>
                        <a:pt x="6" y="14"/>
                      </a:lnTo>
                      <a:lnTo>
                        <a:pt x="6" y="13"/>
                      </a:lnTo>
                      <a:lnTo>
                        <a:pt x="6" y="11"/>
                      </a:lnTo>
                      <a:lnTo>
                        <a:pt x="7" y="9"/>
                      </a:lnTo>
                      <a:lnTo>
                        <a:pt x="7" y="7"/>
                      </a:lnTo>
                      <a:lnTo>
                        <a:pt x="7" y="6"/>
                      </a:lnTo>
                      <a:lnTo>
                        <a:pt x="7" y="3"/>
                      </a:lnTo>
                      <a:lnTo>
                        <a:pt x="9" y="1"/>
                      </a:lnTo>
                      <a:lnTo>
                        <a:pt x="7" y="1"/>
                      </a:lnTo>
                      <a:lnTo>
                        <a:pt x="6" y="1"/>
                      </a:lnTo>
                      <a:lnTo>
                        <a:pt x="6" y="1"/>
                      </a:lnTo>
                      <a:lnTo>
                        <a:pt x="5" y="1"/>
                      </a:lnTo>
                      <a:lnTo>
                        <a:pt x="2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1EA6B3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62" name="Freeform 250"/>
                <p:cNvSpPr>
                  <a:spLocks/>
                </p:cNvSpPr>
                <p:nvPr/>
              </p:nvSpPr>
              <p:spPr bwMode="auto">
                <a:xfrm>
                  <a:off x="5483226" y="4068763"/>
                  <a:ext cx="14288" cy="38100"/>
                </a:xfrm>
                <a:custGeom>
                  <a:avLst/>
                  <a:gdLst>
                    <a:gd name="T0" fmla="*/ 0 w 9"/>
                    <a:gd name="T1" fmla="*/ 0 h 24"/>
                    <a:gd name="T2" fmla="*/ 3 w 9"/>
                    <a:gd name="T3" fmla="*/ 3 h 24"/>
                    <a:gd name="T4" fmla="*/ 6 w 9"/>
                    <a:gd name="T5" fmla="*/ 5 h 24"/>
                    <a:gd name="T6" fmla="*/ 8 w 9"/>
                    <a:gd name="T7" fmla="*/ 8 h 24"/>
                    <a:gd name="T8" fmla="*/ 9 w 9"/>
                    <a:gd name="T9" fmla="*/ 10 h 24"/>
                    <a:gd name="T10" fmla="*/ 9 w 9"/>
                    <a:gd name="T11" fmla="*/ 15 h 24"/>
                    <a:gd name="T12" fmla="*/ 8 w 9"/>
                    <a:gd name="T13" fmla="*/ 19 h 24"/>
                    <a:gd name="T14" fmla="*/ 6 w 9"/>
                    <a:gd name="T15" fmla="*/ 21 h 24"/>
                    <a:gd name="T16" fmla="*/ 5 w 9"/>
                    <a:gd name="T17" fmla="*/ 24 h 24"/>
                    <a:gd name="T18" fmla="*/ 0 w 9"/>
                    <a:gd name="T19" fmla="*/ 21 h 24"/>
                    <a:gd name="T20" fmla="*/ 0 w 9"/>
                    <a:gd name="T21" fmla="*/ 0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9" h="24">
                      <a:moveTo>
                        <a:pt x="0" y="0"/>
                      </a:moveTo>
                      <a:lnTo>
                        <a:pt x="3" y="3"/>
                      </a:lnTo>
                      <a:lnTo>
                        <a:pt x="6" y="5"/>
                      </a:lnTo>
                      <a:lnTo>
                        <a:pt x="8" y="8"/>
                      </a:lnTo>
                      <a:lnTo>
                        <a:pt x="9" y="10"/>
                      </a:lnTo>
                      <a:lnTo>
                        <a:pt x="9" y="15"/>
                      </a:lnTo>
                      <a:lnTo>
                        <a:pt x="8" y="19"/>
                      </a:lnTo>
                      <a:lnTo>
                        <a:pt x="6" y="21"/>
                      </a:lnTo>
                      <a:lnTo>
                        <a:pt x="5" y="24"/>
                      </a:lnTo>
                      <a:lnTo>
                        <a:pt x="0" y="2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B90B2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63" name="Freeform 251"/>
                <p:cNvSpPr>
                  <a:spLocks/>
                </p:cNvSpPr>
                <p:nvPr/>
              </p:nvSpPr>
              <p:spPr bwMode="auto">
                <a:xfrm>
                  <a:off x="5437189" y="4092576"/>
                  <a:ext cx="53975" cy="15875"/>
                </a:xfrm>
                <a:custGeom>
                  <a:avLst/>
                  <a:gdLst>
                    <a:gd name="T0" fmla="*/ 0 w 34"/>
                    <a:gd name="T1" fmla="*/ 0 h 10"/>
                    <a:gd name="T2" fmla="*/ 16 w 34"/>
                    <a:gd name="T3" fmla="*/ 1 h 10"/>
                    <a:gd name="T4" fmla="*/ 29 w 34"/>
                    <a:gd name="T5" fmla="*/ 6 h 10"/>
                    <a:gd name="T6" fmla="*/ 34 w 34"/>
                    <a:gd name="T7" fmla="*/ 9 h 10"/>
                    <a:gd name="T8" fmla="*/ 31 w 34"/>
                    <a:gd name="T9" fmla="*/ 10 h 10"/>
                    <a:gd name="T10" fmla="*/ 26 w 34"/>
                    <a:gd name="T11" fmla="*/ 10 h 10"/>
                    <a:gd name="T12" fmla="*/ 19 w 34"/>
                    <a:gd name="T13" fmla="*/ 9 h 10"/>
                    <a:gd name="T14" fmla="*/ 13 w 34"/>
                    <a:gd name="T15" fmla="*/ 9 h 10"/>
                    <a:gd name="T16" fmla="*/ 12 w 34"/>
                    <a:gd name="T17" fmla="*/ 9 h 10"/>
                    <a:gd name="T18" fmla="*/ 12 w 34"/>
                    <a:gd name="T19" fmla="*/ 4 h 10"/>
                    <a:gd name="T20" fmla="*/ 0 w 34"/>
                    <a:gd name="T21" fmla="*/ 3 h 10"/>
                    <a:gd name="T22" fmla="*/ 0 w 34"/>
                    <a:gd name="T23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4" h="10">
                      <a:moveTo>
                        <a:pt x="0" y="0"/>
                      </a:moveTo>
                      <a:lnTo>
                        <a:pt x="16" y="1"/>
                      </a:lnTo>
                      <a:lnTo>
                        <a:pt x="29" y="6"/>
                      </a:lnTo>
                      <a:lnTo>
                        <a:pt x="34" y="9"/>
                      </a:lnTo>
                      <a:lnTo>
                        <a:pt x="31" y="10"/>
                      </a:lnTo>
                      <a:lnTo>
                        <a:pt x="26" y="10"/>
                      </a:lnTo>
                      <a:lnTo>
                        <a:pt x="19" y="9"/>
                      </a:lnTo>
                      <a:lnTo>
                        <a:pt x="13" y="9"/>
                      </a:lnTo>
                      <a:lnTo>
                        <a:pt x="12" y="9"/>
                      </a:lnTo>
                      <a:lnTo>
                        <a:pt x="12" y="4"/>
                      </a:lnTo>
                      <a:lnTo>
                        <a:pt x="0" y="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1EA6B3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64" name="Freeform 252"/>
                <p:cNvSpPr>
                  <a:spLocks/>
                </p:cNvSpPr>
                <p:nvPr/>
              </p:nvSpPr>
              <p:spPr bwMode="auto">
                <a:xfrm>
                  <a:off x="5410201" y="4089401"/>
                  <a:ext cx="26988" cy="7938"/>
                </a:xfrm>
                <a:custGeom>
                  <a:avLst/>
                  <a:gdLst>
                    <a:gd name="T0" fmla="*/ 0 w 17"/>
                    <a:gd name="T1" fmla="*/ 0 h 5"/>
                    <a:gd name="T2" fmla="*/ 6 w 17"/>
                    <a:gd name="T3" fmla="*/ 0 h 5"/>
                    <a:gd name="T4" fmla="*/ 17 w 17"/>
                    <a:gd name="T5" fmla="*/ 2 h 5"/>
                    <a:gd name="T6" fmla="*/ 17 w 17"/>
                    <a:gd name="T7" fmla="*/ 5 h 5"/>
                    <a:gd name="T8" fmla="*/ 3 w 17"/>
                    <a:gd name="T9" fmla="*/ 3 h 5"/>
                    <a:gd name="T10" fmla="*/ 0 w 17"/>
                    <a:gd name="T11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7" h="5">
                      <a:moveTo>
                        <a:pt x="0" y="0"/>
                      </a:moveTo>
                      <a:lnTo>
                        <a:pt x="6" y="0"/>
                      </a:lnTo>
                      <a:lnTo>
                        <a:pt x="17" y="2"/>
                      </a:lnTo>
                      <a:lnTo>
                        <a:pt x="17" y="5"/>
                      </a:lnTo>
                      <a:lnTo>
                        <a:pt x="3" y="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5FD0D6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65" name="Freeform 253"/>
                <p:cNvSpPr>
                  <a:spLocks/>
                </p:cNvSpPr>
                <p:nvPr/>
              </p:nvSpPr>
              <p:spPr bwMode="auto">
                <a:xfrm>
                  <a:off x="5435601" y="4110038"/>
                  <a:ext cx="63500" cy="44450"/>
                </a:xfrm>
                <a:custGeom>
                  <a:avLst/>
                  <a:gdLst>
                    <a:gd name="T0" fmla="*/ 14 w 40"/>
                    <a:gd name="T1" fmla="*/ 0 h 28"/>
                    <a:gd name="T2" fmla="*/ 32 w 40"/>
                    <a:gd name="T3" fmla="*/ 2 h 28"/>
                    <a:gd name="T4" fmla="*/ 36 w 40"/>
                    <a:gd name="T5" fmla="*/ 5 h 28"/>
                    <a:gd name="T6" fmla="*/ 39 w 40"/>
                    <a:gd name="T7" fmla="*/ 8 h 28"/>
                    <a:gd name="T8" fmla="*/ 40 w 40"/>
                    <a:gd name="T9" fmla="*/ 12 h 28"/>
                    <a:gd name="T10" fmla="*/ 40 w 40"/>
                    <a:gd name="T11" fmla="*/ 16 h 28"/>
                    <a:gd name="T12" fmla="*/ 39 w 40"/>
                    <a:gd name="T13" fmla="*/ 21 h 28"/>
                    <a:gd name="T14" fmla="*/ 38 w 40"/>
                    <a:gd name="T15" fmla="*/ 25 h 28"/>
                    <a:gd name="T16" fmla="*/ 33 w 40"/>
                    <a:gd name="T17" fmla="*/ 27 h 28"/>
                    <a:gd name="T18" fmla="*/ 29 w 40"/>
                    <a:gd name="T19" fmla="*/ 28 h 28"/>
                    <a:gd name="T20" fmla="*/ 27 w 40"/>
                    <a:gd name="T21" fmla="*/ 28 h 28"/>
                    <a:gd name="T22" fmla="*/ 19 w 40"/>
                    <a:gd name="T23" fmla="*/ 27 h 28"/>
                    <a:gd name="T24" fmla="*/ 19 w 40"/>
                    <a:gd name="T25" fmla="*/ 27 h 28"/>
                    <a:gd name="T26" fmla="*/ 19 w 40"/>
                    <a:gd name="T27" fmla="*/ 25 h 28"/>
                    <a:gd name="T28" fmla="*/ 19 w 40"/>
                    <a:gd name="T29" fmla="*/ 22 h 28"/>
                    <a:gd name="T30" fmla="*/ 8 w 40"/>
                    <a:gd name="T31" fmla="*/ 21 h 28"/>
                    <a:gd name="T32" fmla="*/ 7 w 40"/>
                    <a:gd name="T33" fmla="*/ 21 h 28"/>
                    <a:gd name="T34" fmla="*/ 0 w 40"/>
                    <a:gd name="T35" fmla="*/ 21 h 28"/>
                    <a:gd name="T36" fmla="*/ 0 w 40"/>
                    <a:gd name="T37" fmla="*/ 18 h 28"/>
                    <a:gd name="T38" fmla="*/ 3 w 40"/>
                    <a:gd name="T39" fmla="*/ 18 h 28"/>
                    <a:gd name="T40" fmla="*/ 3 w 40"/>
                    <a:gd name="T41" fmla="*/ 18 h 28"/>
                    <a:gd name="T42" fmla="*/ 19 w 40"/>
                    <a:gd name="T43" fmla="*/ 19 h 28"/>
                    <a:gd name="T44" fmla="*/ 19 w 40"/>
                    <a:gd name="T45" fmla="*/ 16 h 28"/>
                    <a:gd name="T46" fmla="*/ 20 w 40"/>
                    <a:gd name="T47" fmla="*/ 15 h 28"/>
                    <a:gd name="T48" fmla="*/ 20 w 40"/>
                    <a:gd name="T49" fmla="*/ 12 h 28"/>
                    <a:gd name="T50" fmla="*/ 22 w 40"/>
                    <a:gd name="T51" fmla="*/ 12 h 28"/>
                    <a:gd name="T52" fmla="*/ 24 w 40"/>
                    <a:gd name="T53" fmla="*/ 12 h 28"/>
                    <a:gd name="T54" fmla="*/ 27 w 40"/>
                    <a:gd name="T55" fmla="*/ 12 h 28"/>
                    <a:gd name="T56" fmla="*/ 29 w 40"/>
                    <a:gd name="T57" fmla="*/ 12 h 28"/>
                    <a:gd name="T58" fmla="*/ 33 w 40"/>
                    <a:gd name="T59" fmla="*/ 11 h 28"/>
                    <a:gd name="T60" fmla="*/ 32 w 40"/>
                    <a:gd name="T61" fmla="*/ 6 h 28"/>
                    <a:gd name="T62" fmla="*/ 30 w 40"/>
                    <a:gd name="T63" fmla="*/ 5 h 28"/>
                    <a:gd name="T64" fmla="*/ 29 w 40"/>
                    <a:gd name="T65" fmla="*/ 3 h 28"/>
                    <a:gd name="T66" fmla="*/ 27 w 40"/>
                    <a:gd name="T67" fmla="*/ 3 h 28"/>
                    <a:gd name="T68" fmla="*/ 24 w 40"/>
                    <a:gd name="T69" fmla="*/ 3 h 28"/>
                    <a:gd name="T70" fmla="*/ 23 w 40"/>
                    <a:gd name="T71" fmla="*/ 3 h 28"/>
                    <a:gd name="T72" fmla="*/ 22 w 40"/>
                    <a:gd name="T73" fmla="*/ 3 h 28"/>
                    <a:gd name="T74" fmla="*/ 19 w 40"/>
                    <a:gd name="T75" fmla="*/ 3 h 28"/>
                    <a:gd name="T76" fmla="*/ 16 w 40"/>
                    <a:gd name="T77" fmla="*/ 2 h 28"/>
                    <a:gd name="T78" fmla="*/ 14 w 40"/>
                    <a:gd name="T79" fmla="*/ 0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40" h="28">
                      <a:moveTo>
                        <a:pt x="14" y="0"/>
                      </a:moveTo>
                      <a:lnTo>
                        <a:pt x="32" y="2"/>
                      </a:lnTo>
                      <a:lnTo>
                        <a:pt x="36" y="5"/>
                      </a:lnTo>
                      <a:lnTo>
                        <a:pt x="39" y="8"/>
                      </a:lnTo>
                      <a:lnTo>
                        <a:pt x="40" y="12"/>
                      </a:lnTo>
                      <a:lnTo>
                        <a:pt x="40" y="16"/>
                      </a:lnTo>
                      <a:lnTo>
                        <a:pt x="39" y="21"/>
                      </a:lnTo>
                      <a:lnTo>
                        <a:pt x="38" y="25"/>
                      </a:lnTo>
                      <a:lnTo>
                        <a:pt x="33" y="27"/>
                      </a:lnTo>
                      <a:lnTo>
                        <a:pt x="29" y="28"/>
                      </a:lnTo>
                      <a:lnTo>
                        <a:pt x="27" y="28"/>
                      </a:lnTo>
                      <a:lnTo>
                        <a:pt x="19" y="27"/>
                      </a:lnTo>
                      <a:lnTo>
                        <a:pt x="19" y="27"/>
                      </a:lnTo>
                      <a:lnTo>
                        <a:pt x="19" y="25"/>
                      </a:lnTo>
                      <a:lnTo>
                        <a:pt x="19" y="22"/>
                      </a:lnTo>
                      <a:lnTo>
                        <a:pt x="8" y="21"/>
                      </a:lnTo>
                      <a:lnTo>
                        <a:pt x="7" y="21"/>
                      </a:lnTo>
                      <a:lnTo>
                        <a:pt x="0" y="21"/>
                      </a:lnTo>
                      <a:lnTo>
                        <a:pt x="0" y="18"/>
                      </a:lnTo>
                      <a:lnTo>
                        <a:pt x="3" y="18"/>
                      </a:lnTo>
                      <a:lnTo>
                        <a:pt x="3" y="18"/>
                      </a:lnTo>
                      <a:lnTo>
                        <a:pt x="19" y="19"/>
                      </a:lnTo>
                      <a:lnTo>
                        <a:pt x="19" y="16"/>
                      </a:lnTo>
                      <a:lnTo>
                        <a:pt x="20" y="15"/>
                      </a:lnTo>
                      <a:lnTo>
                        <a:pt x="20" y="12"/>
                      </a:lnTo>
                      <a:lnTo>
                        <a:pt x="22" y="12"/>
                      </a:lnTo>
                      <a:lnTo>
                        <a:pt x="24" y="12"/>
                      </a:lnTo>
                      <a:lnTo>
                        <a:pt x="27" y="12"/>
                      </a:lnTo>
                      <a:lnTo>
                        <a:pt x="29" y="12"/>
                      </a:lnTo>
                      <a:lnTo>
                        <a:pt x="33" y="11"/>
                      </a:lnTo>
                      <a:lnTo>
                        <a:pt x="32" y="6"/>
                      </a:lnTo>
                      <a:lnTo>
                        <a:pt x="30" y="5"/>
                      </a:lnTo>
                      <a:lnTo>
                        <a:pt x="29" y="3"/>
                      </a:lnTo>
                      <a:lnTo>
                        <a:pt x="27" y="3"/>
                      </a:lnTo>
                      <a:lnTo>
                        <a:pt x="24" y="3"/>
                      </a:lnTo>
                      <a:lnTo>
                        <a:pt x="23" y="3"/>
                      </a:lnTo>
                      <a:lnTo>
                        <a:pt x="22" y="3"/>
                      </a:lnTo>
                      <a:lnTo>
                        <a:pt x="19" y="3"/>
                      </a:lnTo>
                      <a:lnTo>
                        <a:pt x="16" y="2"/>
                      </a:lnTo>
                      <a:lnTo>
                        <a:pt x="14" y="0"/>
                      </a:lnTo>
                      <a:close/>
                    </a:path>
                  </a:pathLst>
                </a:custGeom>
                <a:solidFill>
                  <a:srgbClr val="1EA6B3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66" name="Freeform 254"/>
                <p:cNvSpPr>
                  <a:spLocks/>
                </p:cNvSpPr>
                <p:nvPr/>
              </p:nvSpPr>
              <p:spPr bwMode="auto">
                <a:xfrm>
                  <a:off x="5389564" y="4132263"/>
                  <a:ext cx="46038" cy="11113"/>
                </a:xfrm>
                <a:custGeom>
                  <a:avLst/>
                  <a:gdLst>
                    <a:gd name="T0" fmla="*/ 0 w 29"/>
                    <a:gd name="T1" fmla="*/ 0 h 7"/>
                    <a:gd name="T2" fmla="*/ 17 w 29"/>
                    <a:gd name="T3" fmla="*/ 2 h 7"/>
                    <a:gd name="T4" fmla="*/ 17 w 29"/>
                    <a:gd name="T5" fmla="*/ 2 h 7"/>
                    <a:gd name="T6" fmla="*/ 29 w 29"/>
                    <a:gd name="T7" fmla="*/ 4 h 7"/>
                    <a:gd name="T8" fmla="*/ 29 w 29"/>
                    <a:gd name="T9" fmla="*/ 7 h 7"/>
                    <a:gd name="T10" fmla="*/ 11 w 29"/>
                    <a:gd name="T11" fmla="*/ 4 h 7"/>
                    <a:gd name="T12" fmla="*/ 10 w 29"/>
                    <a:gd name="T13" fmla="*/ 4 h 7"/>
                    <a:gd name="T14" fmla="*/ 5 w 29"/>
                    <a:gd name="T15" fmla="*/ 4 h 7"/>
                    <a:gd name="T16" fmla="*/ 4 w 29"/>
                    <a:gd name="T17" fmla="*/ 2 h 7"/>
                    <a:gd name="T18" fmla="*/ 3 w 29"/>
                    <a:gd name="T19" fmla="*/ 1 h 7"/>
                    <a:gd name="T20" fmla="*/ 0 w 29"/>
                    <a:gd name="T21" fmla="*/ 0 h 7"/>
                    <a:gd name="T22" fmla="*/ 0 w 29"/>
                    <a:gd name="T23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9" h="7">
                      <a:moveTo>
                        <a:pt x="0" y="0"/>
                      </a:moveTo>
                      <a:lnTo>
                        <a:pt x="17" y="2"/>
                      </a:lnTo>
                      <a:lnTo>
                        <a:pt x="17" y="2"/>
                      </a:lnTo>
                      <a:lnTo>
                        <a:pt x="29" y="4"/>
                      </a:lnTo>
                      <a:lnTo>
                        <a:pt x="29" y="7"/>
                      </a:lnTo>
                      <a:lnTo>
                        <a:pt x="11" y="4"/>
                      </a:lnTo>
                      <a:lnTo>
                        <a:pt x="10" y="4"/>
                      </a:lnTo>
                      <a:lnTo>
                        <a:pt x="5" y="4"/>
                      </a:lnTo>
                      <a:lnTo>
                        <a:pt x="4" y="2"/>
                      </a:lnTo>
                      <a:lnTo>
                        <a:pt x="3" y="1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E694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67" name="Freeform 255"/>
                <p:cNvSpPr>
                  <a:spLocks/>
                </p:cNvSpPr>
                <p:nvPr/>
              </p:nvSpPr>
              <p:spPr bwMode="auto">
                <a:xfrm>
                  <a:off x="5430839" y="4157663"/>
                  <a:ext cx="60325" cy="28575"/>
                </a:xfrm>
                <a:custGeom>
                  <a:avLst/>
                  <a:gdLst>
                    <a:gd name="T0" fmla="*/ 23 w 38"/>
                    <a:gd name="T1" fmla="*/ 0 h 18"/>
                    <a:gd name="T2" fmla="*/ 29 w 38"/>
                    <a:gd name="T3" fmla="*/ 0 h 18"/>
                    <a:gd name="T4" fmla="*/ 33 w 38"/>
                    <a:gd name="T5" fmla="*/ 1 h 18"/>
                    <a:gd name="T6" fmla="*/ 36 w 38"/>
                    <a:gd name="T7" fmla="*/ 4 h 18"/>
                    <a:gd name="T8" fmla="*/ 38 w 38"/>
                    <a:gd name="T9" fmla="*/ 8 h 18"/>
                    <a:gd name="T10" fmla="*/ 38 w 38"/>
                    <a:gd name="T11" fmla="*/ 13 h 18"/>
                    <a:gd name="T12" fmla="*/ 38 w 38"/>
                    <a:gd name="T13" fmla="*/ 15 h 18"/>
                    <a:gd name="T14" fmla="*/ 36 w 38"/>
                    <a:gd name="T15" fmla="*/ 17 h 18"/>
                    <a:gd name="T16" fmla="*/ 35 w 38"/>
                    <a:gd name="T17" fmla="*/ 18 h 18"/>
                    <a:gd name="T18" fmla="*/ 32 w 38"/>
                    <a:gd name="T19" fmla="*/ 18 h 18"/>
                    <a:gd name="T20" fmla="*/ 29 w 38"/>
                    <a:gd name="T21" fmla="*/ 18 h 18"/>
                    <a:gd name="T22" fmla="*/ 26 w 38"/>
                    <a:gd name="T23" fmla="*/ 17 h 18"/>
                    <a:gd name="T24" fmla="*/ 6 w 38"/>
                    <a:gd name="T25" fmla="*/ 18 h 18"/>
                    <a:gd name="T26" fmla="*/ 0 w 38"/>
                    <a:gd name="T27" fmla="*/ 18 h 18"/>
                    <a:gd name="T28" fmla="*/ 0 w 38"/>
                    <a:gd name="T29" fmla="*/ 15 h 18"/>
                    <a:gd name="T30" fmla="*/ 0 w 38"/>
                    <a:gd name="T31" fmla="*/ 15 h 18"/>
                    <a:gd name="T32" fmla="*/ 0 w 38"/>
                    <a:gd name="T33" fmla="*/ 13 h 18"/>
                    <a:gd name="T34" fmla="*/ 13 w 38"/>
                    <a:gd name="T35" fmla="*/ 15 h 18"/>
                    <a:gd name="T36" fmla="*/ 11 w 38"/>
                    <a:gd name="T37" fmla="*/ 15 h 18"/>
                    <a:gd name="T38" fmla="*/ 11 w 38"/>
                    <a:gd name="T39" fmla="*/ 15 h 18"/>
                    <a:gd name="T40" fmla="*/ 11 w 38"/>
                    <a:gd name="T41" fmla="*/ 15 h 18"/>
                    <a:gd name="T42" fmla="*/ 13 w 38"/>
                    <a:gd name="T43" fmla="*/ 15 h 18"/>
                    <a:gd name="T44" fmla="*/ 13 w 38"/>
                    <a:gd name="T45" fmla="*/ 15 h 18"/>
                    <a:gd name="T46" fmla="*/ 13 w 38"/>
                    <a:gd name="T47" fmla="*/ 15 h 18"/>
                    <a:gd name="T48" fmla="*/ 13 w 38"/>
                    <a:gd name="T49" fmla="*/ 14 h 18"/>
                    <a:gd name="T50" fmla="*/ 13 w 38"/>
                    <a:gd name="T51" fmla="*/ 14 h 18"/>
                    <a:gd name="T52" fmla="*/ 13 w 38"/>
                    <a:gd name="T53" fmla="*/ 14 h 18"/>
                    <a:gd name="T54" fmla="*/ 14 w 38"/>
                    <a:gd name="T55" fmla="*/ 11 h 18"/>
                    <a:gd name="T56" fmla="*/ 14 w 38"/>
                    <a:gd name="T57" fmla="*/ 10 h 18"/>
                    <a:gd name="T58" fmla="*/ 16 w 38"/>
                    <a:gd name="T59" fmla="*/ 8 h 18"/>
                    <a:gd name="T60" fmla="*/ 17 w 38"/>
                    <a:gd name="T61" fmla="*/ 7 h 18"/>
                    <a:gd name="T62" fmla="*/ 20 w 38"/>
                    <a:gd name="T63" fmla="*/ 7 h 18"/>
                    <a:gd name="T64" fmla="*/ 23 w 38"/>
                    <a:gd name="T65" fmla="*/ 7 h 18"/>
                    <a:gd name="T66" fmla="*/ 26 w 38"/>
                    <a:gd name="T67" fmla="*/ 7 h 18"/>
                    <a:gd name="T68" fmla="*/ 27 w 38"/>
                    <a:gd name="T69" fmla="*/ 7 h 18"/>
                    <a:gd name="T70" fmla="*/ 29 w 38"/>
                    <a:gd name="T71" fmla="*/ 5 h 18"/>
                    <a:gd name="T72" fmla="*/ 29 w 38"/>
                    <a:gd name="T73" fmla="*/ 5 h 18"/>
                    <a:gd name="T74" fmla="*/ 29 w 38"/>
                    <a:gd name="T75" fmla="*/ 2 h 18"/>
                    <a:gd name="T76" fmla="*/ 26 w 38"/>
                    <a:gd name="T77" fmla="*/ 2 h 18"/>
                    <a:gd name="T78" fmla="*/ 25 w 38"/>
                    <a:gd name="T79" fmla="*/ 1 h 18"/>
                    <a:gd name="T80" fmla="*/ 23 w 38"/>
                    <a:gd name="T81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38" h="18">
                      <a:moveTo>
                        <a:pt x="23" y="0"/>
                      </a:moveTo>
                      <a:lnTo>
                        <a:pt x="29" y="0"/>
                      </a:lnTo>
                      <a:lnTo>
                        <a:pt x="33" y="1"/>
                      </a:lnTo>
                      <a:lnTo>
                        <a:pt x="36" y="4"/>
                      </a:lnTo>
                      <a:lnTo>
                        <a:pt x="38" y="8"/>
                      </a:lnTo>
                      <a:lnTo>
                        <a:pt x="38" y="13"/>
                      </a:lnTo>
                      <a:lnTo>
                        <a:pt x="38" y="15"/>
                      </a:lnTo>
                      <a:lnTo>
                        <a:pt x="36" y="17"/>
                      </a:lnTo>
                      <a:lnTo>
                        <a:pt x="35" y="18"/>
                      </a:lnTo>
                      <a:lnTo>
                        <a:pt x="32" y="18"/>
                      </a:lnTo>
                      <a:lnTo>
                        <a:pt x="29" y="18"/>
                      </a:lnTo>
                      <a:lnTo>
                        <a:pt x="26" y="17"/>
                      </a:lnTo>
                      <a:lnTo>
                        <a:pt x="6" y="18"/>
                      </a:lnTo>
                      <a:lnTo>
                        <a:pt x="0" y="18"/>
                      </a:lnTo>
                      <a:lnTo>
                        <a:pt x="0" y="15"/>
                      </a:lnTo>
                      <a:lnTo>
                        <a:pt x="0" y="15"/>
                      </a:lnTo>
                      <a:lnTo>
                        <a:pt x="0" y="13"/>
                      </a:lnTo>
                      <a:lnTo>
                        <a:pt x="13" y="15"/>
                      </a:lnTo>
                      <a:lnTo>
                        <a:pt x="11" y="15"/>
                      </a:lnTo>
                      <a:lnTo>
                        <a:pt x="11" y="15"/>
                      </a:lnTo>
                      <a:lnTo>
                        <a:pt x="11" y="15"/>
                      </a:lnTo>
                      <a:lnTo>
                        <a:pt x="13" y="15"/>
                      </a:lnTo>
                      <a:lnTo>
                        <a:pt x="13" y="15"/>
                      </a:lnTo>
                      <a:lnTo>
                        <a:pt x="13" y="15"/>
                      </a:lnTo>
                      <a:lnTo>
                        <a:pt x="13" y="14"/>
                      </a:lnTo>
                      <a:lnTo>
                        <a:pt x="13" y="14"/>
                      </a:lnTo>
                      <a:lnTo>
                        <a:pt x="13" y="14"/>
                      </a:lnTo>
                      <a:lnTo>
                        <a:pt x="14" y="11"/>
                      </a:lnTo>
                      <a:lnTo>
                        <a:pt x="14" y="10"/>
                      </a:lnTo>
                      <a:lnTo>
                        <a:pt x="16" y="8"/>
                      </a:lnTo>
                      <a:lnTo>
                        <a:pt x="17" y="7"/>
                      </a:lnTo>
                      <a:lnTo>
                        <a:pt x="20" y="7"/>
                      </a:lnTo>
                      <a:lnTo>
                        <a:pt x="23" y="7"/>
                      </a:lnTo>
                      <a:lnTo>
                        <a:pt x="26" y="7"/>
                      </a:lnTo>
                      <a:lnTo>
                        <a:pt x="27" y="7"/>
                      </a:lnTo>
                      <a:lnTo>
                        <a:pt x="29" y="5"/>
                      </a:lnTo>
                      <a:lnTo>
                        <a:pt x="29" y="5"/>
                      </a:lnTo>
                      <a:lnTo>
                        <a:pt x="29" y="2"/>
                      </a:lnTo>
                      <a:lnTo>
                        <a:pt x="26" y="2"/>
                      </a:lnTo>
                      <a:lnTo>
                        <a:pt x="25" y="1"/>
                      </a:lnTo>
                      <a:lnTo>
                        <a:pt x="23" y="0"/>
                      </a:lnTo>
                      <a:close/>
                    </a:path>
                  </a:pathLst>
                </a:custGeom>
                <a:solidFill>
                  <a:srgbClr val="1EA6B3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68" name="Freeform 256"/>
                <p:cNvSpPr>
                  <a:spLocks/>
                </p:cNvSpPr>
                <p:nvPr/>
              </p:nvSpPr>
              <p:spPr bwMode="auto">
                <a:xfrm>
                  <a:off x="5427664" y="4178301"/>
                  <a:ext cx="3175" cy="3175"/>
                </a:xfrm>
                <a:custGeom>
                  <a:avLst/>
                  <a:gdLst>
                    <a:gd name="T0" fmla="*/ 0 w 2"/>
                    <a:gd name="T1" fmla="*/ 0 h 2"/>
                    <a:gd name="T2" fmla="*/ 2 w 2"/>
                    <a:gd name="T3" fmla="*/ 0 h 2"/>
                    <a:gd name="T4" fmla="*/ 2 w 2"/>
                    <a:gd name="T5" fmla="*/ 2 h 2"/>
                    <a:gd name="T6" fmla="*/ 2 w 2"/>
                    <a:gd name="T7" fmla="*/ 2 h 2"/>
                    <a:gd name="T8" fmla="*/ 0 w 2"/>
                    <a:gd name="T9" fmla="*/ 1 h 2"/>
                    <a:gd name="T10" fmla="*/ 0 w 2"/>
                    <a:gd name="T1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2">
                      <a:moveTo>
                        <a:pt x="0" y="0"/>
                      </a:move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0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E694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69" name="Freeform 257"/>
                <p:cNvSpPr>
                  <a:spLocks/>
                </p:cNvSpPr>
                <p:nvPr/>
              </p:nvSpPr>
              <p:spPr bwMode="auto">
                <a:xfrm>
                  <a:off x="5441951" y="4056063"/>
                  <a:ext cx="20638" cy="11113"/>
                </a:xfrm>
                <a:custGeom>
                  <a:avLst/>
                  <a:gdLst>
                    <a:gd name="T0" fmla="*/ 6 w 13"/>
                    <a:gd name="T1" fmla="*/ 0 h 7"/>
                    <a:gd name="T2" fmla="*/ 10 w 13"/>
                    <a:gd name="T3" fmla="*/ 0 h 7"/>
                    <a:gd name="T4" fmla="*/ 10 w 13"/>
                    <a:gd name="T5" fmla="*/ 2 h 7"/>
                    <a:gd name="T6" fmla="*/ 12 w 13"/>
                    <a:gd name="T7" fmla="*/ 4 h 7"/>
                    <a:gd name="T8" fmla="*/ 13 w 13"/>
                    <a:gd name="T9" fmla="*/ 7 h 7"/>
                    <a:gd name="T10" fmla="*/ 10 w 13"/>
                    <a:gd name="T11" fmla="*/ 5 h 7"/>
                    <a:gd name="T12" fmla="*/ 6 w 13"/>
                    <a:gd name="T13" fmla="*/ 5 h 7"/>
                    <a:gd name="T14" fmla="*/ 0 w 13"/>
                    <a:gd name="T15" fmla="*/ 4 h 7"/>
                    <a:gd name="T16" fmla="*/ 0 w 13"/>
                    <a:gd name="T17" fmla="*/ 1 h 7"/>
                    <a:gd name="T18" fmla="*/ 2 w 13"/>
                    <a:gd name="T19" fmla="*/ 1 h 7"/>
                    <a:gd name="T20" fmla="*/ 4 w 13"/>
                    <a:gd name="T21" fmla="*/ 0 h 7"/>
                    <a:gd name="T22" fmla="*/ 6 w 13"/>
                    <a:gd name="T23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3" h="7">
                      <a:moveTo>
                        <a:pt x="6" y="0"/>
                      </a:moveTo>
                      <a:lnTo>
                        <a:pt x="10" y="0"/>
                      </a:lnTo>
                      <a:lnTo>
                        <a:pt x="10" y="2"/>
                      </a:lnTo>
                      <a:lnTo>
                        <a:pt x="12" y="4"/>
                      </a:lnTo>
                      <a:lnTo>
                        <a:pt x="13" y="7"/>
                      </a:lnTo>
                      <a:lnTo>
                        <a:pt x="10" y="5"/>
                      </a:lnTo>
                      <a:lnTo>
                        <a:pt x="6" y="5"/>
                      </a:lnTo>
                      <a:lnTo>
                        <a:pt x="0" y="4"/>
                      </a:ln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4" y="0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rgbClr val="40978E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70" name="Freeform 258"/>
                <p:cNvSpPr>
                  <a:spLocks/>
                </p:cNvSpPr>
                <p:nvPr/>
              </p:nvSpPr>
              <p:spPr bwMode="auto">
                <a:xfrm>
                  <a:off x="5384801" y="4057651"/>
                  <a:ext cx="57150" cy="31750"/>
                </a:xfrm>
                <a:custGeom>
                  <a:avLst/>
                  <a:gdLst>
                    <a:gd name="T0" fmla="*/ 3 w 36"/>
                    <a:gd name="T1" fmla="*/ 0 h 20"/>
                    <a:gd name="T2" fmla="*/ 36 w 36"/>
                    <a:gd name="T3" fmla="*/ 0 h 20"/>
                    <a:gd name="T4" fmla="*/ 36 w 36"/>
                    <a:gd name="T5" fmla="*/ 3 h 20"/>
                    <a:gd name="T6" fmla="*/ 30 w 36"/>
                    <a:gd name="T7" fmla="*/ 3 h 20"/>
                    <a:gd name="T8" fmla="*/ 30 w 36"/>
                    <a:gd name="T9" fmla="*/ 4 h 20"/>
                    <a:gd name="T10" fmla="*/ 29 w 36"/>
                    <a:gd name="T11" fmla="*/ 7 h 20"/>
                    <a:gd name="T12" fmla="*/ 26 w 36"/>
                    <a:gd name="T13" fmla="*/ 9 h 20"/>
                    <a:gd name="T14" fmla="*/ 24 w 36"/>
                    <a:gd name="T15" fmla="*/ 9 h 20"/>
                    <a:gd name="T16" fmla="*/ 14 w 36"/>
                    <a:gd name="T17" fmla="*/ 10 h 20"/>
                    <a:gd name="T18" fmla="*/ 14 w 36"/>
                    <a:gd name="T19" fmla="*/ 10 h 20"/>
                    <a:gd name="T20" fmla="*/ 13 w 36"/>
                    <a:gd name="T21" fmla="*/ 13 h 20"/>
                    <a:gd name="T22" fmla="*/ 14 w 36"/>
                    <a:gd name="T23" fmla="*/ 17 h 20"/>
                    <a:gd name="T24" fmla="*/ 16 w 36"/>
                    <a:gd name="T25" fmla="*/ 20 h 20"/>
                    <a:gd name="T26" fmla="*/ 13 w 36"/>
                    <a:gd name="T27" fmla="*/ 19 h 20"/>
                    <a:gd name="T28" fmla="*/ 8 w 36"/>
                    <a:gd name="T29" fmla="*/ 19 h 20"/>
                    <a:gd name="T30" fmla="*/ 6 w 36"/>
                    <a:gd name="T31" fmla="*/ 17 h 20"/>
                    <a:gd name="T32" fmla="*/ 3 w 36"/>
                    <a:gd name="T33" fmla="*/ 16 h 20"/>
                    <a:gd name="T34" fmla="*/ 1 w 36"/>
                    <a:gd name="T35" fmla="*/ 13 h 20"/>
                    <a:gd name="T36" fmla="*/ 0 w 36"/>
                    <a:gd name="T37" fmla="*/ 10 h 20"/>
                    <a:gd name="T38" fmla="*/ 0 w 36"/>
                    <a:gd name="T39" fmla="*/ 6 h 20"/>
                    <a:gd name="T40" fmla="*/ 1 w 36"/>
                    <a:gd name="T41" fmla="*/ 3 h 20"/>
                    <a:gd name="T42" fmla="*/ 3 w 36"/>
                    <a:gd name="T43" fmla="*/ 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36" h="20">
                      <a:moveTo>
                        <a:pt x="3" y="0"/>
                      </a:moveTo>
                      <a:lnTo>
                        <a:pt x="36" y="0"/>
                      </a:lnTo>
                      <a:lnTo>
                        <a:pt x="36" y="3"/>
                      </a:lnTo>
                      <a:lnTo>
                        <a:pt x="30" y="3"/>
                      </a:lnTo>
                      <a:lnTo>
                        <a:pt x="30" y="4"/>
                      </a:lnTo>
                      <a:lnTo>
                        <a:pt x="29" y="7"/>
                      </a:lnTo>
                      <a:lnTo>
                        <a:pt x="26" y="9"/>
                      </a:lnTo>
                      <a:lnTo>
                        <a:pt x="24" y="9"/>
                      </a:lnTo>
                      <a:lnTo>
                        <a:pt x="14" y="10"/>
                      </a:lnTo>
                      <a:lnTo>
                        <a:pt x="14" y="10"/>
                      </a:lnTo>
                      <a:lnTo>
                        <a:pt x="13" y="13"/>
                      </a:lnTo>
                      <a:lnTo>
                        <a:pt x="14" y="17"/>
                      </a:lnTo>
                      <a:lnTo>
                        <a:pt x="16" y="20"/>
                      </a:lnTo>
                      <a:lnTo>
                        <a:pt x="13" y="19"/>
                      </a:lnTo>
                      <a:lnTo>
                        <a:pt x="8" y="19"/>
                      </a:lnTo>
                      <a:lnTo>
                        <a:pt x="6" y="17"/>
                      </a:lnTo>
                      <a:lnTo>
                        <a:pt x="3" y="16"/>
                      </a:lnTo>
                      <a:lnTo>
                        <a:pt x="1" y="13"/>
                      </a:lnTo>
                      <a:lnTo>
                        <a:pt x="0" y="10"/>
                      </a:lnTo>
                      <a:lnTo>
                        <a:pt x="0" y="6"/>
                      </a:lnTo>
                      <a:lnTo>
                        <a:pt x="1" y="3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C9BDA9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71" name="Freeform 259"/>
                <p:cNvSpPr>
                  <a:spLocks/>
                </p:cNvSpPr>
                <p:nvPr/>
              </p:nvSpPr>
              <p:spPr bwMode="auto">
                <a:xfrm>
                  <a:off x="5389564" y="4048126"/>
                  <a:ext cx="61913" cy="9525"/>
                </a:xfrm>
                <a:custGeom>
                  <a:avLst/>
                  <a:gdLst>
                    <a:gd name="T0" fmla="*/ 11 w 39"/>
                    <a:gd name="T1" fmla="*/ 0 h 6"/>
                    <a:gd name="T2" fmla="*/ 16 w 39"/>
                    <a:gd name="T3" fmla="*/ 0 h 6"/>
                    <a:gd name="T4" fmla="*/ 21 w 39"/>
                    <a:gd name="T5" fmla="*/ 2 h 6"/>
                    <a:gd name="T6" fmla="*/ 21 w 39"/>
                    <a:gd name="T7" fmla="*/ 2 h 6"/>
                    <a:gd name="T8" fmla="*/ 24 w 39"/>
                    <a:gd name="T9" fmla="*/ 2 h 6"/>
                    <a:gd name="T10" fmla="*/ 29 w 39"/>
                    <a:gd name="T11" fmla="*/ 3 h 6"/>
                    <a:gd name="T12" fmla="*/ 33 w 39"/>
                    <a:gd name="T13" fmla="*/ 3 h 6"/>
                    <a:gd name="T14" fmla="*/ 39 w 39"/>
                    <a:gd name="T15" fmla="*/ 5 h 6"/>
                    <a:gd name="T16" fmla="*/ 37 w 39"/>
                    <a:gd name="T17" fmla="*/ 5 h 6"/>
                    <a:gd name="T18" fmla="*/ 35 w 39"/>
                    <a:gd name="T19" fmla="*/ 6 h 6"/>
                    <a:gd name="T20" fmla="*/ 0 w 39"/>
                    <a:gd name="T21" fmla="*/ 6 h 6"/>
                    <a:gd name="T22" fmla="*/ 3 w 39"/>
                    <a:gd name="T23" fmla="*/ 3 h 6"/>
                    <a:gd name="T24" fmla="*/ 7 w 39"/>
                    <a:gd name="T25" fmla="*/ 2 h 6"/>
                    <a:gd name="T26" fmla="*/ 11 w 39"/>
                    <a:gd name="T27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9" h="6">
                      <a:moveTo>
                        <a:pt x="11" y="0"/>
                      </a:moveTo>
                      <a:lnTo>
                        <a:pt x="16" y="0"/>
                      </a:lnTo>
                      <a:lnTo>
                        <a:pt x="21" y="2"/>
                      </a:lnTo>
                      <a:lnTo>
                        <a:pt x="21" y="2"/>
                      </a:lnTo>
                      <a:lnTo>
                        <a:pt x="24" y="2"/>
                      </a:lnTo>
                      <a:lnTo>
                        <a:pt x="29" y="3"/>
                      </a:lnTo>
                      <a:lnTo>
                        <a:pt x="33" y="3"/>
                      </a:lnTo>
                      <a:lnTo>
                        <a:pt x="39" y="5"/>
                      </a:lnTo>
                      <a:lnTo>
                        <a:pt x="37" y="5"/>
                      </a:lnTo>
                      <a:lnTo>
                        <a:pt x="35" y="6"/>
                      </a:lnTo>
                      <a:lnTo>
                        <a:pt x="0" y="6"/>
                      </a:lnTo>
                      <a:lnTo>
                        <a:pt x="3" y="3"/>
                      </a:lnTo>
                      <a:lnTo>
                        <a:pt x="7" y="2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solidFill>
                  <a:srgbClr val="A65F3E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72" name="Freeform 260"/>
                <p:cNvSpPr>
                  <a:spLocks/>
                </p:cNvSpPr>
                <p:nvPr/>
              </p:nvSpPr>
              <p:spPr bwMode="auto">
                <a:xfrm>
                  <a:off x="5440364" y="4062413"/>
                  <a:ext cx="36513" cy="31750"/>
                </a:xfrm>
                <a:custGeom>
                  <a:avLst/>
                  <a:gdLst>
                    <a:gd name="T0" fmla="*/ 1 w 23"/>
                    <a:gd name="T1" fmla="*/ 0 h 20"/>
                    <a:gd name="T2" fmla="*/ 7 w 23"/>
                    <a:gd name="T3" fmla="*/ 1 h 20"/>
                    <a:gd name="T4" fmla="*/ 11 w 23"/>
                    <a:gd name="T5" fmla="*/ 1 h 20"/>
                    <a:gd name="T6" fmla="*/ 14 w 23"/>
                    <a:gd name="T7" fmla="*/ 3 h 20"/>
                    <a:gd name="T8" fmla="*/ 16 w 23"/>
                    <a:gd name="T9" fmla="*/ 3 h 20"/>
                    <a:gd name="T10" fmla="*/ 19 w 23"/>
                    <a:gd name="T11" fmla="*/ 4 h 20"/>
                    <a:gd name="T12" fmla="*/ 20 w 23"/>
                    <a:gd name="T13" fmla="*/ 4 h 20"/>
                    <a:gd name="T14" fmla="*/ 20 w 23"/>
                    <a:gd name="T15" fmla="*/ 4 h 20"/>
                    <a:gd name="T16" fmla="*/ 21 w 23"/>
                    <a:gd name="T17" fmla="*/ 4 h 20"/>
                    <a:gd name="T18" fmla="*/ 23 w 23"/>
                    <a:gd name="T19" fmla="*/ 4 h 20"/>
                    <a:gd name="T20" fmla="*/ 21 w 23"/>
                    <a:gd name="T21" fmla="*/ 6 h 20"/>
                    <a:gd name="T22" fmla="*/ 21 w 23"/>
                    <a:gd name="T23" fmla="*/ 9 h 20"/>
                    <a:gd name="T24" fmla="*/ 21 w 23"/>
                    <a:gd name="T25" fmla="*/ 10 h 20"/>
                    <a:gd name="T26" fmla="*/ 21 w 23"/>
                    <a:gd name="T27" fmla="*/ 12 h 20"/>
                    <a:gd name="T28" fmla="*/ 20 w 23"/>
                    <a:gd name="T29" fmla="*/ 14 h 20"/>
                    <a:gd name="T30" fmla="*/ 20 w 23"/>
                    <a:gd name="T31" fmla="*/ 16 h 20"/>
                    <a:gd name="T32" fmla="*/ 20 w 23"/>
                    <a:gd name="T33" fmla="*/ 17 h 20"/>
                    <a:gd name="T34" fmla="*/ 19 w 23"/>
                    <a:gd name="T35" fmla="*/ 20 h 20"/>
                    <a:gd name="T36" fmla="*/ 14 w 23"/>
                    <a:gd name="T37" fmla="*/ 20 h 20"/>
                    <a:gd name="T38" fmla="*/ 0 w 23"/>
                    <a:gd name="T39" fmla="*/ 14 h 20"/>
                    <a:gd name="T40" fmla="*/ 1 w 23"/>
                    <a:gd name="T41" fmla="*/ 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23" h="20">
                      <a:moveTo>
                        <a:pt x="1" y="0"/>
                      </a:moveTo>
                      <a:lnTo>
                        <a:pt x="7" y="1"/>
                      </a:lnTo>
                      <a:lnTo>
                        <a:pt x="11" y="1"/>
                      </a:lnTo>
                      <a:lnTo>
                        <a:pt x="14" y="3"/>
                      </a:lnTo>
                      <a:lnTo>
                        <a:pt x="16" y="3"/>
                      </a:lnTo>
                      <a:lnTo>
                        <a:pt x="19" y="4"/>
                      </a:lnTo>
                      <a:lnTo>
                        <a:pt x="20" y="4"/>
                      </a:lnTo>
                      <a:lnTo>
                        <a:pt x="20" y="4"/>
                      </a:lnTo>
                      <a:lnTo>
                        <a:pt x="21" y="4"/>
                      </a:lnTo>
                      <a:lnTo>
                        <a:pt x="23" y="4"/>
                      </a:lnTo>
                      <a:lnTo>
                        <a:pt x="21" y="6"/>
                      </a:lnTo>
                      <a:lnTo>
                        <a:pt x="21" y="9"/>
                      </a:lnTo>
                      <a:lnTo>
                        <a:pt x="21" y="10"/>
                      </a:lnTo>
                      <a:lnTo>
                        <a:pt x="21" y="12"/>
                      </a:lnTo>
                      <a:lnTo>
                        <a:pt x="20" y="14"/>
                      </a:lnTo>
                      <a:lnTo>
                        <a:pt x="20" y="16"/>
                      </a:lnTo>
                      <a:lnTo>
                        <a:pt x="20" y="17"/>
                      </a:lnTo>
                      <a:lnTo>
                        <a:pt x="19" y="20"/>
                      </a:lnTo>
                      <a:lnTo>
                        <a:pt x="14" y="20"/>
                      </a:lnTo>
                      <a:lnTo>
                        <a:pt x="0" y="14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solidFill>
                  <a:srgbClr val="18838D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73" name="Freeform 261"/>
                <p:cNvSpPr>
                  <a:spLocks/>
                </p:cNvSpPr>
                <p:nvPr/>
              </p:nvSpPr>
              <p:spPr bwMode="auto">
                <a:xfrm>
                  <a:off x="5437189" y="4084638"/>
                  <a:ext cx="25400" cy="9525"/>
                </a:xfrm>
                <a:custGeom>
                  <a:avLst/>
                  <a:gdLst>
                    <a:gd name="T0" fmla="*/ 2 w 16"/>
                    <a:gd name="T1" fmla="*/ 0 h 6"/>
                    <a:gd name="T2" fmla="*/ 16 w 16"/>
                    <a:gd name="T3" fmla="*/ 6 h 6"/>
                    <a:gd name="T4" fmla="*/ 0 w 16"/>
                    <a:gd name="T5" fmla="*/ 5 h 6"/>
                    <a:gd name="T6" fmla="*/ 2 w 16"/>
                    <a:gd name="T7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6" h="6">
                      <a:moveTo>
                        <a:pt x="2" y="0"/>
                      </a:moveTo>
                      <a:lnTo>
                        <a:pt x="16" y="6"/>
                      </a:lnTo>
                      <a:lnTo>
                        <a:pt x="0" y="5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18838D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74" name="Freeform 262"/>
                <p:cNvSpPr>
                  <a:spLocks/>
                </p:cNvSpPr>
                <p:nvPr/>
              </p:nvSpPr>
              <p:spPr bwMode="auto">
                <a:xfrm>
                  <a:off x="5405439" y="4062413"/>
                  <a:ext cx="36513" cy="30163"/>
                </a:xfrm>
                <a:custGeom>
                  <a:avLst/>
                  <a:gdLst>
                    <a:gd name="T0" fmla="*/ 17 w 23"/>
                    <a:gd name="T1" fmla="*/ 0 h 19"/>
                    <a:gd name="T2" fmla="*/ 23 w 23"/>
                    <a:gd name="T3" fmla="*/ 0 h 19"/>
                    <a:gd name="T4" fmla="*/ 22 w 23"/>
                    <a:gd name="T5" fmla="*/ 14 h 19"/>
                    <a:gd name="T6" fmla="*/ 20 w 23"/>
                    <a:gd name="T7" fmla="*/ 19 h 19"/>
                    <a:gd name="T8" fmla="*/ 9 w 23"/>
                    <a:gd name="T9" fmla="*/ 17 h 19"/>
                    <a:gd name="T10" fmla="*/ 3 w 23"/>
                    <a:gd name="T11" fmla="*/ 17 h 19"/>
                    <a:gd name="T12" fmla="*/ 1 w 23"/>
                    <a:gd name="T13" fmla="*/ 14 h 19"/>
                    <a:gd name="T14" fmla="*/ 0 w 23"/>
                    <a:gd name="T15" fmla="*/ 10 h 19"/>
                    <a:gd name="T16" fmla="*/ 1 w 23"/>
                    <a:gd name="T17" fmla="*/ 7 h 19"/>
                    <a:gd name="T18" fmla="*/ 1 w 23"/>
                    <a:gd name="T19" fmla="*/ 7 h 19"/>
                    <a:gd name="T20" fmla="*/ 11 w 23"/>
                    <a:gd name="T21" fmla="*/ 6 h 19"/>
                    <a:gd name="T22" fmla="*/ 13 w 23"/>
                    <a:gd name="T23" fmla="*/ 6 h 19"/>
                    <a:gd name="T24" fmla="*/ 16 w 23"/>
                    <a:gd name="T25" fmla="*/ 4 h 19"/>
                    <a:gd name="T26" fmla="*/ 17 w 23"/>
                    <a:gd name="T27" fmla="*/ 1 h 19"/>
                    <a:gd name="T28" fmla="*/ 17 w 23"/>
                    <a:gd name="T29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3" h="19">
                      <a:moveTo>
                        <a:pt x="17" y="0"/>
                      </a:moveTo>
                      <a:lnTo>
                        <a:pt x="23" y="0"/>
                      </a:lnTo>
                      <a:lnTo>
                        <a:pt x="22" y="14"/>
                      </a:lnTo>
                      <a:lnTo>
                        <a:pt x="20" y="19"/>
                      </a:lnTo>
                      <a:lnTo>
                        <a:pt x="9" y="17"/>
                      </a:lnTo>
                      <a:lnTo>
                        <a:pt x="3" y="17"/>
                      </a:lnTo>
                      <a:lnTo>
                        <a:pt x="1" y="14"/>
                      </a:lnTo>
                      <a:lnTo>
                        <a:pt x="0" y="10"/>
                      </a:lnTo>
                      <a:lnTo>
                        <a:pt x="1" y="7"/>
                      </a:lnTo>
                      <a:lnTo>
                        <a:pt x="1" y="7"/>
                      </a:lnTo>
                      <a:lnTo>
                        <a:pt x="11" y="6"/>
                      </a:lnTo>
                      <a:lnTo>
                        <a:pt x="13" y="6"/>
                      </a:lnTo>
                      <a:lnTo>
                        <a:pt x="16" y="4"/>
                      </a:lnTo>
                      <a:lnTo>
                        <a:pt x="17" y="1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solidFill>
                  <a:srgbClr val="4BA4A9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75" name="Freeform 263"/>
                <p:cNvSpPr>
                  <a:spLocks/>
                </p:cNvSpPr>
                <p:nvPr/>
              </p:nvSpPr>
              <p:spPr bwMode="auto">
                <a:xfrm>
                  <a:off x="5437189" y="4103688"/>
                  <a:ext cx="20638" cy="6350"/>
                </a:xfrm>
                <a:custGeom>
                  <a:avLst/>
                  <a:gdLst>
                    <a:gd name="T0" fmla="*/ 0 w 13"/>
                    <a:gd name="T1" fmla="*/ 0 h 4"/>
                    <a:gd name="T2" fmla="*/ 12 w 13"/>
                    <a:gd name="T3" fmla="*/ 2 h 4"/>
                    <a:gd name="T4" fmla="*/ 13 w 13"/>
                    <a:gd name="T5" fmla="*/ 4 h 4"/>
                    <a:gd name="T6" fmla="*/ 6 w 13"/>
                    <a:gd name="T7" fmla="*/ 3 h 4"/>
                    <a:gd name="T8" fmla="*/ 6 w 13"/>
                    <a:gd name="T9" fmla="*/ 3 h 4"/>
                    <a:gd name="T10" fmla="*/ 2 w 13"/>
                    <a:gd name="T11" fmla="*/ 3 h 4"/>
                    <a:gd name="T12" fmla="*/ 2 w 13"/>
                    <a:gd name="T13" fmla="*/ 0 h 4"/>
                    <a:gd name="T14" fmla="*/ 0 w 13"/>
                    <a:gd name="T15" fmla="*/ 0 h 4"/>
                    <a:gd name="T16" fmla="*/ 0 w 13"/>
                    <a:gd name="T1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3" h="4">
                      <a:moveTo>
                        <a:pt x="0" y="0"/>
                      </a:moveTo>
                      <a:lnTo>
                        <a:pt x="12" y="2"/>
                      </a:lnTo>
                      <a:lnTo>
                        <a:pt x="13" y="4"/>
                      </a:lnTo>
                      <a:lnTo>
                        <a:pt x="6" y="3"/>
                      </a:lnTo>
                      <a:lnTo>
                        <a:pt x="6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0978E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76" name="Freeform 264"/>
                <p:cNvSpPr>
                  <a:spLocks/>
                </p:cNvSpPr>
                <p:nvPr/>
              </p:nvSpPr>
              <p:spPr bwMode="auto">
                <a:xfrm>
                  <a:off x="5354639" y="4087813"/>
                  <a:ext cx="82550" cy="15875"/>
                </a:xfrm>
                <a:custGeom>
                  <a:avLst/>
                  <a:gdLst>
                    <a:gd name="T0" fmla="*/ 11 w 52"/>
                    <a:gd name="T1" fmla="*/ 0 h 10"/>
                    <a:gd name="T2" fmla="*/ 13 w 52"/>
                    <a:gd name="T3" fmla="*/ 0 h 10"/>
                    <a:gd name="T4" fmla="*/ 38 w 52"/>
                    <a:gd name="T5" fmla="*/ 4 h 10"/>
                    <a:gd name="T6" fmla="*/ 38 w 52"/>
                    <a:gd name="T7" fmla="*/ 4 h 10"/>
                    <a:gd name="T8" fmla="*/ 38 w 52"/>
                    <a:gd name="T9" fmla="*/ 4 h 10"/>
                    <a:gd name="T10" fmla="*/ 39 w 52"/>
                    <a:gd name="T11" fmla="*/ 6 h 10"/>
                    <a:gd name="T12" fmla="*/ 41 w 52"/>
                    <a:gd name="T13" fmla="*/ 9 h 10"/>
                    <a:gd name="T14" fmla="*/ 52 w 52"/>
                    <a:gd name="T15" fmla="*/ 10 h 10"/>
                    <a:gd name="T16" fmla="*/ 52 w 52"/>
                    <a:gd name="T17" fmla="*/ 10 h 10"/>
                    <a:gd name="T18" fmla="*/ 39 w 52"/>
                    <a:gd name="T19" fmla="*/ 10 h 10"/>
                    <a:gd name="T20" fmla="*/ 36 w 52"/>
                    <a:gd name="T21" fmla="*/ 10 h 10"/>
                    <a:gd name="T22" fmla="*/ 36 w 52"/>
                    <a:gd name="T23" fmla="*/ 10 h 10"/>
                    <a:gd name="T24" fmla="*/ 0 w 52"/>
                    <a:gd name="T25" fmla="*/ 10 h 10"/>
                    <a:gd name="T26" fmla="*/ 1 w 52"/>
                    <a:gd name="T27" fmla="*/ 7 h 10"/>
                    <a:gd name="T28" fmla="*/ 4 w 52"/>
                    <a:gd name="T29" fmla="*/ 3 h 10"/>
                    <a:gd name="T30" fmla="*/ 7 w 52"/>
                    <a:gd name="T31" fmla="*/ 1 h 10"/>
                    <a:gd name="T32" fmla="*/ 11 w 52"/>
                    <a:gd name="T33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52" h="10">
                      <a:moveTo>
                        <a:pt x="11" y="0"/>
                      </a:moveTo>
                      <a:lnTo>
                        <a:pt x="13" y="0"/>
                      </a:lnTo>
                      <a:lnTo>
                        <a:pt x="38" y="4"/>
                      </a:lnTo>
                      <a:lnTo>
                        <a:pt x="38" y="4"/>
                      </a:lnTo>
                      <a:lnTo>
                        <a:pt x="38" y="4"/>
                      </a:lnTo>
                      <a:lnTo>
                        <a:pt x="39" y="6"/>
                      </a:lnTo>
                      <a:lnTo>
                        <a:pt x="41" y="9"/>
                      </a:lnTo>
                      <a:lnTo>
                        <a:pt x="52" y="10"/>
                      </a:lnTo>
                      <a:lnTo>
                        <a:pt x="52" y="10"/>
                      </a:lnTo>
                      <a:lnTo>
                        <a:pt x="39" y="10"/>
                      </a:lnTo>
                      <a:lnTo>
                        <a:pt x="36" y="10"/>
                      </a:lnTo>
                      <a:lnTo>
                        <a:pt x="36" y="10"/>
                      </a:lnTo>
                      <a:lnTo>
                        <a:pt x="0" y="10"/>
                      </a:lnTo>
                      <a:lnTo>
                        <a:pt x="1" y="7"/>
                      </a:lnTo>
                      <a:lnTo>
                        <a:pt x="4" y="3"/>
                      </a:lnTo>
                      <a:lnTo>
                        <a:pt x="7" y="1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solidFill>
                  <a:srgbClr val="C9BDA9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77" name="Freeform 265"/>
                <p:cNvSpPr>
                  <a:spLocks noEditPoints="1"/>
                </p:cNvSpPr>
                <p:nvPr/>
              </p:nvSpPr>
              <p:spPr bwMode="auto">
                <a:xfrm>
                  <a:off x="5354639" y="4103688"/>
                  <a:ext cx="85725" cy="28575"/>
                </a:xfrm>
                <a:custGeom>
                  <a:avLst/>
                  <a:gdLst>
                    <a:gd name="T0" fmla="*/ 16 w 54"/>
                    <a:gd name="T1" fmla="*/ 15 h 18"/>
                    <a:gd name="T2" fmla="*/ 17 w 54"/>
                    <a:gd name="T3" fmla="*/ 15 h 18"/>
                    <a:gd name="T4" fmla="*/ 19 w 54"/>
                    <a:gd name="T5" fmla="*/ 16 h 18"/>
                    <a:gd name="T6" fmla="*/ 22 w 54"/>
                    <a:gd name="T7" fmla="*/ 18 h 18"/>
                    <a:gd name="T8" fmla="*/ 17 w 54"/>
                    <a:gd name="T9" fmla="*/ 18 h 18"/>
                    <a:gd name="T10" fmla="*/ 16 w 54"/>
                    <a:gd name="T11" fmla="*/ 15 h 18"/>
                    <a:gd name="T12" fmla="*/ 39 w 54"/>
                    <a:gd name="T13" fmla="*/ 0 h 18"/>
                    <a:gd name="T14" fmla="*/ 54 w 54"/>
                    <a:gd name="T15" fmla="*/ 0 h 18"/>
                    <a:gd name="T16" fmla="*/ 54 w 54"/>
                    <a:gd name="T17" fmla="*/ 3 h 18"/>
                    <a:gd name="T18" fmla="*/ 39 w 54"/>
                    <a:gd name="T19" fmla="*/ 0 h 18"/>
                    <a:gd name="T20" fmla="*/ 0 w 54"/>
                    <a:gd name="T21" fmla="*/ 0 h 18"/>
                    <a:gd name="T22" fmla="*/ 36 w 54"/>
                    <a:gd name="T23" fmla="*/ 0 h 18"/>
                    <a:gd name="T24" fmla="*/ 36 w 54"/>
                    <a:gd name="T25" fmla="*/ 4 h 18"/>
                    <a:gd name="T26" fmla="*/ 35 w 54"/>
                    <a:gd name="T27" fmla="*/ 9 h 18"/>
                    <a:gd name="T28" fmla="*/ 33 w 54"/>
                    <a:gd name="T29" fmla="*/ 12 h 18"/>
                    <a:gd name="T30" fmla="*/ 30 w 54"/>
                    <a:gd name="T31" fmla="*/ 15 h 18"/>
                    <a:gd name="T32" fmla="*/ 29 w 54"/>
                    <a:gd name="T33" fmla="*/ 15 h 18"/>
                    <a:gd name="T34" fmla="*/ 26 w 54"/>
                    <a:gd name="T35" fmla="*/ 15 h 18"/>
                    <a:gd name="T36" fmla="*/ 23 w 54"/>
                    <a:gd name="T37" fmla="*/ 12 h 18"/>
                    <a:gd name="T38" fmla="*/ 22 w 54"/>
                    <a:gd name="T39" fmla="*/ 10 h 18"/>
                    <a:gd name="T40" fmla="*/ 22 w 54"/>
                    <a:gd name="T41" fmla="*/ 6 h 18"/>
                    <a:gd name="T42" fmla="*/ 22 w 54"/>
                    <a:gd name="T43" fmla="*/ 3 h 18"/>
                    <a:gd name="T44" fmla="*/ 22 w 54"/>
                    <a:gd name="T45" fmla="*/ 3 h 18"/>
                    <a:gd name="T46" fmla="*/ 22 w 54"/>
                    <a:gd name="T47" fmla="*/ 2 h 18"/>
                    <a:gd name="T48" fmla="*/ 20 w 54"/>
                    <a:gd name="T49" fmla="*/ 4 h 18"/>
                    <a:gd name="T50" fmla="*/ 17 w 54"/>
                    <a:gd name="T51" fmla="*/ 7 h 18"/>
                    <a:gd name="T52" fmla="*/ 14 w 54"/>
                    <a:gd name="T53" fmla="*/ 7 h 18"/>
                    <a:gd name="T54" fmla="*/ 10 w 54"/>
                    <a:gd name="T55" fmla="*/ 7 h 18"/>
                    <a:gd name="T56" fmla="*/ 10 w 54"/>
                    <a:gd name="T57" fmla="*/ 9 h 18"/>
                    <a:gd name="T58" fmla="*/ 6 w 54"/>
                    <a:gd name="T59" fmla="*/ 6 h 18"/>
                    <a:gd name="T60" fmla="*/ 0 w 54"/>
                    <a:gd name="T61" fmla="*/ 6 h 18"/>
                    <a:gd name="T62" fmla="*/ 0 w 54"/>
                    <a:gd name="T63" fmla="*/ 2 h 18"/>
                    <a:gd name="T64" fmla="*/ 0 w 54"/>
                    <a:gd name="T65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54" h="18">
                      <a:moveTo>
                        <a:pt x="16" y="15"/>
                      </a:moveTo>
                      <a:lnTo>
                        <a:pt x="17" y="15"/>
                      </a:lnTo>
                      <a:lnTo>
                        <a:pt x="19" y="16"/>
                      </a:lnTo>
                      <a:lnTo>
                        <a:pt x="22" y="18"/>
                      </a:lnTo>
                      <a:lnTo>
                        <a:pt x="17" y="18"/>
                      </a:lnTo>
                      <a:lnTo>
                        <a:pt x="16" y="15"/>
                      </a:lnTo>
                      <a:close/>
                      <a:moveTo>
                        <a:pt x="39" y="0"/>
                      </a:moveTo>
                      <a:lnTo>
                        <a:pt x="54" y="0"/>
                      </a:lnTo>
                      <a:lnTo>
                        <a:pt x="54" y="3"/>
                      </a:lnTo>
                      <a:lnTo>
                        <a:pt x="39" y="0"/>
                      </a:lnTo>
                      <a:close/>
                      <a:moveTo>
                        <a:pt x="0" y="0"/>
                      </a:moveTo>
                      <a:lnTo>
                        <a:pt x="36" y="0"/>
                      </a:lnTo>
                      <a:lnTo>
                        <a:pt x="36" y="4"/>
                      </a:lnTo>
                      <a:lnTo>
                        <a:pt x="35" y="9"/>
                      </a:lnTo>
                      <a:lnTo>
                        <a:pt x="33" y="12"/>
                      </a:lnTo>
                      <a:lnTo>
                        <a:pt x="30" y="15"/>
                      </a:lnTo>
                      <a:lnTo>
                        <a:pt x="29" y="15"/>
                      </a:lnTo>
                      <a:lnTo>
                        <a:pt x="26" y="15"/>
                      </a:lnTo>
                      <a:lnTo>
                        <a:pt x="23" y="12"/>
                      </a:lnTo>
                      <a:lnTo>
                        <a:pt x="22" y="10"/>
                      </a:lnTo>
                      <a:lnTo>
                        <a:pt x="22" y="6"/>
                      </a:lnTo>
                      <a:lnTo>
                        <a:pt x="22" y="3"/>
                      </a:lnTo>
                      <a:lnTo>
                        <a:pt x="22" y="3"/>
                      </a:lnTo>
                      <a:lnTo>
                        <a:pt x="22" y="2"/>
                      </a:lnTo>
                      <a:lnTo>
                        <a:pt x="20" y="4"/>
                      </a:lnTo>
                      <a:lnTo>
                        <a:pt x="17" y="7"/>
                      </a:lnTo>
                      <a:lnTo>
                        <a:pt x="14" y="7"/>
                      </a:lnTo>
                      <a:lnTo>
                        <a:pt x="10" y="7"/>
                      </a:lnTo>
                      <a:lnTo>
                        <a:pt x="10" y="9"/>
                      </a:lnTo>
                      <a:lnTo>
                        <a:pt x="6" y="6"/>
                      </a:lnTo>
                      <a:lnTo>
                        <a:pt x="0" y="6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A65F3E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78" name="Freeform 266"/>
                <p:cNvSpPr>
                  <a:spLocks/>
                </p:cNvSpPr>
                <p:nvPr/>
              </p:nvSpPr>
              <p:spPr bwMode="auto">
                <a:xfrm>
                  <a:off x="5354639" y="4113213"/>
                  <a:ext cx="26988" cy="19050"/>
                </a:xfrm>
                <a:custGeom>
                  <a:avLst/>
                  <a:gdLst>
                    <a:gd name="T0" fmla="*/ 0 w 17"/>
                    <a:gd name="T1" fmla="*/ 0 h 12"/>
                    <a:gd name="T2" fmla="*/ 6 w 17"/>
                    <a:gd name="T3" fmla="*/ 0 h 12"/>
                    <a:gd name="T4" fmla="*/ 10 w 17"/>
                    <a:gd name="T5" fmla="*/ 3 h 12"/>
                    <a:gd name="T6" fmla="*/ 10 w 17"/>
                    <a:gd name="T7" fmla="*/ 6 h 12"/>
                    <a:gd name="T8" fmla="*/ 10 w 17"/>
                    <a:gd name="T9" fmla="*/ 7 h 12"/>
                    <a:gd name="T10" fmla="*/ 10 w 17"/>
                    <a:gd name="T11" fmla="*/ 7 h 12"/>
                    <a:gd name="T12" fmla="*/ 16 w 17"/>
                    <a:gd name="T13" fmla="*/ 9 h 12"/>
                    <a:gd name="T14" fmla="*/ 17 w 17"/>
                    <a:gd name="T15" fmla="*/ 12 h 12"/>
                    <a:gd name="T16" fmla="*/ 10 w 17"/>
                    <a:gd name="T17" fmla="*/ 10 h 12"/>
                    <a:gd name="T18" fmla="*/ 6 w 17"/>
                    <a:gd name="T19" fmla="*/ 9 h 12"/>
                    <a:gd name="T20" fmla="*/ 3 w 17"/>
                    <a:gd name="T21" fmla="*/ 6 h 12"/>
                    <a:gd name="T22" fmla="*/ 1 w 17"/>
                    <a:gd name="T23" fmla="*/ 3 h 12"/>
                    <a:gd name="T24" fmla="*/ 0 w 17"/>
                    <a:gd name="T25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7" h="12">
                      <a:moveTo>
                        <a:pt x="0" y="0"/>
                      </a:moveTo>
                      <a:lnTo>
                        <a:pt x="6" y="0"/>
                      </a:lnTo>
                      <a:lnTo>
                        <a:pt x="10" y="3"/>
                      </a:lnTo>
                      <a:lnTo>
                        <a:pt x="10" y="6"/>
                      </a:lnTo>
                      <a:lnTo>
                        <a:pt x="10" y="7"/>
                      </a:lnTo>
                      <a:lnTo>
                        <a:pt x="10" y="7"/>
                      </a:lnTo>
                      <a:lnTo>
                        <a:pt x="16" y="9"/>
                      </a:lnTo>
                      <a:lnTo>
                        <a:pt x="17" y="12"/>
                      </a:lnTo>
                      <a:lnTo>
                        <a:pt x="10" y="10"/>
                      </a:lnTo>
                      <a:lnTo>
                        <a:pt x="6" y="9"/>
                      </a:lnTo>
                      <a:lnTo>
                        <a:pt x="3" y="6"/>
                      </a:lnTo>
                      <a:lnTo>
                        <a:pt x="1" y="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9BDA9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79" name="Freeform 267"/>
                <p:cNvSpPr>
                  <a:spLocks/>
                </p:cNvSpPr>
                <p:nvPr/>
              </p:nvSpPr>
              <p:spPr bwMode="auto">
                <a:xfrm>
                  <a:off x="5437189" y="4097338"/>
                  <a:ext cx="19050" cy="9525"/>
                </a:xfrm>
                <a:custGeom>
                  <a:avLst/>
                  <a:gdLst>
                    <a:gd name="T0" fmla="*/ 0 w 12"/>
                    <a:gd name="T1" fmla="*/ 0 h 6"/>
                    <a:gd name="T2" fmla="*/ 12 w 12"/>
                    <a:gd name="T3" fmla="*/ 1 h 6"/>
                    <a:gd name="T4" fmla="*/ 12 w 12"/>
                    <a:gd name="T5" fmla="*/ 6 h 6"/>
                    <a:gd name="T6" fmla="*/ 0 w 12"/>
                    <a:gd name="T7" fmla="*/ 4 h 6"/>
                    <a:gd name="T8" fmla="*/ 0 w 12"/>
                    <a:gd name="T9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" h="6">
                      <a:moveTo>
                        <a:pt x="0" y="0"/>
                      </a:moveTo>
                      <a:lnTo>
                        <a:pt x="12" y="1"/>
                      </a:lnTo>
                      <a:lnTo>
                        <a:pt x="12" y="6"/>
                      </a:lnTo>
                      <a:lnTo>
                        <a:pt x="0" y="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18838D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80" name="Freeform 268"/>
                <p:cNvSpPr>
                  <a:spLocks/>
                </p:cNvSpPr>
                <p:nvPr/>
              </p:nvSpPr>
              <p:spPr bwMode="auto">
                <a:xfrm>
                  <a:off x="5414964" y="4094163"/>
                  <a:ext cx="22225" cy="9525"/>
                </a:xfrm>
                <a:custGeom>
                  <a:avLst/>
                  <a:gdLst>
                    <a:gd name="T0" fmla="*/ 0 w 14"/>
                    <a:gd name="T1" fmla="*/ 0 h 6"/>
                    <a:gd name="T2" fmla="*/ 14 w 14"/>
                    <a:gd name="T3" fmla="*/ 2 h 6"/>
                    <a:gd name="T4" fmla="*/ 14 w 14"/>
                    <a:gd name="T5" fmla="*/ 6 h 6"/>
                    <a:gd name="T6" fmla="*/ 3 w 14"/>
                    <a:gd name="T7" fmla="*/ 5 h 6"/>
                    <a:gd name="T8" fmla="*/ 1 w 14"/>
                    <a:gd name="T9" fmla="*/ 2 h 6"/>
                    <a:gd name="T10" fmla="*/ 0 w 14"/>
                    <a:gd name="T11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4" h="6">
                      <a:moveTo>
                        <a:pt x="0" y="0"/>
                      </a:moveTo>
                      <a:lnTo>
                        <a:pt x="14" y="2"/>
                      </a:lnTo>
                      <a:lnTo>
                        <a:pt x="14" y="6"/>
                      </a:lnTo>
                      <a:lnTo>
                        <a:pt x="3" y="5"/>
                      </a:lnTo>
                      <a:lnTo>
                        <a:pt x="1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A4A9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81" name="Freeform 269"/>
                <p:cNvSpPr>
                  <a:spLocks/>
                </p:cNvSpPr>
                <p:nvPr/>
              </p:nvSpPr>
              <p:spPr bwMode="auto">
                <a:xfrm>
                  <a:off x="5435601" y="4108451"/>
                  <a:ext cx="52388" cy="31750"/>
                </a:xfrm>
                <a:custGeom>
                  <a:avLst/>
                  <a:gdLst>
                    <a:gd name="T0" fmla="*/ 3 w 33"/>
                    <a:gd name="T1" fmla="*/ 0 h 20"/>
                    <a:gd name="T2" fmla="*/ 7 w 33"/>
                    <a:gd name="T3" fmla="*/ 0 h 20"/>
                    <a:gd name="T4" fmla="*/ 7 w 33"/>
                    <a:gd name="T5" fmla="*/ 0 h 20"/>
                    <a:gd name="T6" fmla="*/ 14 w 33"/>
                    <a:gd name="T7" fmla="*/ 1 h 20"/>
                    <a:gd name="T8" fmla="*/ 16 w 33"/>
                    <a:gd name="T9" fmla="*/ 3 h 20"/>
                    <a:gd name="T10" fmla="*/ 19 w 33"/>
                    <a:gd name="T11" fmla="*/ 4 h 20"/>
                    <a:gd name="T12" fmla="*/ 22 w 33"/>
                    <a:gd name="T13" fmla="*/ 4 h 20"/>
                    <a:gd name="T14" fmla="*/ 23 w 33"/>
                    <a:gd name="T15" fmla="*/ 4 h 20"/>
                    <a:gd name="T16" fmla="*/ 24 w 33"/>
                    <a:gd name="T17" fmla="*/ 4 h 20"/>
                    <a:gd name="T18" fmla="*/ 27 w 33"/>
                    <a:gd name="T19" fmla="*/ 4 h 20"/>
                    <a:gd name="T20" fmla="*/ 29 w 33"/>
                    <a:gd name="T21" fmla="*/ 4 h 20"/>
                    <a:gd name="T22" fmla="*/ 30 w 33"/>
                    <a:gd name="T23" fmla="*/ 6 h 20"/>
                    <a:gd name="T24" fmla="*/ 32 w 33"/>
                    <a:gd name="T25" fmla="*/ 7 h 20"/>
                    <a:gd name="T26" fmla="*/ 33 w 33"/>
                    <a:gd name="T27" fmla="*/ 12 h 20"/>
                    <a:gd name="T28" fmla="*/ 29 w 33"/>
                    <a:gd name="T29" fmla="*/ 13 h 20"/>
                    <a:gd name="T30" fmla="*/ 27 w 33"/>
                    <a:gd name="T31" fmla="*/ 13 h 20"/>
                    <a:gd name="T32" fmla="*/ 24 w 33"/>
                    <a:gd name="T33" fmla="*/ 13 h 20"/>
                    <a:gd name="T34" fmla="*/ 22 w 33"/>
                    <a:gd name="T35" fmla="*/ 13 h 20"/>
                    <a:gd name="T36" fmla="*/ 20 w 33"/>
                    <a:gd name="T37" fmla="*/ 13 h 20"/>
                    <a:gd name="T38" fmla="*/ 20 w 33"/>
                    <a:gd name="T39" fmla="*/ 16 h 20"/>
                    <a:gd name="T40" fmla="*/ 19 w 33"/>
                    <a:gd name="T41" fmla="*/ 17 h 20"/>
                    <a:gd name="T42" fmla="*/ 19 w 33"/>
                    <a:gd name="T43" fmla="*/ 20 h 20"/>
                    <a:gd name="T44" fmla="*/ 3 w 33"/>
                    <a:gd name="T45" fmla="*/ 19 h 20"/>
                    <a:gd name="T46" fmla="*/ 3 w 33"/>
                    <a:gd name="T47" fmla="*/ 19 h 20"/>
                    <a:gd name="T48" fmla="*/ 0 w 33"/>
                    <a:gd name="T49" fmla="*/ 19 h 20"/>
                    <a:gd name="T50" fmla="*/ 3 w 33"/>
                    <a:gd name="T51" fmla="*/ 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33" h="20">
                      <a:moveTo>
                        <a:pt x="3" y="0"/>
                      </a:move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14" y="1"/>
                      </a:lnTo>
                      <a:lnTo>
                        <a:pt x="16" y="3"/>
                      </a:lnTo>
                      <a:lnTo>
                        <a:pt x="19" y="4"/>
                      </a:lnTo>
                      <a:lnTo>
                        <a:pt x="22" y="4"/>
                      </a:lnTo>
                      <a:lnTo>
                        <a:pt x="23" y="4"/>
                      </a:lnTo>
                      <a:lnTo>
                        <a:pt x="24" y="4"/>
                      </a:lnTo>
                      <a:lnTo>
                        <a:pt x="27" y="4"/>
                      </a:lnTo>
                      <a:lnTo>
                        <a:pt x="29" y="4"/>
                      </a:lnTo>
                      <a:lnTo>
                        <a:pt x="30" y="6"/>
                      </a:lnTo>
                      <a:lnTo>
                        <a:pt x="32" y="7"/>
                      </a:lnTo>
                      <a:lnTo>
                        <a:pt x="33" y="12"/>
                      </a:lnTo>
                      <a:lnTo>
                        <a:pt x="29" y="13"/>
                      </a:lnTo>
                      <a:lnTo>
                        <a:pt x="27" y="13"/>
                      </a:lnTo>
                      <a:lnTo>
                        <a:pt x="24" y="13"/>
                      </a:lnTo>
                      <a:lnTo>
                        <a:pt x="22" y="13"/>
                      </a:lnTo>
                      <a:lnTo>
                        <a:pt x="20" y="13"/>
                      </a:lnTo>
                      <a:lnTo>
                        <a:pt x="20" y="16"/>
                      </a:lnTo>
                      <a:lnTo>
                        <a:pt x="19" y="17"/>
                      </a:lnTo>
                      <a:lnTo>
                        <a:pt x="19" y="20"/>
                      </a:lnTo>
                      <a:lnTo>
                        <a:pt x="3" y="19"/>
                      </a:lnTo>
                      <a:lnTo>
                        <a:pt x="3" y="19"/>
                      </a:lnTo>
                      <a:lnTo>
                        <a:pt x="0" y="19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18838D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82" name="Freeform 270"/>
                <p:cNvSpPr>
                  <a:spLocks/>
                </p:cNvSpPr>
                <p:nvPr/>
              </p:nvSpPr>
              <p:spPr bwMode="auto">
                <a:xfrm>
                  <a:off x="5411789" y="4103688"/>
                  <a:ext cx="4763" cy="0"/>
                </a:xfrm>
                <a:custGeom>
                  <a:avLst/>
                  <a:gdLst>
                    <a:gd name="T0" fmla="*/ 0 w 3"/>
                    <a:gd name="T1" fmla="*/ 3 w 3"/>
                    <a:gd name="T2" fmla="*/ 0 w 3"/>
                    <a:gd name="T3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A4A9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83" name="Freeform 271"/>
                <p:cNvSpPr>
                  <a:spLocks/>
                </p:cNvSpPr>
                <p:nvPr/>
              </p:nvSpPr>
              <p:spPr bwMode="auto">
                <a:xfrm>
                  <a:off x="5370514" y="4103688"/>
                  <a:ext cx="69850" cy="34925"/>
                </a:xfrm>
                <a:custGeom>
                  <a:avLst/>
                  <a:gdLst>
                    <a:gd name="T0" fmla="*/ 26 w 44"/>
                    <a:gd name="T1" fmla="*/ 0 h 22"/>
                    <a:gd name="T2" fmla="*/ 29 w 44"/>
                    <a:gd name="T3" fmla="*/ 0 h 22"/>
                    <a:gd name="T4" fmla="*/ 44 w 44"/>
                    <a:gd name="T5" fmla="*/ 3 h 22"/>
                    <a:gd name="T6" fmla="*/ 41 w 44"/>
                    <a:gd name="T7" fmla="*/ 22 h 22"/>
                    <a:gd name="T8" fmla="*/ 29 w 44"/>
                    <a:gd name="T9" fmla="*/ 20 h 22"/>
                    <a:gd name="T10" fmla="*/ 29 w 44"/>
                    <a:gd name="T11" fmla="*/ 20 h 22"/>
                    <a:gd name="T12" fmla="*/ 12 w 44"/>
                    <a:gd name="T13" fmla="*/ 18 h 22"/>
                    <a:gd name="T14" fmla="*/ 9 w 44"/>
                    <a:gd name="T15" fmla="*/ 16 h 22"/>
                    <a:gd name="T16" fmla="*/ 7 w 44"/>
                    <a:gd name="T17" fmla="*/ 15 h 22"/>
                    <a:gd name="T18" fmla="*/ 6 w 44"/>
                    <a:gd name="T19" fmla="*/ 15 h 22"/>
                    <a:gd name="T20" fmla="*/ 3 w 44"/>
                    <a:gd name="T21" fmla="*/ 12 h 22"/>
                    <a:gd name="T22" fmla="*/ 0 w 44"/>
                    <a:gd name="T23" fmla="*/ 9 h 22"/>
                    <a:gd name="T24" fmla="*/ 0 w 44"/>
                    <a:gd name="T25" fmla="*/ 7 h 22"/>
                    <a:gd name="T26" fmla="*/ 4 w 44"/>
                    <a:gd name="T27" fmla="*/ 7 h 22"/>
                    <a:gd name="T28" fmla="*/ 7 w 44"/>
                    <a:gd name="T29" fmla="*/ 7 h 22"/>
                    <a:gd name="T30" fmla="*/ 10 w 44"/>
                    <a:gd name="T31" fmla="*/ 4 h 22"/>
                    <a:gd name="T32" fmla="*/ 12 w 44"/>
                    <a:gd name="T33" fmla="*/ 2 h 22"/>
                    <a:gd name="T34" fmla="*/ 12 w 44"/>
                    <a:gd name="T35" fmla="*/ 3 h 22"/>
                    <a:gd name="T36" fmla="*/ 12 w 44"/>
                    <a:gd name="T37" fmla="*/ 3 h 22"/>
                    <a:gd name="T38" fmla="*/ 12 w 44"/>
                    <a:gd name="T39" fmla="*/ 6 h 22"/>
                    <a:gd name="T40" fmla="*/ 12 w 44"/>
                    <a:gd name="T41" fmla="*/ 10 h 22"/>
                    <a:gd name="T42" fmla="*/ 13 w 44"/>
                    <a:gd name="T43" fmla="*/ 12 h 22"/>
                    <a:gd name="T44" fmla="*/ 16 w 44"/>
                    <a:gd name="T45" fmla="*/ 15 h 22"/>
                    <a:gd name="T46" fmla="*/ 19 w 44"/>
                    <a:gd name="T47" fmla="*/ 15 h 22"/>
                    <a:gd name="T48" fmla="*/ 20 w 44"/>
                    <a:gd name="T49" fmla="*/ 15 h 22"/>
                    <a:gd name="T50" fmla="*/ 23 w 44"/>
                    <a:gd name="T51" fmla="*/ 12 h 22"/>
                    <a:gd name="T52" fmla="*/ 25 w 44"/>
                    <a:gd name="T53" fmla="*/ 9 h 22"/>
                    <a:gd name="T54" fmla="*/ 26 w 44"/>
                    <a:gd name="T55" fmla="*/ 4 h 22"/>
                    <a:gd name="T56" fmla="*/ 26 w 44"/>
                    <a:gd name="T57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44" h="22">
                      <a:moveTo>
                        <a:pt x="26" y="0"/>
                      </a:moveTo>
                      <a:lnTo>
                        <a:pt x="29" y="0"/>
                      </a:lnTo>
                      <a:lnTo>
                        <a:pt x="44" y="3"/>
                      </a:lnTo>
                      <a:lnTo>
                        <a:pt x="41" y="22"/>
                      </a:lnTo>
                      <a:lnTo>
                        <a:pt x="29" y="20"/>
                      </a:lnTo>
                      <a:lnTo>
                        <a:pt x="29" y="20"/>
                      </a:lnTo>
                      <a:lnTo>
                        <a:pt x="12" y="18"/>
                      </a:lnTo>
                      <a:lnTo>
                        <a:pt x="9" y="16"/>
                      </a:lnTo>
                      <a:lnTo>
                        <a:pt x="7" y="15"/>
                      </a:lnTo>
                      <a:lnTo>
                        <a:pt x="6" y="15"/>
                      </a:lnTo>
                      <a:lnTo>
                        <a:pt x="3" y="12"/>
                      </a:lnTo>
                      <a:lnTo>
                        <a:pt x="0" y="9"/>
                      </a:lnTo>
                      <a:lnTo>
                        <a:pt x="0" y="7"/>
                      </a:lnTo>
                      <a:lnTo>
                        <a:pt x="4" y="7"/>
                      </a:lnTo>
                      <a:lnTo>
                        <a:pt x="7" y="7"/>
                      </a:lnTo>
                      <a:lnTo>
                        <a:pt x="10" y="4"/>
                      </a:lnTo>
                      <a:lnTo>
                        <a:pt x="12" y="2"/>
                      </a:lnTo>
                      <a:lnTo>
                        <a:pt x="12" y="3"/>
                      </a:lnTo>
                      <a:lnTo>
                        <a:pt x="12" y="3"/>
                      </a:lnTo>
                      <a:lnTo>
                        <a:pt x="12" y="6"/>
                      </a:lnTo>
                      <a:lnTo>
                        <a:pt x="12" y="10"/>
                      </a:lnTo>
                      <a:lnTo>
                        <a:pt x="13" y="12"/>
                      </a:lnTo>
                      <a:lnTo>
                        <a:pt x="16" y="15"/>
                      </a:lnTo>
                      <a:lnTo>
                        <a:pt x="19" y="15"/>
                      </a:lnTo>
                      <a:lnTo>
                        <a:pt x="20" y="15"/>
                      </a:lnTo>
                      <a:lnTo>
                        <a:pt x="23" y="12"/>
                      </a:lnTo>
                      <a:lnTo>
                        <a:pt x="25" y="9"/>
                      </a:lnTo>
                      <a:lnTo>
                        <a:pt x="26" y="4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solidFill>
                  <a:srgbClr val="3D533E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84" name="Freeform 272"/>
                <p:cNvSpPr>
                  <a:spLocks/>
                </p:cNvSpPr>
                <p:nvPr/>
              </p:nvSpPr>
              <p:spPr bwMode="auto">
                <a:xfrm>
                  <a:off x="5370514" y="4117976"/>
                  <a:ext cx="9525" cy="9525"/>
                </a:xfrm>
                <a:custGeom>
                  <a:avLst/>
                  <a:gdLst>
                    <a:gd name="T0" fmla="*/ 0 w 6"/>
                    <a:gd name="T1" fmla="*/ 0 h 6"/>
                    <a:gd name="T2" fmla="*/ 3 w 6"/>
                    <a:gd name="T3" fmla="*/ 3 h 6"/>
                    <a:gd name="T4" fmla="*/ 6 w 6"/>
                    <a:gd name="T5" fmla="*/ 6 h 6"/>
                    <a:gd name="T6" fmla="*/ 0 w 6"/>
                    <a:gd name="T7" fmla="*/ 4 h 6"/>
                    <a:gd name="T8" fmla="*/ 0 w 6"/>
                    <a:gd name="T9" fmla="*/ 4 h 6"/>
                    <a:gd name="T10" fmla="*/ 0 w 6"/>
                    <a:gd name="T11" fmla="*/ 3 h 6"/>
                    <a:gd name="T12" fmla="*/ 0 w 6"/>
                    <a:gd name="T13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6">
                      <a:moveTo>
                        <a:pt x="0" y="0"/>
                      </a:moveTo>
                      <a:lnTo>
                        <a:pt x="3" y="3"/>
                      </a:lnTo>
                      <a:lnTo>
                        <a:pt x="6" y="6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BA4A9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85" name="Freeform 273"/>
                <p:cNvSpPr>
                  <a:spLocks/>
                </p:cNvSpPr>
                <p:nvPr/>
              </p:nvSpPr>
              <p:spPr bwMode="auto">
                <a:xfrm>
                  <a:off x="5435601" y="4148138"/>
                  <a:ext cx="31750" cy="9525"/>
                </a:xfrm>
                <a:custGeom>
                  <a:avLst/>
                  <a:gdLst>
                    <a:gd name="T0" fmla="*/ 0 w 20"/>
                    <a:gd name="T1" fmla="*/ 0 h 6"/>
                    <a:gd name="T2" fmla="*/ 19 w 20"/>
                    <a:gd name="T3" fmla="*/ 3 h 6"/>
                    <a:gd name="T4" fmla="*/ 20 w 20"/>
                    <a:gd name="T5" fmla="*/ 6 h 6"/>
                    <a:gd name="T6" fmla="*/ 1 w 20"/>
                    <a:gd name="T7" fmla="*/ 3 h 6"/>
                    <a:gd name="T8" fmla="*/ 1 w 20"/>
                    <a:gd name="T9" fmla="*/ 3 h 6"/>
                    <a:gd name="T10" fmla="*/ 0 w 20"/>
                    <a:gd name="T11" fmla="*/ 3 h 6"/>
                    <a:gd name="T12" fmla="*/ 0 w 20"/>
                    <a:gd name="T13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" h="6">
                      <a:moveTo>
                        <a:pt x="0" y="0"/>
                      </a:moveTo>
                      <a:lnTo>
                        <a:pt x="19" y="3"/>
                      </a:lnTo>
                      <a:lnTo>
                        <a:pt x="20" y="6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0978E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86" name="Freeform 274"/>
                <p:cNvSpPr>
                  <a:spLocks/>
                </p:cNvSpPr>
                <p:nvPr/>
              </p:nvSpPr>
              <p:spPr bwMode="auto">
                <a:xfrm>
                  <a:off x="5386389" y="4138613"/>
                  <a:ext cx="49213" cy="39688"/>
                </a:xfrm>
                <a:custGeom>
                  <a:avLst/>
                  <a:gdLst>
                    <a:gd name="T0" fmla="*/ 7 w 31"/>
                    <a:gd name="T1" fmla="*/ 0 h 25"/>
                    <a:gd name="T2" fmla="*/ 7 w 31"/>
                    <a:gd name="T3" fmla="*/ 3 h 25"/>
                    <a:gd name="T4" fmla="*/ 13 w 31"/>
                    <a:gd name="T5" fmla="*/ 4 h 25"/>
                    <a:gd name="T6" fmla="*/ 15 w 31"/>
                    <a:gd name="T7" fmla="*/ 4 h 25"/>
                    <a:gd name="T8" fmla="*/ 29 w 31"/>
                    <a:gd name="T9" fmla="*/ 6 h 25"/>
                    <a:gd name="T10" fmla="*/ 29 w 31"/>
                    <a:gd name="T11" fmla="*/ 6 h 25"/>
                    <a:gd name="T12" fmla="*/ 31 w 31"/>
                    <a:gd name="T13" fmla="*/ 6 h 25"/>
                    <a:gd name="T14" fmla="*/ 31 w 31"/>
                    <a:gd name="T15" fmla="*/ 9 h 25"/>
                    <a:gd name="T16" fmla="*/ 19 w 31"/>
                    <a:gd name="T17" fmla="*/ 7 h 25"/>
                    <a:gd name="T18" fmla="*/ 19 w 31"/>
                    <a:gd name="T19" fmla="*/ 9 h 25"/>
                    <a:gd name="T20" fmla="*/ 18 w 31"/>
                    <a:gd name="T21" fmla="*/ 12 h 25"/>
                    <a:gd name="T22" fmla="*/ 18 w 31"/>
                    <a:gd name="T23" fmla="*/ 12 h 25"/>
                    <a:gd name="T24" fmla="*/ 19 w 31"/>
                    <a:gd name="T25" fmla="*/ 14 h 25"/>
                    <a:gd name="T26" fmla="*/ 19 w 31"/>
                    <a:gd name="T27" fmla="*/ 17 h 25"/>
                    <a:gd name="T28" fmla="*/ 19 w 31"/>
                    <a:gd name="T29" fmla="*/ 20 h 25"/>
                    <a:gd name="T30" fmla="*/ 19 w 31"/>
                    <a:gd name="T31" fmla="*/ 23 h 25"/>
                    <a:gd name="T32" fmla="*/ 21 w 31"/>
                    <a:gd name="T33" fmla="*/ 23 h 25"/>
                    <a:gd name="T34" fmla="*/ 23 w 31"/>
                    <a:gd name="T35" fmla="*/ 23 h 25"/>
                    <a:gd name="T36" fmla="*/ 26 w 31"/>
                    <a:gd name="T37" fmla="*/ 25 h 25"/>
                    <a:gd name="T38" fmla="*/ 12 w 31"/>
                    <a:gd name="T39" fmla="*/ 23 h 25"/>
                    <a:gd name="T40" fmla="*/ 7 w 31"/>
                    <a:gd name="T41" fmla="*/ 22 h 25"/>
                    <a:gd name="T42" fmla="*/ 3 w 31"/>
                    <a:gd name="T43" fmla="*/ 19 h 25"/>
                    <a:gd name="T44" fmla="*/ 2 w 31"/>
                    <a:gd name="T45" fmla="*/ 14 h 25"/>
                    <a:gd name="T46" fmla="*/ 0 w 31"/>
                    <a:gd name="T47" fmla="*/ 10 h 25"/>
                    <a:gd name="T48" fmla="*/ 2 w 31"/>
                    <a:gd name="T49" fmla="*/ 6 h 25"/>
                    <a:gd name="T50" fmla="*/ 5 w 31"/>
                    <a:gd name="T51" fmla="*/ 3 h 25"/>
                    <a:gd name="T52" fmla="*/ 7 w 31"/>
                    <a:gd name="T53" fmla="*/ 0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31" h="25">
                      <a:moveTo>
                        <a:pt x="7" y="0"/>
                      </a:moveTo>
                      <a:lnTo>
                        <a:pt x="7" y="3"/>
                      </a:lnTo>
                      <a:lnTo>
                        <a:pt x="13" y="4"/>
                      </a:lnTo>
                      <a:lnTo>
                        <a:pt x="15" y="4"/>
                      </a:lnTo>
                      <a:lnTo>
                        <a:pt x="29" y="6"/>
                      </a:lnTo>
                      <a:lnTo>
                        <a:pt x="29" y="6"/>
                      </a:lnTo>
                      <a:lnTo>
                        <a:pt x="31" y="6"/>
                      </a:lnTo>
                      <a:lnTo>
                        <a:pt x="31" y="9"/>
                      </a:lnTo>
                      <a:lnTo>
                        <a:pt x="19" y="7"/>
                      </a:lnTo>
                      <a:lnTo>
                        <a:pt x="19" y="9"/>
                      </a:lnTo>
                      <a:lnTo>
                        <a:pt x="18" y="12"/>
                      </a:lnTo>
                      <a:lnTo>
                        <a:pt x="18" y="12"/>
                      </a:lnTo>
                      <a:lnTo>
                        <a:pt x="19" y="14"/>
                      </a:lnTo>
                      <a:lnTo>
                        <a:pt x="19" y="17"/>
                      </a:lnTo>
                      <a:lnTo>
                        <a:pt x="19" y="20"/>
                      </a:lnTo>
                      <a:lnTo>
                        <a:pt x="19" y="23"/>
                      </a:lnTo>
                      <a:lnTo>
                        <a:pt x="21" y="23"/>
                      </a:lnTo>
                      <a:lnTo>
                        <a:pt x="23" y="23"/>
                      </a:lnTo>
                      <a:lnTo>
                        <a:pt x="26" y="25"/>
                      </a:lnTo>
                      <a:lnTo>
                        <a:pt x="12" y="23"/>
                      </a:lnTo>
                      <a:lnTo>
                        <a:pt x="7" y="22"/>
                      </a:lnTo>
                      <a:lnTo>
                        <a:pt x="3" y="19"/>
                      </a:lnTo>
                      <a:lnTo>
                        <a:pt x="2" y="14"/>
                      </a:lnTo>
                      <a:lnTo>
                        <a:pt x="0" y="10"/>
                      </a:lnTo>
                      <a:lnTo>
                        <a:pt x="2" y="6"/>
                      </a:lnTo>
                      <a:lnTo>
                        <a:pt x="5" y="3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A65F3E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87" name="Freeform 275"/>
                <p:cNvSpPr>
                  <a:spLocks/>
                </p:cNvSpPr>
                <p:nvPr/>
              </p:nvSpPr>
              <p:spPr bwMode="auto">
                <a:xfrm>
                  <a:off x="5435601" y="4143376"/>
                  <a:ext cx="30163" cy="9525"/>
                </a:xfrm>
                <a:custGeom>
                  <a:avLst/>
                  <a:gdLst>
                    <a:gd name="T0" fmla="*/ 0 w 19"/>
                    <a:gd name="T1" fmla="*/ 0 h 6"/>
                    <a:gd name="T2" fmla="*/ 7 w 19"/>
                    <a:gd name="T3" fmla="*/ 0 h 6"/>
                    <a:gd name="T4" fmla="*/ 8 w 19"/>
                    <a:gd name="T5" fmla="*/ 0 h 6"/>
                    <a:gd name="T6" fmla="*/ 19 w 19"/>
                    <a:gd name="T7" fmla="*/ 1 h 6"/>
                    <a:gd name="T8" fmla="*/ 19 w 19"/>
                    <a:gd name="T9" fmla="*/ 4 h 6"/>
                    <a:gd name="T10" fmla="*/ 19 w 19"/>
                    <a:gd name="T11" fmla="*/ 6 h 6"/>
                    <a:gd name="T12" fmla="*/ 19 w 19"/>
                    <a:gd name="T13" fmla="*/ 6 h 6"/>
                    <a:gd name="T14" fmla="*/ 0 w 19"/>
                    <a:gd name="T15" fmla="*/ 3 h 6"/>
                    <a:gd name="T16" fmla="*/ 0 w 19"/>
                    <a:gd name="T17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9" h="6">
                      <a:moveTo>
                        <a:pt x="0" y="0"/>
                      </a:moveTo>
                      <a:lnTo>
                        <a:pt x="7" y="0"/>
                      </a:lnTo>
                      <a:lnTo>
                        <a:pt x="8" y="0"/>
                      </a:lnTo>
                      <a:lnTo>
                        <a:pt x="19" y="1"/>
                      </a:lnTo>
                      <a:lnTo>
                        <a:pt x="19" y="4"/>
                      </a:lnTo>
                      <a:lnTo>
                        <a:pt x="19" y="6"/>
                      </a:lnTo>
                      <a:lnTo>
                        <a:pt x="19" y="6"/>
                      </a:lnTo>
                      <a:lnTo>
                        <a:pt x="0" y="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18838D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88" name="Freeform 276"/>
                <p:cNvSpPr>
                  <a:spLocks/>
                </p:cNvSpPr>
                <p:nvPr/>
              </p:nvSpPr>
              <p:spPr bwMode="auto">
                <a:xfrm>
                  <a:off x="5397501" y="4138613"/>
                  <a:ext cx="38100" cy="9525"/>
                </a:xfrm>
                <a:custGeom>
                  <a:avLst/>
                  <a:gdLst>
                    <a:gd name="T0" fmla="*/ 5 w 24"/>
                    <a:gd name="T1" fmla="*/ 0 h 6"/>
                    <a:gd name="T2" fmla="*/ 6 w 24"/>
                    <a:gd name="T3" fmla="*/ 0 h 6"/>
                    <a:gd name="T4" fmla="*/ 24 w 24"/>
                    <a:gd name="T5" fmla="*/ 3 h 6"/>
                    <a:gd name="T6" fmla="*/ 24 w 24"/>
                    <a:gd name="T7" fmla="*/ 6 h 6"/>
                    <a:gd name="T8" fmla="*/ 22 w 24"/>
                    <a:gd name="T9" fmla="*/ 6 h 6"/>
                    <a:gd name="T10" fmla="*/ 22 w 24"/>
                    <a:gd name="T11" fmla="*/ 6 h 6"/>
                    <a:gd name="T12" fmla="*/ 8 w 24"/>
                    <a:gd name="T13" fmla="*/ 4 h 6"/>
                    <a:gd name="T14" fmla="*/ 6 w 24"/>
                    <a:gd name="T15" fmla="*/ 4 h 6"/>
                    <a:gd name="T16" fmla="*/ 0 w 24"/>
                    <a:gd name="T17" fmla="*/ 3 h 6"/>
                    <a:gd name="T18" fmla="*/ 0 w 24"/>
                    <a:gd name="T19" fmla="*/ 0 h 6"/>
                    <a:gd name="T20" fmla="*/ 5 w 24"/>
                    <a:gd name="T21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4" h="6">
                      <a:moveTo>
                        <a:pt x="5" y="0"/>
                      </a:moveTo>
                      <a:lnTo>
                        <a:pt x="6" y="0"/>
                      </a:lnTo>
                      <a:lnTo>
                        <a:pt x="24" y="3"/>
                      </a:lnTo>
                      <a:lnTo>
                        <a:pt x="24" y="6"/>
                      </a:lnTo>
                      <a:lnTo>
                        <a:pt x="22" y="6"/>
                      </a:lnTo>
                      <a:lnTo>
                        <a:pt x="22" y="6"/>
                      </a:lnTo>
                      <a:lnTo>
                        <a:pt x="8" y="4"/>
                      </a:lnTo>
                      <a:lnTo>
                        <a:pt x="6" y="4"/>
                      </a:ln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3D533E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89" name="Freeform 277"/>
                <p:cNvSpPr>
                  <a:spLocks/>
                </p:cNvSpPr>
                <p:nvPr/>
              </p:nvSpPr>
              <p:spPr bwMode="auto">
                <a:xfrm>
                  <a:off x="5430839" y="4152901"/>
                  <a:ext cx="46038" cy="28575"/>
                </a:xfrm>
                <a:custGeom>
                  <a:avLst/>
                  <a:gdLst>
                    <a:gd name="T0" fmla="*/ 3 w 29"/>
                    <a:gd name="T1" fmla="*/ 0 h 18"/>
                    <a:gd name="T2" fmla="*/ 4 w 29"/>
                    <a:gd name="T3" fmla="*/ 0 h 18"/>
                    <a:gd name="T4" fmla="*/ 4 w 29"/>
                    <a:gd name="T5" fmla="*/ 0 h 18"/>
                    <a:gd name="T6" fmla="*/ 23 w 29"/>
                    <a:gd name="T7" fmla="*/ 3 h 18"/>
                    <a:gd name="T8" fmla="*/ 25 w 29"/>
                    <a:gd name="T9" fmla="*/ 4 h 18"/>
                    <a:gd name="T10" fmla="*/ 26 w 29"/>
                    <a:gd name="T11" fmla="*/ 5 h 18"/>
                    <a:gd name="T12" fmla="*/ 29 w 29"/>
                    <a:gd name="T13" fmla="*/ 5 h 18"/>
                    <a:gd name="T14" fmla="*/ 29 w 29"/>
                    <a:gd name="T15" fmla="*/ 8 h 18"/>
                    <a:gd name="T16" fmla="*/ 29 w 29"/>
                    <a:gd name="T17" fmla="*/ 8 h 18"/>
                    <a:gd name="T18" fmla="*/ 27 w 29"/>
                    <a:gd name="T19" fmla="*/ 10 h 18"/>
                    <a:gd name="T20" fmla="*/ 26 w 29"/>
                    <a:gd name="T21" fmla="*/ 10 h 18"/>
                    <a:gd name="T22" fmla="*/ 23 w 29"/>
                    <a:gd name="T23" fmla="*/ 10 h 18"/>
                    <a:gd name="T24" fmla="*/ 20 w 29"/>
                    <a:gd name="T25" fmla="*/ 10 h 18"/>
                    <a:gd name="T26" fmla="*/ 17 w 29"/>
                    <a:gd name="T27" fmla="*/ 10 h 18"/>
                    <a:gd name="T28" fmla="*/ 16 w 29"/>
                    <a:gd name="T29" fmla="*/ 11 h 18"/>
                    <a:gd name="T30" fmla="*/ 14 w 29"/>
                    <a:gd name="T31" fmla="*/ 13 h 18"/>
                    <a:gd name="T32" fmla="*/ 14 w 29"/>
                    <a:gd name="T33" fmla="*/ 14 h 18"/>
                    <a:gd name="T34" fmla="*/ 13 w 29"/>
                    <a:gd name="T35" fmla="*/ 17 h 18"/>
                    <a:gd name="T36" fmla="*/ 13 w 29"/>
                    <a:gd name="T37" fmla="*/ 17 h 18"/>
                    <a:gd name="T38" fmla="*/ 13 w 29"/>
                    <a:gd name="T39" fmla="*/ 17 h 18"/>
                    <a:gd name="T40" fmla="*/ 13 w 29"/>
                    <a:gd name="T41" fmla="*/ 18 h 18"/>
                    <a:gd name="T42" fmla="*/ 13 w 29"/>
                    <a:gd name="T43" fmla="*/ 18 h 18"/>
                    <a:gd name="T44" fmla="*/ 13 w 29"/>
                    <a:gd name="T45" fmla="*/ 18 h 18"/>
                    <a:gd name="T46" fmla="*/ 11 w 29"/>
                    <a:gd name="T47" fmla="*/ 18 h 18"/>
                    <a:gd name="T48" fmla="*/ 11 w 29"/>
                    <a:gd name="T49" fmla="*/ 18 h 18"/>
                    <a:gd name="T50" fmla="*/ 11 w 29"/>
                    <a:gd name="T51" fmla="*/ 18 h 18"/>
                    <a:gd name="T52" fmla="*/ 13 w 29"/>
                    <a:gd name="T53" fmla="*/ 18 h 18"/>
                    <a:gd name="T54" fmla="*/ 0 w 29"/>
                    <a:gd name="T55" fmla="*/ 16 h 18"/>
                    <a:gd name="T56" fmla="*/ 3 w 29"/>
                    <a:gd name="T57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29" h="18">
                      <a:moveTo>
                        <a:pt x="3" y="0"/>
                      </a:move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23" y="3"/>
                      </a:lnTo>
                      <a:lnTo>
                        <a:pt x="25" y="4"/>
                      </a:lnTo>
                      <a:lnTo>
                        <a:pt x="26" y="5"/>
                      </a:lnTo>
                      <a:lnTo>
                        <a:pt x="29" y="5"/>
                      </a:lnTo>
                      <a:lnTo>
                        <a:pt x="29" y="8"/>
                      </a:lnTo>
                      <a:lnTo>
                        <a:pt x="29" y="8"/>
                      </a:lnTo>
                      <a:lnTo>
                        <a:pt x="27" y="10"/>
                      </a:lnTo>
                      <a:lnTo>
                        <a:pt x="26" y="10"/>
                      </a:lnTo>
                      <a:lnTo>
                        <a:pt x="23" y="10"/>
                      </a:lnTo>
                      <a:lnTo>
                        <a:pt x="20" y="10"/>
                      </a:lnTo>
                      <a:lnTo>
                        <a:pt x="17" y="10"/>
                      </a:lnTo>
                      <a:lnTo>
                        <a:pt x="16" y="11"/>
                      </a:lnTo>
                      <a:lnTo>
                        <a:pt x="14" y="13"/>
                      </a:lnTo>
                      <a:lnTo>
                        <a:pt x="14" y="14"/>
                      </a:lnTo>
                      <a:lnTo>
                        <a:pt x="13" y="17"/>
                      </a:lnTo>
                      <a:lnTo>
                        <a:pt x="13" y="17"/>
                      </a:lnTo>
                      <a:lnTo>
                        <a:pt x="13" y="17"/>
                      </a:lnTo>
                      <a:lnTo>
                        <a:pt x="13" y="18"/>
                      </a:lnTo>
                      <a:lnTo>
                        <a:pt x="13" y="18"/>
                      </a:lnTo>
                      <a:lnTo>
                        <a:pt x="13" y="18"/>
                      </a:lnTo>
                      <a:lnTo>
                        <a:pt x="11" y="18"/>
                      </a:lnTo>
                      <a:lnTo>
                        <a:pt x="11" y="18"/>
                      </a:lnTo>
                      <a:lnTo>
                        <a:pt x="11" y="18"/>
                      </a:lnTo>
                      <a:lnTo>
                        <a:pt x="13" y="18"/>
                      </a:lnTo>
                      <a:lnTo>
                        <a:pt x="0" y="16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18838D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90" name="Freeform 278"/>
                <p:cNvSpPr>
                  <a:spLocks/>
                </p:cNvSpPr>
                <p:nvPr/>
              </p:nvSpPr>
              <p:spPr bwMode="auto">
                <a:xfrm>
                  <a:off x="5414964" y="4149726"/>
                  <a:ext cx="20638" cy="28575"/>
                </a:xfrm>
                <a:custGeom>
                  <a:avLst/>
                  <a:gdLst>
                    <a:gd name="T0" fmla="*/ 1 w 13"/>
                    <a:gd name="T1" fmla="*/ 0 h 18"/>
                    <a:gd name="T2" fmla="*/ 13 w 13"/>
                    <a:gd name="T3" fmla="*/ 2 h 18"/>
                    <a:gd name="T4" fmla="*/ 10 w 13"/>
                    <a:gd name="T5" fmla="*/ 18 h 18"/>
                    <a:gd name="T6" fmla="*/ 8 w 13"/>
                    <a:gd name="T7" fmla="*/ 18 h 18"/>
                    <a:gd name="T8" fmla="*/ 5 w 13"/>
                    <a:gd name="T9" fmla="*/ 16 h 18"/>
                    <a:gd name="T10" fmla="*/ 3 w 13"/>
                    <a:gd name="T11" fmla="*/ 16 h 18"/>
                    <a:gd name="T12" fmla="*/ 1 w 13"/>
                    <a:gd name="T13" fmla="*/ 16 h 18"/>
                    <a:gd name="T14" fmla="*/ 1 w 13"/>
                    <a:gd name="T15" fmla="*/ 13 h 18"/>
                    <a:gd name="T16" fmla="*/ 1 w 13"/>
                    <a:gd name="T17" fmla="*/ 10 h 18"/>
                    <a:gd name="T18" fmla="*/ 1 w 13"/>
                    <a:gd name="T19" fmla="*/ 7 h 18"/>
                    <a:gd name="T20" fmla="*/ 0 w 13"/>
                    <a:gd name="T21" fmla="*/ 5 h 18"/>
                    <a:gd name="T22" fmla="*/ 0 w 13"/>
                    <a:gd name="T23" fmla="*/ 5 h 18"/>
                    <a:gd name="T24" fmla="*/ 1 w 13"/>
                    <a:gd name="T25" fmla="*/ 2 h 18"/>
                    <a:gd name="T26" fmla="*/ 1 w 13"/>
                    <a:gd name="T27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3" h="18">
                      <a:moveTo>
                        <a:pt x="1" y="0"/>
                      </a:moveTo>
                      <a:lnTo>
                        <a:pt x="13" y="2"/>
                      </a:lnTo>
                      <a:lnTo>
                        <a:pt x="10" y="18"/>
                      </a:lnTo>
                      <a:lnTo>
                        <a:pt x="8" y="18"/>
                      </a:lnTo>
                      <a:lnTo>
                        <a:pt x="5" y="16"/>
                      </a:lnTo>
                      <a:lnTo>
                        <a:pt x="3" y="16"/>
                      </a:lnTo>
                      <a:lnTo>
                        <a:pt x="1" y="16"/>
                      </a:lnTo>
                      <a:lnTo>
                        <a:pt x="1" y="13"/>
                      </a:lnTo>
                      <a:lnTo>
                        <a:pt x="1" y="10"/>
                      </a:lnTo>
                      <a:lnTo>
                        <a:pt x="1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1" y="2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solidFill>
                  <a:srgbClr val="3D533E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91" name="Freeform 279"/>
                <p:cNvSpPr>
                  <a:spLocks/>
                </p:cNvSpPr>
                <p:nvPr/>
              </p:nvSpPr>
              <p:spPr bwMode="auto">
                <a:xfrm>
                  <a:off x="5426076" y="4186238"/>
                  <a:ext cx="41275" cy="28575"/>
                </a:xfrm>
                <a:custGeom>
                  <a:avLst/>
                  <a:gdLst>
                    <a:gd name="T0" fmla="*/ 1 w 26"/>
                    <a:gd name="T1" fmla="*/ 0 h 18"/>
                    <a:gd name="T2" fmla="*/ 3 w 26"/>
                    <a:gd name="T3" fmla="*/ 0 h 18"/>
                    <a:gd name="T4" fmla="*/ 3 w 26"/>
                    <a:gd name="T5" fmla="*/ 2 h 18"/>
                    <a:gd name="T6" fmla="*/ 9 w 26"/>
                    <a:gd name="T7" fmla="*/ 0 h 18"/>
                    <a:gd name="T8" fmla="*/ 13 w 26"/>
                    <a:gd name="T9" fmla="*/ 2 h 18"/>
                    <a:gd name="T10" fmla="*/ 13 w 26"/>
                    <a:gd name="T11" fmla="*/ 2 h 18"/>
                    <a:gd name="T12" fmla="*/ 25 w 26"/>
                    <a:gd name="T13" fmla="*/ 3 h 18"/>
                    <a:gd name="T14" fmla="*/ 25 w 26"/>
                    <a:gd name="T15" fmla="*/ 6 h 18"/>
                    <a:gd name="T16" fmla="*/ 26 w 26"/>
                    <a:gd name="T17" fmla="*/ 9 h 18"/>
                    <a:gd name="T18" fmla="*/ 26 w 26"/>
                    <a:gd name="T19" fmla="*/ 9 h 18"/>
                    <a:gd name="T20" fmla="*/ 26 w 26"/>
                    <a:gd name="T21" fmla="*/ 9 h 18"/>
                    <a:gd name="T22" fmla="*/ 23 w 26"/>
                    <a:gd name="T23" fmla="*/ 9 h 18"/>
                    <a:gd name="T24" fmla="*/ 19 w 26"/>
                    <a:gd name="T25" fmla="*/ 9 h 18"/>
                    <a:gd name="T26" fmla="*/ 14 w 26"/>
                    <a:gd name="T27" fmla="*/ 8 h 18"/>
                    <a:gd name="T28" fmla="*/ 12 w 26"/>
                    <a:gd name="T29" fmla="*/ 8 h 18"/>
                    <a:gd name="T30" fmla="*/ 12 w 26"/>
                    <a:gd name="T31" fmla="*/ 8 h 18"/>
                    <a:gd name="T32" fmla="*/ 10 w 26"/>
                    <a:gd name="T33" fmla="*/ 9 h 18"/>
                    <a:gd name="T34" fmla="*/ 9 w 26"/>
                    <a:gd name="T35" fmla="*/ 11 h 18"/>
                    <a:gd name="T36" fmla="*/ 7 w 26"/>
                    <a:gd name="T37" fmla="*/ 13 h 18"/>
                    <a:gd name="T38" fmla="*/ 6 w 26"/>
                    <a:gd name="T39" fmla="*/ 15 h 18"/>
                    <a:gd name="T40" fmla="*/ 6 w 26"/>
                    <a:gd name="T41" fmla="*/ 16 h 18"/>
                    <a:gd name="T42" fmla="*/ 6 w 26"/>
                    <a:gd name="T43" fmla="*/ 18 h 18"/>
                    <a:gd name="T44" fmla="*/ 0 w 26"/>
                    <a:gd name="T45" fmla="*/ 16 h 18"/>
                    <a:gd name="T46" fmla="*/ 1 w 26"/>
                    <a:gd name="T47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26" h="18">
                      <a:moveTo>
                        <a:pt x="1" y="0"/>
                      </a:move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9" y="0"/>
                      </a:lnTo>
                      <a:lnTo>
                        <a:pt x="13" y="2"/>
                      </a:lnTo>
                      <a:lnTo>
                        <a:pt x="13" y="2"/>
                      </a:lnTo>
                      <a:lnTo>
                        <a:pt x="25" y="3"/>
                      </a:lnTo>
                      <a:lnTo>
                        <a:pt x="25" y="6"/>
                      </a:lnTo>
                      <a:lnTo>
                        <a:pt x="26" y="9"/>
                      </a:lnTo>
                      <a:lnTo>
                        <a:pt x="26" y="9"/>
                      </a:lnTo>
                      <a:lnTo>
                        <a:pt x="26" y="9"/>
                      </a:lnTo>
                      <a:lnTo>
                        <a:pt x="23" y="9"/>
                      </a:lnTo>
                      <a:lnTo>
                        <a:pt x="19" y="9"/>
                      </a:lnTo>
                      <a:lnTo>
                        <a:pt x="14" y="8"/>
                      </a:lnTo>
                      <a:lnTo>
                        <a:pt x="12" y="8"/>
                      </a:lnTo>
                      <a:lnTo>
                        <a:pt x="12" y="8"/>
                      </a:lnTo>
                      <a:lnTo>
                        <a:pt x="10" y="9"/>
                      </a:lnTo>
                      <a:lnTo>
                        <a:pt x="9" y="11"/>
                      </a:lnTo>
                      <a:lnTo>
                        <a:pt x="7" y="13"/>
                      </a:lnTo>
                      <a:lnTo>
                        <a:pt x="6" y="15"/>
                      </a:lnTo>
                      <a:lnTo>
                        <a:pt x="6" y="16"/>
                      </a:lnTo>
                      <a:lnTo>
                        <a:pt x="6" y="18"/>
                      </a:lnTo>
                      <a:lnTo>
                        <a:pt x="0" y="16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solidFill>
                  <a:srgbClr val="40978E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92" name="Freeform 280"/>
                <p:cNvSpPr>
                  <a:spLocks/>
                </p:cNvSpPr>
                <p:nvPr/>
              </p:nvSpPr>
              <p:spPr bwMode="auto">
                <a:xfrm>
                  <a:off x="5407026" y="4184651"/>
                  <a:ext cx="20638" cy="26988"/>
                </a:xfrm>
                <a:custGeom>
                  <a:avLst/>
                  <a:gdLst>
                    <a:gd name="T0" fmla="*/ 8 w 13"/>
                    <a:gd name="T1" fmla="*/ 0 h 17"/>
                    <a:gd name="T2" fmla="*/ 9 w 13"/>
                    <a:gd name="T3" fmla="*/ 0 h 17"/>
                    <a:gd name="T4" fmla="*/ 13 w 13"/>
                    <a:gd name="T5" fmla="*/ 1 h 17"/>
                    <a:gd name="T6" fmla="*/ 12 w 13"/>
                    <a:gd name="T7" fmla="*/ 17 h 17"/>
                    <a:gd name="T8" fmla="*/ 6 w 13"/>
                    <a:gd name="T9" fmla="*/ 17 h 17"/>
                    <a:gd name="T10" fmla="*/ 3 w 13"/>
                    <a:gd name="T11" fmla="*/ 16 h 17"/>
                    <a:gd name="T12" fmla="*/ 2 w 13"/>
                    <a:gd name="T13" fmla="*/ 14 h 17"/>
                    <a:gd name="T14" fmla="*/ 0 w 13"/>
                    <a:gd name="T15" fmla="*/ 12 h 17"/>
                    <a:gd name="T16" fmla="*/ 0 w 13"/>
                    <a:gd name="T17" fmla="*/ 7 h 17"/>
                    <a:gd name="T18" fmla="*/ 0 w 13"/>
                    <a:gd name="T19" fmla="*/ 4 h 17"/>
                    <a:gd name="T20" fmla="*/ 3 w 13"/>
                    <a:gd name="T21" fmla="*/ 1 h 17"/>
                    <a:gd name="T22" fmla="*/ 8 w 13"/>
                    <a:gd name="T23" fmla="*/ 0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3" h="17">
                      <a:moveTo>
                        <a:pt x="8" y="0"/>
                      </a:moveTo>
                      <a:lnTo>
                        <a:pt x="9" y="0"/>
                      </a:lnTo>
                      <a:lnTo>
                        <a:pt x="13" y="1"/>
                      </a:lnTo>
                      <a:lnTo>
                        <a:pt x="12" y="17"/>
                      </a:lnTo>
                      <a:lnTo>
                        <a:pt x="6" y="17"/>
                      </a:lnTo>
                      <a:lnTo>
                        <a:pt x="3" y="16"/>
                      </a:lnTo>
                      <a:lnTo>
                        <a:pt x="2" y="14"/>
                      </a:lnTo>
                      <a:lnTo>
                        <a:pt x="0" y="12"/>
                      </a:lnTo>
                      <a:lnTo>
                        <a:pt x="0" y="7"/>
                      </a:lnTo>
                      <a:lnTo>
                        <a:pt x="0" y="4"/>
                      </a:lnTo>
                      <a:lnTo>
                        <a:pt x="3" y="1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C9BDA9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93" name="Freeform 281"/>
                <p:cNvSpPr>
                  <a:spLocks/>
                </p:cNvSpPr>
                <p:nvPr/>
              </p:nvSpPr>
              <p:spPr bwMode="auto">
                <a:xfrm>
                  <a:off x="5430839" y="4186238"/>
                  <a:ext cx="9525" cy="3175"/>
                </a:xfrm>
                <a:custGeom>
                  <a:avLst/>
                  <a:gdLst>
                    <a:gd name="T0" fmla="*/ 0 w 6"/>
                    <a:gd name="T1" fmla="*/ 0 h 2"/>
                    <a:gd name="T2" fmla="*/ 6 w 6"/>
                    <a:gd name="T3" fmla="*/ 0 h 2"/>
                    <a:gd name="T4" fmla="*/ 0 w 6"/>
                    <a:gd name="T5" fmla="*/ 2 h 2"/>
                    <a:gd name="T6" fmla="*/ 0 w 6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2">
                      <a:moveTo>
                        <a:pt x="0" y="0"/>
                      </a:moveTo>
                      <a:lnTo>
                        <a:pt x="6" y="0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18838D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94" name="Freeform 282"/>
                <p:cNvSpPr>
                  <a:spLocks/>
                </p:cNvSpPr>
                <p:nvPr/>
              </p:nvSpPr>
              <p:spPr bwMode="auto">
                <a:xfrm>
                  <a:off x="5380039" y="4041776"/>
                  <a:ext cx="103188" cy="47625"/>
                </a:xfrm>
                <a:custGeom>
                  <a:avLst/>
                  <a:gdLst>
                    <a:gd name="T0" fmla="*/ 16 w 65"/>
                    <a:gd name="T1" fmla="*/ 0 h 30"/>
                    <a:gd name="T2" fmla="*/ 25 w 65"/>
                    <a:gd name="T3" fmla="*/ 0 h 30"/>
                    <a:gd name="T4" fmla="*/ 25 w 65"/>
                    <a:gd name="T5" fmla="*/ 1 h 30"/>
                    <a:gd name="T6" fmla="*/ 27 w 65"/>
                    <a:gd name="T7" fmla="*/ 1 h 30"/>
                    <a:gd name="T8" fmla="*/ 33 w 65"/>
                    <a:gd name="T9" fmla="*/ 1 h 30"/>
                    <a:gd name="T10" fmla="*/ 39 w 65"/>
                    <a:gd name="T11" fmla="*/ 3 h 30"/>
                    <a:gd name="T12" fmla="*/ 46 w 65"/>
                    <a:gd name="T13" fmla="*/ 4 h 30"/>
                    <a:gd name="T14" fmla="*/ 46 w 65"/>
                    <a:gd name="T15" fmla="*/ 7 h 30"/>
                    <a:gd name="T16" fmla="*/ 48 w 65"/>
                    <a:gd name="T17" fmla="*/ 9 h 30"/>
                    <a:gd name="T18" fmla="*/ 51 w 65"/>
                    <a:gd name="T19" fmla="*/ 11 h 30"/>
                    <a:gd name="T20" fmla="*/ 54 w 65"/>
                    <a:gd name="T21" fmla="*/ 11 h 30"/>
                    <a:gd name="T22" fmla="*/ 65 w 65"/>
                    <a:gd name="T23" fmla="*/ 13 h 30"/>
                    <a:gd name="T24" fmla="*/ 59 w 65"/>
                    <a:gd name="T25" fmla="*/ 17 h 30"/>
                    <a:gd name="T26" fmla="*/ 54 w 65"/>
                    <a:gd name="T27" fmla="*/ 23 h 30"/>
                    <a:gd name="T28" fmla="*/ 52 w 65"/>
                    <a:gd name="T29" fmla="*/ 26 h 30"/>
                    <a:gd name="T30" fmla="*/ 51 w 65"/>
                    <a:gd name="T31" fmla="*/ 30 h 30"/>
                    <a:gd name="T32" fmla="*/ 20 w 65"/>
                    <a:gd name="T33" fmla="*/ 26 h 30"/>
                    <a:gd name="T34" fmla="*/ 17 w 65"/>
                    <a:gd name="T35" fmla="*/ 25 h 30"/>
                    <a:gd name="T36" fmla="*/ 13 w 65"/>
                    <a:gd name="T37" fmla="*/ 25 h 30"/>
                    <a:gd name="T38" fmla="*/ 10 w 65"/>
                    <a:gd name="T39" fmla="*/ 23 h 30"/>
                    <a:gd name="T40" fmla="*/ 6 w 65"/>
                    <a:gd name="T41" fmla="*/ 23 h 30"/>
                    <a:gd name="T42" fmla="*/ 3 w 65"/>
                    <a:gd name="T43" fmla="*/ 22 h 30"/>
                    <a:gd name="T44" fmla="*/ 1 w 65"/>
                    <a:gd name="T45" fmla="*/ 19 h 30"/>
                    <a:gd name="T46" fmla="*/ 0 w 65"/>
                    <a:gd name="T47" fmla="*/ 16 h 30"/>
                    <a:gd name="T48" fmla="*/ 0 w 65"/>
                    <a:gd name="T49" fmla="*/ 11 h 30"/>
                    <a:gd name="T50" fmla="*/ 3 w 65"/>
                    <a:gd name="T51" fmla="*/ 4 h 30"/>
                    <a:gd name="T52" fmla="*/ 9 w 65"/>
                    <a:gd name="T53" fmla="*/ 0 h 30"/>
                    <a:gd name="T54" fmla="*/ 16 w 65"/>
                    <a:gd name="T55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65" h="30">
                      <a:moveTo>
                        <a:pt x="16" y="0"/>
                      </a:moveTo>
                      <a:lnTo>
                        <a:pt x="25" y="0"/>
                      </a:lnTo>
                      <a:lnTo>
                        <a:pt x="25" y="1"/>
                      </a:lnTo>
                      <a:lnTo>
                        <a:pt x="27" y="1"/>
                      </a:lnTo>
                      <a:lnTo>
                        <a:pt x="33" y="1"/>
                      </a:lnTo>
                      <a:lnTo>
                        <a:pt x="39" y="3"/>
                      </a:lnTo>
                      <a:lnTo>
                        <a:pt x="46" y="4"/>
                      </a:lnTo>
                      <a:lnTo>
                        <a:pt x="46" y="7"/>
                      </a:lnTo>
                      <a:lnTo>
                        <a:pt x="48" y="9"/>
                      </a:lnTo>
                      <a:lnTo>
                        <a:pt x="51" y="11"/>
                      </a:lnTo>
                      <a:lnTo>
                        <a:pt x="54" y="11"/>
                      </a:lnTo>
                      <a:lnTo>
                        <a:pt x="65" y="13"/>
                      </a:lnTo>
                      <a:lnTo>
                        <a:pt x="59" y="17"/>
                      </a:lnTo>
                      <a:lnTo>
                        <a:pt x="54" y="23"/>
                      </a:lnTo>
                      <a:lnTo>
                        <a:pt x="52" y="26"/>
                      </a:lnTo>
                      <a:lnTo>
                        <a:pt x="51" y="30"/>
                      </a:lnTo>
                      <a:lnTo>
                        <a:pt x="20" y="26"/>
                      </a:lnTo>
                      <a:lnTo>
                        <a:pt x="17" y="25"/>
                      </a:lnTo>
                      <a:lnTo>
                        <a:pt x="13" y="25"/>
                      </a:lnTo>
                      <a:lnTo>
                        <a:pt x="10" y="23"/>
                      </a:lnTo>
                      <a:lnTo>
                        <a:pt x="6" y="23"/>
                      </a:lnTo>
                      <a:lnTo>
                        <a:pt x="3" y="22"/>
                      </a:lnTo>
                      <a:lnTo>
                        <a:pt x="1" y="19"/>
                      </a:lnTo>
                      <a:lnTo>
                        <a:pt x="0" y="16"/>
                      </a:lnTo>
                      <a:lnTo>
                        <a:pt x="0" y="11"/>
                      </a:lnTo>
                      <a:lnTo>
                        <a:pt x="3" y="4"/>
                      </a:lnTo>
                      <a:lnTo>
                        <a:pt x="9" y="0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solidFill>
                  <a:srgbClr val="FFDEB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95" name="Freeform 283"/>
                <p:cNvSpPr>
                  <a:spLocks/>
                </p:cNvSpPr>
                <p:nvPr/>
              </p:nvSpPr>
              <p:spPr bwMode="auto">
                <a:xfrm>
                  <a:off x="5376864" y="4038601"/>
                  <a:ext cx="84138" cy="50800"/>
                </a:xfrm>
                <a:custGeom>
                  <a:avLst/>
                  <a:gdLst>
                    <a:gd name="T0" fmla="*/ 15 w 53"/>
                    <a:gd name="T1" fmla="*/ 0 h 32"/>
                    <a:gd name="T2" fmla="*/ 19 w 53"/>
                    <a:gd name="T3" fmla="*/ 2 h 32"/>
                    <a:gd name="T4" fmla="*/ 22 w 53"/>
                    <a:gd name="T5" fmla="*/ 2 h 32"/>
                    <a:gd name="T6" fmla="*/ 27 w 53"/>
                    <a:gd name="T7" fmla="*/ 2 h 32"/>
                    <a:gd name="T8" fmla="*/ 28 w 53"/>
                    <a:gd name="T9" fmla="*/ 2 h 32"/>
                    <a:gd name="T10" fmla="*/ 31 w 53"/>
                    <a:gd name="T11" fmla="*/ 2 h 32"/>
                    <a:gd name="T12" fmla="*/ 35 w 53"/>
                    <a:gd name="T13" fmla="*/ 3 h 32"/>
                    <a:gd name="T14" fmla="*/ 41 w 53"/>
                    <a:gd name="T15" fmla="*/ 3 h 32"/>
                    <a:gd name="T16" fmla="*/ 48 w 53"/>
                    <a:gd name="T17" fmla="*/ 5 h 32"/>
                    <a:gd name="T18" fmla="*/ 48 w 53"/>
                    <a:gd name="T19" fmla="*/ 6 h 32"/>
                    <a:gd name="T20" fmla="*/ 41 w 53"/>
                    <a:gd name="T21" fmla="*/ 5 h 32"/>
                    <a:gd name="T22" fmla="*/ 35 w 53"/>
                    <a:gd name="T23" fmla="*/ 5 h 32"/>
                    <a:gd name="T24" fmla="*/ 31 w 53"/>
                    <a:gd name="T25" fmla="*/ 3 h 32"/>
                    <a:gd name="T26" fmla="*/ 27 w 53"/>
                    <a:gd name="T27" fmla="*/ 3 h 32"/>
                    <a:gd name="T28" fmla="*/ 27 w 53"/>
                    <a:gd name="T29" fmla="*/ 3 h 32"/>
                    <a:gd name="T30" fmla="*/ 22 w 53"/>
                    <a:gd name="T31" fmla="*/ 3 h 32"/>
                    <a:gd name="T32" fmla="*/ 19 w 53"/>
                    <a:gd name="T33" fmla="*/ 2 h 32"/>
                    <a:gd name="T34" fmla="*/ 13 w 53"/>
                    <a:gd name="T35" fmla="*/ 2 h 32"/>
                    <a:gd name="T36" fmla="*/ 9 w 53"/>
                    <a:gd name="T37" fmla="*/ 3 h 32"/>
                    <a:gd name="T38" fmla="*/ 6 w 53"/>
                    <a:gd name="T39" fmla="*/ 6 h 32"/>
                    <a:gd name="T40" fmla="*/ 3 w 53"/>
                    <a:gd name="T41" fmla="*/ 9 h 32"/>
                    <a:gd name="T42" fmla="*/ 2 w 53"/>
                    <a:gd name="T43" fmla="*/ 13 h 32"/>
                    <a:gd name="T44" fmla="*/ 2 w 53"/>
                    <a:gd name="T45" fmla="*/ 18 h 32"/>
                    <a:gd name="T46" fmla="*/ 3 w 53"/>
                    <a:gd name="T47" fmla="*/ 21 h 32"/>
                    <a:gd name="T48" fmla="*/ 6 w 53"/>
                    <a:gd name="T49" fmla="*/ 24 h 32"/>
                    <a:gd name="T50" fmla="*/ 11 w 53"/>
                    <a:gd name="T51" fmla="*/ 25 h 32"/>
                    <a:gd name="T52" fmla="*/ 15 w 53"/>
                    <a:gd name="T53" fmla="*/ 25 h 32"/>
                    <a:gd name="T54" fmla="*/ 19 w 53"/>
                    <a:gd name="T55" fmla="*/ 27 h 32"/>
                    <a:gd name="T56" fmla="*/ 24 w 53"/>
                    <a:gd name="T57" fmla="*/ 27 h 32"/>
                    <a:gd name="T58" fmla="*/ 53 w 53"/>
                    <a:gd name="T59" fmla="*/ 31 h 32"/>
                    <a:gd name="T60" fmla="*/ 53 w 53"/>
                    <a:gd name="T61" fmla="*/ 32 h 32"/>
                    <a:gd name="T62" fmla="*/ 22 w 53"/>
                    <a:gd name="T63" fmla="*/ 28 h 32"/>
                    <a:gd name="T64" fmla="*/ 19 w 53"/>
                    <a:gd name="T65" fmla="*/ 28 h 32"/>
                    <a:gd name="T66" fmla="*/ 15 w 53"/>
                    <a:gd name="T67" fmla="*/ 27 h 32"/>
                    <a:gd name="T68" fmla="*/ 9 w 53"/>
                    <a:gd name="T69" fmla="*/ 27 h 32"/>
                    <a:gd name="T70" fmla="*/ 6 w 53"/>
                    <a:gd name="T71" fmla="*/ 24 h 32"/>
                    <a:gd name="T72" fmla="*/ 3 w 53"/>
                    <a:gd name="T73" fmla="*/ 22 h 32"/>
                    <a:gd name="T74" fmla="*/ 0 w 53"/>
                    <a:gd name="T75" fmla="*/ 18 h 32"/>
                    <a:gd name="T76" fmla="*/ 0 w 53"/>
                    <a:gd name="T77" fmla="*/ 13 h 32"/>
                    <a:gd name="T78" fmla="*/ 2 w 53"/>
                    <a:gd name="T79" fmla="*/ 8 h 32"/>
                    <a:gd name="T80" fmla="*/ 5 w 53"/>
                    <a:gd name="T81" fmla="*/ 5 h 32"/>
                    <a:gd name="T82" fmla="*/ 8 w 53"/>
                    <a:gd name="T83" fmla="*/ 3 h 32"/>
                    <a:gd name="T84" fmla="*/ 12 w 53"/>
                    <a:gd name="T85" fmla="*/ 2 h 32"/>
                    <a:gd name="T86" fmla="*/ 15 w 53"/>
                    <a:gd name="T87" fmla="*/ 0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53" h="32">
                      <a:moveTo>
                        <a:pt x="15" y="0"/>
                      </a:moveTo>
                      <a:lnTo>
                        <a:pt x="19" y="2"/>
                      </a:lnTo>
                      <a:lnTo>
                        <a:pt x="22" y="2"/>
                      </a:lnTo>
                      <a:lnTo>
                        <a:pt x="27" y="2"/>
                      </a:lnTo>
                      <a:lnTo>
                        <a:pt x="28" y="2"/>
                      </a:lnTo>
                      <a:lnTo>
                        <a:pt x="31" y="2"/>
                      </a:lnTo>
                      <a:lnTo>
                        <a:pt x="35" y="3"/>
                      </a:lnTo>
                      <a:lnTo>
                        <a:pt x="41" y="3"/>
                      </a:lnTo>
                      <a:lnTo>
                        <a:pt x="48" y="5"/>
                      </a:lnTo>
                      <a:lnTo>
                        <a:pt x="48" y="6"/>
                      </a:lnTo>
                      <a:lnTo>
                        <a:pt x="41" y="5"/>
                      </a:lnTo>
                      <a:lnTo>
                        <a:pt x="35" y="5"/>
                      </a:lnTo>
                      <a:lnTo>
                        <a:pt x="31" y="3"/>
                      </a:lnTo>
                      <a:lnTo>
                        <a:pt x="27" y="3"/>
                      </a:lnTo>
                      <a:lnTo>
                        <a:pt x="27" y="3"/>
                      </a:lnTo>
                      <a:lnTo>
                        <a:pt x="22" y="3"/>
                      </a:lnTo>
                      <a:lnTo>
                        <a:pt x="19" y="2"/>
                      </a:lnTo>
                      <a:lnTo>
                        <a:pt x="13" y="2"/>
                      </a:lnTo>
                      <a:lnTo>
                        <a:pt x="9" y="3"/>
                      </a:lnTo>
                      <a:lnTo>
                        <a:pt x="6" y="6"/>
                      </a:lnTo>
                      <a:lnTo>
                        <a:pt x="3" y="9"/>
                      </a:lnTo>
                      <a:lnTo>
                        <a:pt x="2" y="13"/>
                      </a:lnTo>
                      <a:lnTo>
                        <a:pt x="2" y="18"/>
                      </a:lnTo>
                      <a:lnTo>
                        <a:pt x="3" y="21"/>
                      </a:lnTo>
                      <a:lnTo>
                        <a:pt x="6" y="24"/>
                      </a:lnTo>
                      <a:lnTo>
                        <a:pt x="11" y="25"/>
                      </a:lnTo>
                      <a:lnTo>
                        <a:pt x="15" y="25"/>
                      </a:lnTo>
                      <a:lnTo>
                        <a:pt x="19" y="27"/>
                      </a:lnTo>
                      <a:lnTo>
                        <a:pt x="24" y="27"/>
                      </a:lnTo>
                      <a:lnTo>
                        <a:pt x="53" y="31"/>
                      </a:lnTo>
                      <a:lnTo>
                        <a:pt x="53" y="32"/>
                      </a:lnTo>
                      <a:lnTo>
                        <a:pt x="22" y="28"/>
                      </a:lnTo>
                      <a:lnTo>
                        <a:pt x="19" y="28"/>
                      </a:lnTo>
                      <a:lnTo>
                        <a:pt x="15" y="27"/>
                      </a:lnTo>
                      <a:lnTo>
                        <a:pt x="9" y="27"/>
                      </a:lnTo>
                      <a:lnTo>
                        <a:pt x="6" y="24"/>
                      </a:lnTo>
                      <a:lnTo>
                        <a:pt x="3" y="22"/>
                      </a:lnTo>
                      <a:lnTo>
                        <a:pt x="0" y="18"/>
                      </a:lnTo>
                      <a:lnTo>
                        <a:pt x="0" y="13"/>
                      </a:lnTo>
                      <a:lnTo>
                        <a:pt x="2" y="8"/>
                      </a:lnTo>
                      <a:lnTo>
                        <a:pt x="5" y="5"/>
                      </a:lnTo>
                      <a:lnTo>
                        <a:pt x="8" y="3"/>
                      </a:lnTo>
                      <a:lnTo>
                        <a:pt x="12" y="2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DEB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96" name="Freeform 284"/>
                <p:cNvSpPr>
                  <a:spLocks/>
                </p:cNvSpPr>
                <p:nvPr/>
              </p:nvSpPr>
              <p:spPr bwMode="auto">
                <a:xfrm>
                  <a:off x="5394326" y="4043363"/>
                  <a:ext cx="92075" cy="46038"/>
                </a:xfrm>
                <a:custGeom>
                  <a:avLst/>
                  <a:gdLst>
                    <a:gd name="T0" fmla="*/ 17 w 58"/>
                    <a:gd name="T1" fmla="*/ 0 h 29"/>
                    <a:gd name="T2" fmla="*/ 24 w 58"/>
                    <a:gd name="T3" fmla="*/ 0 h 29"/>
                    <a:gd name="T4" fmla="*/ 29 w 58"/>
                    <a:gd name="T5" fmla="*/ 2 h 29"/>
                    <a:gd name="T6" fmla="*/ 33 w 58"/>
                    <a:gd name="T7" fmla="*/ 2 h 29"/>
                    <a:gd name="T8" fmla="*/ 36 w 58"/>
                    <a:gd name="T9" fmla="*/ 3 h 29"/>
                    <a:gd name="T10" fmla="*/ 37 w 58"/>
                    <a:gd name="T11" fmla="*/ 3 h 29"/>
                    <a:gd name="T12" fmla="*/ 42 w 58"/>
                    <a:gd name="T13" fmla="*/ 3 h 29"/>
                    <a:gd name="T14" fmla="*/ 46 w 58"/>
                    <a:gd name="T15" fmla="*/ 5 h 29"/>
                    <a:gd name="T16" fmla="*/ 50 w 58"/>
                    <a:gd name="T17" fmla="*/ 6 h 29"/>
                    <a:gd name="T18" fmla="*/ 53 w 58"/>
                    <a:gd name="T19" fmla="*/ 8 h 29"/>
                    <a:gd name="T20" fmla="*/ 56 w 58"/>
                    <a:gd name="T21" fmla="*/ 10 h 29"/>
                    <a:gd name="T22" fmla="*/ 58 w 58"/>
                    <a:gd name="T23" fmla="*/ 15 h 29"/>
                    <a:gd name="T24" fmla="*/ 58 w 58"/>
                    <a:gd name="T25" fmla="*/ 19 h 29"/>
                    <a:gd name="T26" fmla="*/ 55 w 58"/>
                    <a:gd name="T27" fmla="*/ 26 h 29"/>
                    <a:gd name="T28" fmla="*/ 48 w 58"/>
                    <a:gd name="T29" fmla="*/ 29 h 29"/>
                    <a:gd name="T30" fmla="*/ 40 w 58"/>
                    <a:gd name="T31" fmla="*/ 28 h 29"/>
                    <a:gd name="T32" fmla="*/ 33 w 58"/>
                    <a:gd name="T33" fmla="*/ 28 h 29"/>
                    <a:gd name="T34" fmla="*/ 8 w 58"/>
                    <a:gd name="T35" fmla="*/ 24 h 29"/>
                    <a:gd name="T36" fmla="*/ 7 w 58"/>
                    <a:gd name="T37" fmla="*/ 21 h 29"/>
                    <a:gd name="T38" fmla="*/ 4 w 58"/>
                    <a:gd name="T39" fmla="*/ 19 h 29"/>
                    <a:gd name="T40" fmla="*/ 2 w 58"/>
                    <a:gd name="T41" fmla="*/ 16 h 29"/>
                    <a:gd name="T42" fmla="*/ 1 w 58"/>
                    <a:gd name="T43" fmla="*/ 13 h 29"/>
                    <a:gd name="T44" fmla="*/ 0 w 58"/>
                    <a:gd name="T45" fmla="*/ 10 h 29"/>
                    <a:gd name="T46" fmla="*/ 1 w 58"/>
                    <a:gd name="T47" fmla="*/ 8 h 29"/>
                    <a:gd name="T48" fmla="*/ 1 w 58"/>
                    <a:gd name="T49" fmla="*/ 8 h 29"/>
                    <a:gd name="T50" fmla="*/ 10 w 58"/>
                    <a:gd name="T51" fmla="*/ 6 h 29"/>
                    <a:gd name="T52" fmla="*/ 13 w 58"/>
                    <a:gd name="T53" fmla="*/ 6 h 29"/>
                    <a:gd name="T54" fmla="*/ 16 w 58"/>
                    <a:gd name="T55" fmla="*/ 5 h 29"/>
                    <a:gd name="T56" fmla="*/ 17 w 58"/>
                    <a:gd name="T57" fmla="*/ 2 h 29"/>
                    <a:gd name="T58" fmla="*/ 17 w 58"/>
                    <a:gd name="T59" fmla="*/ 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58" h="29">
                      <a:moveTo>
                        <a:pt x="17" y="0"/>
                      </a:moveTo>
                      <a:lnTo>
                        <a:pt x="24" y="0"/>
                      </a:lnTo>
                      <a:lnTo>
                        <a:pt x="29" y="2"/>
                      </a:lnTo>
                      <a:lnTo>
                        <a:pt x="33" y="2"/>
                      </a:lnTo>
                      <a:lnTo>
                        <a:pt x="36" y="3"/>
                      </a:lnTo>
                      <a:lnTo>
                        <a:pt x="37" y="3"/>
                      </a:lnTo>
                      <a:lnTo>
                        <a:pt x="42" y="3"/>
                      </a:lnTo>
                      <a:lnTo>
                        <a:pt x="46" y="5"/>
                      </a:lnTo>
                      <a:lnTo>
                        <a:pt x="50" y="6"/>
                      </a:lnTo>
                      <a:lnTo>
                        <a:pt x="53" y="8"/>
                      </a:lnTo>
                      <a:lnTo>
                        <a:pt x="56" y="10"/>
                      </a:lnTo>
                      <a:lnTo>
                        <a:pt x="58" y="15"/>
                      </a:lnTo>
                      <a:lnTo>
                        <a:pt x="58" y="19"/>
                      </a:lnTo>
                      <a:lnTo>
                        <a:pt x="55" y="26"/>
                      </a:lnTo>
                      <a:lnTo>
                        <a:pt x="48" y="29"/>
                      </a:lnTo>
                      <a:lnTo>
                        <a:pt x="40" y="28"/>
                      </a:lnTo>
                      <a:lnTo>
                        <a:pt x="33" y="28"/>
                      </a:lnTo>
                      <a:lnTo>
                        <a:pt x="8" y="24"/>
                      </a:lnTo>
                      <a:lnTo>
                        <a:pt x="7" y="21"/>
                      </a:lnTo>
                      <a:lnTo>
                        <a:pt x="4" y="19"/>
                      </a:lnTo>
                      <a:lnTo>
                        <a:pt x="2" y="16"/>
                      </a:lnTo>
                      <a:lnTo>
                        <a:pt x="1" y="13"/>
                      </a:lnTo>
                      <a:lnTo>
                        <a:pt x="0" y="10"/>
                      </a:lnTo>
                      <a:lnTo>
                        <a:pt x="1" y="8"/>
                      </a:lnTo>
                      <a:lnTo>
                        <a:pt x="1" y="8"/>
                      </a:lnTo>
                      <a:lnTo>
                        <a:pt x="10" y="6"/>
                      </a:lnTo>
                      <a:lnTo>
                        <a:pt x="13" y="6"/>
                      </a:lnTo>
                      <a:lnTo>
                        <a:pt x="16" y="5"/>
                      </a:lnTo>
                      <a:lnTo>
                        <a:pt x="17" y="2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solidFill>
                  <a:srgbClr val="FFDEB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97" name="Freeform 285"/>
                <p:cNvSpPr>
                  <a:spLocks/>
                </p:cNvSpPr>
                <p:nvPr/>
              </p:nvSpPr>
              <p:spPr bwMode="auto">
                <a:xfrm>
                  <a:off x="5407026" y="4041776"/>
                  <a:ext cx="79375" cy="47625"/>
                </a:xfrm>
                <a:custGeom>
                  <a:avLst/>
                  <a:gdLst>
                    <a:gd name="T0" fmla="*/ 9 w 50"/>
                    <a:gd name="T1" fmla="*/ 0 h 30"/>
                    <a:gd name="T2" fmla="*/ 15 w 50"/>
                    <a:gd name="T3" fmla="*/ 1 h 30"/>
                    <a:gd name="T4" fmla="*/ 21 w 50"/>
                    <a:gd name="T5" fmla="*/ 1 h 30"/>
                    <a:gd name="T6" fmla="*/ 25 w 50"/>
                    <a:gd name="T7" fmla="*/ 3 h 30"/>
                    <a:gd name="T8" fmla="*/ 28 w 50"/>
                    <a:gd name="T9" fmla="*/ 3 h 30"/>
                    <a:gd name="T10" fmla="*/ 29 w 50"/>
                    <a:gd name="T11" fmla="*/ 3 h 30"/>
                    <a:gd name="T12" fmla="*/ 32 w 50"/>
                    <a:gd name="T13" fmla="*/ 3 h 30"/>
                    <a:gd name="T14" fmla="*/ 35 w 50"/>
                    <a:gd name="T15" fmla="*/ 4 h 30"/>
                    <a:gd name="T16" fmla="*/ 40 w 50"/>
                    <a:gd name="T17" fmla="*/ 4 h 30"/>
                    <a:gd name="T18" fmla="*/ 42 w 50"/>
                    <a:gd name="T19" fmla="*/ 6 h 30"/>
                    <a:gd name="T20" fmla="*/ 45 w 50"/>
                    <a:gd name="T21" fmla="*/ 7 h 30"/>
                    <a:gd name="T22" fmla="*/ 47 w 50"/>
                    <a:gd name="T23" fmla="*/ 10 h 30"/>
                    <a:gd name="T24" fmla="*/ 50 w 50"/>
                    <a:gd name="T25" fmla="*/ 13 h 30"/>
                    <a:gd name="T26" fmla="*/ 50 w 50"/>
                    <a:gd name="T27" fmla="*/ 16 h 30"/>
                    <a:gd name="T28" fmla="*/ 50 w 50"/>
                    <a:gd name="T29" fmla="*/ 20 h 30"/>
                    <a:gd name="T30" fmla="*/ 48 w 50"/>
                    <a:gd name="T31" fmla="*/ 25 h 30"/>
                    <a:gd name="T32" fmla="*/ 45 w 50"/>
                    <a:gd name="T33" fmla="*/ 27 h 30"/>
                    <a:gd name="T34" fmla="*/ 42 w 50"/>
                    <a:gd name="T35" fmla="*/ 30 h 30"/>
                    <a:gd name="T36" fmla="*/ 38 w 50"/>
                    <a:gd name="T37" fmla="*/ 30 h 30"/>
                    <a:gd name="T38" fmla="*/ 34 w 50"/>
                    <a:gd name="T39" fmla="*/ 30 h 30"/>
                    <a:gd name="T40" fmla="*/ 28 w 50"/>
                    <a:gd name="T41" fmla="*/ 29 h 30"/>
                    <a:gd name="T42" fmla="*/ 25 w 50"/>
                    <a:gd name="T43" fmla="*/ 29 h 30"/>
                    <a:gd name="T44" fmla="*/ 0 w 50"/>
                    <a:gd name="T45" fmla="*/ 26 h 30"/>
                    <a:gd name="T46" fmla="*/ 0 w 50"/>
                    <a:gd name="T47" fmla="*/ 25 h 30"/>
                    <a:gd name="T48" fmla="*/ 25 w 50"/>
                    <a:gd name="T49" fmla="*/ 27 h 30"/>
                    <a:gd name="T50" fmla="*/ 29 w 50"/>
                    <a:gd name="T51" fmla="*/ 27 h 30"/>
                    <a:gd name="T52" fmla="*/ 34 w 50"/>
                    <a:gd name="T53" fmla="*/ 29 h 30"/>
                    <a:gd name="T54" fmla="*/ 38 w 50"/>
                    <a:gd name="T55" fmla="*/ 29 h 30"/>
                    <a:gd name="T56" fmla="*/ 42 w 50"/>
                    <a:gd name="T57" fmla="*/ 29 h 30"/>
                    <a:gd name="T58" fmla="*/ 45 w 50"/>
                    <a:gd name="T59" fmla="*/ 27 h 30"/>
                    <a:gd name="T60" fmla="*/ 47 w 50"/>
                    <a:gd name="T61" fmla="*/ 25 h 30"/>
                    <a:gd name="T62" fmla="*/ 48 w 50"/>
                    <a:gd name="T63" fmla="*/ 20 h 30"/>
                    <a:gd name="T64" fmla="*/ 48 w 50"/>
                    <a:gd name="T65" fmla="*/ 16 h 30"/>
                    <a:gd name="T66" fmla="*/ 47 w 50"/>
                    <a:gd name="T67" fmla="*/ 11 h 30"/>
                    <a:gd name="T68" fmla="*/ 45 w 50"/>
                    <a:gd name="T69" fmla="*/ 9 h 30"/>
                    <a:gd name="T70" fmla="*/ 41 w 50"/>
                    <a:gd name="T71" fmla="*/ 7 h 30"/>
                    <a:gd name="T72" fmla="*/ 35 w 50"/>
                    <a:gd name="T73" fmla="*/ 6 h 30"/>
                    <a:gd name="T74" fmla="*/ 32 w 50"/>
                    <a:gd name="T75" fmla="*/ 4 h 30"/>
                    <a:gd name="T76" fmla="*/ 29 w 50"/>
                    <a:gd name="T77" fmla="*/ 4 h 30"/>
                    <a:gd name="T78" fmla="*/ 28 w 50"/>
                    <a:gd name="T79" fmla="*/ 4 h 30"/>
                    <a:gd name="T80" fmla="*/ 25 w 50"/>
                    <a:gd name="T81" fmla="*/ 4 h 30"/>
                    <a:gd name="T82" fmla="*/ 21 w 50"/>
                    <a:gd name="T83" fmla="*/ 3 h 30"/>
                    <a:gd name="T84" fmla="*/ 15 w 50"/>
                    <a:gd name="T85" fmla="*/ 3 h 30"/>
                    <a:gd name="T86" fmla="*/ 9 w 50"/>
                    <a:gd name="T87" fmla="*/ 1 h 30"/>
                    <a:gd name="T88" fmla="*/ 9 w 50"/>
                    <a:gd name="T89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50" h="30">
                      <a:moveTo>
                        <a:pt x="9" y="0"/>
                      </a:moveTo>
                      <a:lnTo>
                        <a:pt x="15" y="1"/>
                      </a:lnTo>
                      <a:lnTo>
                        <a:pt x="21" y="1"/>
                      </a:lnTo>
                      <a:lnTo>
                        <a:pt x="25" y="3"/>
                      </a:lnTo>
                      <a:lnTo>
                        <a:pt x="28" y="3"/>
                      </a:lnTo>
                      <a:lnTo>
                        <a:pt x="29" y="3"/>
                      </a:lnTo>
                      <a:lnTo>
                        <a:pt x="32" y="3"/>
                      </a:lnTo>
                      <a:lnTo>
                        <a:pt x="35" y="4"/>
                      </a:lnTo>
                      <a:lnTo>
                        <a:pt x="40" y="4"/>
                      </a:lnTo>
                      <a:lnTo>
                        <a:pt x="42" y="6"/>
                      </a:lnTo>
                      <a:lnTo>
                        <a:pt x="45" y="7"/>
                      </a:lnTo>
                      <a:lnTo>
                        <a:pt x="47" y="10"/>
                      </a:lnTo>
                      <a:lnTo>
                        <a:pt x="50" y="13"/>
                      </a:lnTo>
                      <a:lnTo>
                        <a:pt x="50" y="16"/>
                      </a:lnTo>
                      <a:lnTo>
                        <a:pt x="50" y="20"/>
                      </a:lnTo>
                      <a:lnTo>
                        <a:pt x="48" y="25"/>
                      </a:lnTo>
                      <a:lnTo>
                        <a:pt x="45" y="27"/>
                      </a:lnTo>
                      <a:lnTo>
                        <a:pt x="42" y="30"/>
                      </a:lnTo>
                      <a:lnTo>
                        <a:pt x="38" y="30"/>
                      </a:lnTo>
                      <a:lnTo>
                        <a:pt x="34" y="30"/>
                      </a:lnTo>
                      <a:lnTo>
                        <a:pt x="28" y="29"/>
                      </a:lnTo>
                      <a:lnTo>
                        <a:pt x="25" y="29"/>
                      </a:lnTo>
                      <a:lnTo>
                        <a:pt x="0" y="26"/>
                      </a:lnTo>
                      <a:lnTo>
                        <a:pt x="0" y="25"/>
                      </a:lnTo>
                      <a:lnTo>
                        <a:pt x="25" y="27"/>
                      </a:lnTo>
                      <a:lnTo>
                        <a:pt x="29" y="27"/>
                      </a:lnTo>
                      <a:lnTo>
                        <a:pt x="34" y="29"/>
                      </a:lnTo>
                      <a:lnTo>
                        <a:pt x="38" y="29"/>
                      </a:lnTo>
                      <a:lnTo>
                        <a:pt x="42" y="29"/>
                      </a:lnTo>
                      <a:lnTo>
                        <a:pt x="45" y="27"/>
                      </a:lnTo>
                      <a:lnTo>
                        <a:pt x="47" y="25"/>
                      </a:lnTo>
                      <a:lnTo>
                        <a:pt x="48" y="20"/>
                      </a:lnTo>
                      <a:lnTo>
                        <a:pt x="48" y="16"/>
                      </a:lnTo>
                      <a:lnTo>
                        <a:pt x="47" y="11"/>
                      </a:lnTo>
                      <a:lnTo>
                        <a:pt x="45" y="9"/>
                      </a:lnTo>
                      <a:lnTo>
                        <a:pt x="41" y="7"/>
                      </a:lnTo>
                      <a:lnTo>
                        <a:pt x="35" y="6"/>
                      </a:lnTo>
                      <a:lnTo>
                        <a:pt x="32" y="4"/>
                      </a:lnTo>
                      <a:lnTo>
                        <a:pt x="29" y="4"/>
                      </a:lnTo>
                      <a:lnTo>
                        <a:pt x="28" y="4"/>
                      </a:lnTo>
                      <a:lnTo>
                        <a:pt x="25" y="4"/>
                      </a:lnTo>
                      <a:lnTo>
                        <a:pt x="21" y="3"/>
                      </a:lnTo>
                      <a:lnTo>
                        <a:pt x="15" y="3"/>
                      </a:lnTo>
                      <a:lnTo>
                        <a:pt x="9" y="1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solidFill>
                  <a:srgbClr val="FFDEB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98" name="Freeform 286"/>
                <p:cNvSpPr>
                  <a:spLocks/>
                </p:cNvSpPr>
                <p:nvPr/>
              </p:nvSpPr>
              <p:spPr bwMode="auto">
                <a:xfrm>
                  <a:off x="5386389" y="4046538"/>
                  <a:ext cx="20638" cy="26988"/>
                </a:xfrm>
                <a:custGeom>
                  <a:avLst/>
                  <a:gdLst>
                    <a:gd name="T0" fmla="*/ 9 w 13"/>
                    <a:gd name="T1" fmla="*/ 0 h 17"/>
                    <a:gd name="T2" fmla="*/ 10 w 13"/>
                    <a:gd name="T3" fmla="*/ 1 h 17"/>
                    <a:gd name="T4" fmla="*/ 12 w 13"/>
                    <a:gd name="T5" fmla="*/ 3 h 17"/>
                    <a:gd name="T6" fmla="*/ 13 w 13"/>
                    <a:gd name="T7" fmla="*/ 6 h 17"/>
                    <a:gd name="T8" fmla="*/ 12 w 13"/>
                    <a:gd name="T9" fmla="*/ 14 h 17"/>
                    <a:gd name="T10" fmla="*/ 10 w 13"/>
                    <a:gd name="T11" fmla="*/ 16 h 17"/>
                    <a:gd name="T12" fmla="*/ 9 w 13"/>
                    <a:gd name="T13" fmla="*/ 17 h 17"/>
                    <a:gd name="T14" fmla="*/ 6 w 13"/>
                    <a:gd name="T15" fmla="*/ 17 h 17"/>
                    <a:gd name="T16" fmla="*/ 3 w 13"/>
                    <a:gd name="T17" fmla="*/ 17 h 17"/>
                    <a:gd name="T18" fmla="*/ 2 w 13"/>
                    <a:gd name="T19" fmla="*/ 14 h 17"/>
                    <a:gd name="T20" fmla="*/ 0 w 13"/>
                    <a:gd name="T21" fmla="*/ 11 h 17"/>
                    <a:gd name="T22" fmla="*/ 2 w 13"/>
                    <a:gd name="T23" fmla="*/ 4 h 17"/>
                    <a:gd name="T24" fmla="*/ 3 w 13"/>
                    <a:gd name="T25" fmla="*/ 1 h 17"/>
                    <a:gd name="T26" fmla="*/ 6 w 13"/>
                    <a:gd name="T27" fmla="*/ 0 h 17"/>
                    <a:gd name="T28" fmla="*/ 9 w 13"/>
                    <a:gd name="T29" fmla="*/ 0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3" h="17">
                      <a:moveTo>
                        <a:pt x="9" y="0"/>
                      </a:moveTo>
                      <a:lnTo>
                        <a:pt x="10" y="1"/>
                      </a:lnTo>
                      <a:lnTo>
                        <a:pt x="12" y="3"/>
                      </a:lnTo>
                      <a:lnTo>
                        <a:pt x="13" y="6"/>
                      </a:lnTo>
                      <a:lnTo>
                        <a:pt x="12" y="14"/>
                      </a:lnTo>
                      <a:lnTo>
                        <a:pt x="10" y="16"/>
                      </a:lnTo>
                      <a:lnTo>
                        <a:pt x="9" y="17"/>
                      </a:lnTo>
                      <a:lnTo>
                        <a:pt x="6" y="17"/>
                      </a:lnTo>
                      <a:lnTo>
                        <a:pt x="3" y="17"/>
                      </a:lnTo>
                      <a:lnTo>
                        <a:pt x="2" y="14"/>
                      </a:lnTo>
                      <a:lnTo>
                        <a:pt x="0" y="11"/>
                      </a:lnTo>
                      <a:lnTo>
                        <a:pt x="2" y="4"/>
                      </a:lnTo>
                      <a:lnTo>
                        <a:pt x="3" y="1"/>
                      </a:lnTo>
                      <a:lnTo>
                        <a:pt x="6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solidFill>
                  <a:srgbClr val="FFF0D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399" name="Freeform 287"/>
                <p:cNvSpPr>
                  <a:spLocks/>
                </p:cNvSpPr>
                <p:nvPr/>
              </p:nvSpPr>
              <p:spPr bwMode="auto">
                <a:xfrm>
                  <a:off x="5349876" y="4081463"/>
                  <a:ext cx="133350" cy="50800"/>
                </a:xfrm>
                <a:custGeom>
                  <a:avLst/>
                  <a:gdLst>
                    <a:gd name="T0" fmla="*/ 13 w 84"/>
                    <a:gd name="T1" fmla="*/ 0 h 32"/>
                    <a:gd name="T2" fmla="*/ 38 w 84"/>
                    <a:gd name="T3" fmla="*/ 2 h 32"/>
                    <a:gd name="T4" fmla="*/ 38 w 84"/>
                    <a:gd name="T5" fmla="*/ 2 h 32"/>
                    <a:gd name="T6" fmla="*/ 64 w 84"/>
                    <a:gd name="T7" fmla="*/ 7 h 32"/>
                    <a:gd name="T8" fmla="*/ 64 w 84"/>
                    <a:gd name="T9" fmla="*/ 10 h 32"/>
                    <a:gd name="T10" fmla="*/ 64 w 84"/>
                    <a:gd name="T11" fmla="*/ 13 h 32"/>
                    <a:gd name="T12" fmla="*/ 67 w 84"/>
                    <a:gd name="T13" fmla="*/ 14 h 32"/>
                    <a:gd name="T14" fmla="*/ 70 w 84"/>
                    <a:gd name="T15" fmla="*/ 16 h 32"/>
                    <a:gd name="T16" fmla="*/ 73 w 84"/>
                    <a:gd name="T17" fmla="*/ 16 h 32"/>
                    <a:gd name="T18" fmla="*/ 76 w 84"/>
                    <a:gd name="T19" fmla="*/ 16 h 32"/>
                    <a:gd name="T20" fmla="*/ 78 w 84"/>
                    <a:gd name="T21" fmla="*/ 16 h 32"/>
                    <a:gd name="T22" fmla="*/ 81 w 84"/>
                    <a:gd name="T23" fmla="*/ 17 h 32"/>
                    <a:gd name="T24" fmla="*/ 83 w 84"/>
                    <a:gd name="T25" fmla="*/ 20 h 32"/>
                    <a:gd name="T26" fmla="*/ 84 w 84"/>
                    <a:gd name="T27" fmla="*/ 23 h 32"/>
                    <a:gd name="T28" fmla="*/ 80 w 84"/>
                    <a:gd name="T29" fmla="*/ 24 h 32"/>
                    <a:gd name="T30" fmla="*/ 77 w 84"/>
                    <a:gd name="T31" fmla="*/ 27 h 32"/>
                    <a:gd name="T32" fmla="*/ 74 w 84"/>
                    <a:gd name="T33" fmla="*/ 29 h 32"/>
                    <a:gd name="T34" fmla="*/ 70 w 84"/>
                    <a:gd name="T35" fmla="*/ 29 h 32"/>
                    <a:gd name="T36" fmla="*/ 67 w 84"/>
                    <a:gd name="T37" fmla="*/ 29 h 32"/>
                    <a:gd name="T38" fmla="*/ 64 w 84"/>
                    <a:gd name="T39" fmla="*/ 29 h 32"/>
                    <a:gd name="T40" fmla="*/ 61 w 84"/>
                    <a:gd name="T41" fmla="*/ 30 h 32"/>
                    <a:gd name="T42" fmla="*/ 60 w 84"/>
                    <a:gd name="T43" fmla="*/ 32 h 32"/>
                    <a:gd name="T44" fmla="*/ 54 w 84"/>
                    <a:gd name="T45" fmla="*/ 32 h 32"/>
                    <a:gd name="T46" fmla="*/ 52 w 84"/>
                    <a:gd name="T47" fmla="*/ 32 h 32"/>
                    <a:gd name="T48" fmla="*/ 39 w 84"/>
                    <a:gd name="T49" fmla="*/ 29 h 32"/>
                    <a:gd name="T50" fmla="*/ 39 w 84"/>
                    <a:gd name="T51" fmla="*/ 29 h 32"/>
                    <a:gd name="T52" fmla="*/ 9 w 84"/>
                    <a:gd name="T53" fmla="*/ 24 h 32"/>
                    <a:gd name="T54" fmla="*/ 4 w 84"/>
                    <a:gd name="T55" fmla="*/ 23 h 32"/>
                    <a:gd name="T56" fmla="*/ 1 w 84"/>
                    <a:gd name="T57" fmla="*/ 20 h 32"/>
                    <a:gd name="T58" fmla="*/ 0 w 84"/>
                    <a:gd name="T59" fmla="*/ 16 h 32"/>
                    <a:gd name="T60" fmla="*/ 0 w 84"/>
                    <a:gd name="T61" fmla="*/ 11 h 32"/>
                    <a:gd name="T62" fmla="*/ 1 w 84"/>
                    <a:gd name="T63" fmla="*/ 5 h 32"/>
                    <a:gd name="T64" fmla="*/ 4 w 84"/>
                    <a:gd name="T65" fmla="*/ 2 h 32"/>
                    <a:gd name="T66" fmla="*/ 9 w 84"/>
                    <a:gd name="T67" fmla="*/ 0 h 32"/>
                    <a:gd name="T68" fmla="*/ 13 w 84"/>
                    <a:gd name="T69" fmla="*/ 0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84" h="32">
                      <a:moveTo>
                        <a:pt x="13" y="0"/>
                      </a:moveTo>
                      <a:lnTo>
                        <a:pt x="38" y="2"/>
                      </a:lnTo>
                      <a:lnTo>
                        <a:pt x="38" y="2"/>
                      </a:lnTo>
                      <a:lnTo>
                        <a:pt x="64" y="7"/>
                      </a:lnTo>
                      <a:lnTo>
                        <a:pt x="64" y="10"/>
                      </a:lnTo>
                      <a:lnTo>
                        <a:pt x="64" y="13"/>
                      </a:lnTo>
                      <a:lnTo>
                        <a:pt x="67" y="14"/>
                      </a:lnTo>
                      <a:lnTo>
                        <a:pt x="70" y="16"/>
                      </a:lnTo>
                      <a:lnTo>
                        <a:pt x="73" y="16"/>
                      </a:lnTo>
                      <a:lnTo>
                        <a:pt x="76" y="16"/>
                      </a:lnTo>
                      <a:lnTo>
                        <a:pt x="78" y="16"/>
                      </a:lnTo>
                      <a:lnTo>
                        <a:pt x="81" y="17"/>
                      </a:lnTo>
                      <a:lnTo>
                        <a:pt x="83" y="20"/>
                      </a:lnTo>
                      <a:lnTo>
                        <a:pt x="84" y="23"/>
                      </a:lnTo>
                      <a:lnTo>
                        <a:pt x="80" y="24"/>
                      </a:lnTo>
                      <a:lnTo>
                        <a:pt x="77" y="27"/>
                      </a:lnTo>
                      <a:lnTo>
                        <a:pt x="74" y="29"/>
                      </a:lnTo>
                      <a:lnTo>
                        <a:pt x="70" y="29"/>
                      </a:lnTo>
                      <a:lnTo>
                        <a:pt x="67" y="29"/>
                      </a:lnTo>
                      <a:lnTo>
                        <a:pt x="64" y="29"/>
                      </a:lnTo>
                      <a:lnTo>
                        <a:pt x="61" y="30"/>
                      </a:lnTo>
                      <a:lnTo>
                        <a:pt x="60" y="32"/>
                      </a:lnTo>
                      <a:lnTo>
                        <a:pt x="54" y="32"/>
                      </a:lnTo>
                      <a:lnTo>
                        <a:pt x="52" y="32"/>
                      </a:lnTo>
                      <a:lnTo>
                        <a:pt x="39" y="29"/>
                      </a:lnTo>
                      <a:lnTo>
                        <a:pt x="39" y="29"/>
                      </a:lnTo>
                      <a:lnTo>
                        <a:pt x="9" y="24"/>
                      </a:lnTo>
                      <a:lnTo>
                        <a:pt x="4" y="23"/>
                      </a:lnTo>
                      <a:lnTo>
                        <a:pt x="1" y="20"/>
                      </a:lnTo>
                      <a:lnTo>
                        <a:pt x="0" y="16"/>
                      </a:lnTo>
                      <a:lnTo>
                        <a:pt x="0" y="11"/>
                      </a:lnTo>
                      <a:lnTo>
                        <a:pt x="1" y="5"/>
                      </a:lnTo>
                      <a:lnTo>
                        <a:pt x="4" y="2"/>
                      </a:lnTo>
                      <a:lnTo>
                        <a:pt x="9" y="0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FFDEB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00" name="Freeform 288"/>
                <p:cNvSpPr>
                  <a:spLocks/>
                </p:cNvSpPr>
                <p:nvPr/>
              </p:nvSpPr>
              <p:spPr bwMode="auto">
                <a:xfrm>
                  <a:off x="5346701" y="4081463"/>
                  <a:ext cx="104775" cy="52388"/>
                </a:xfrm>
                <a:custGeom>
                  <a:avLst/>
                  <a:gdLst>
                    <a:gd name="T0" fmla="*/ 15 w 66"/>
                    <a:gd name="T1" fmla="*/ 0 h 33"/>
                    <a:gd name="T2" fmla="*/ 40 w 66"/>
                    <a:gd name="T3" fmla="*/ 2 h 33"/>
                    <a:gd name="T4" fmla="*/ 40 w 66"/>
                    <a:gd name="T5" fmla="*/ 2 h 33"/>
                    <a:gd name="T6" fmla="*/ 40 w 66"/>
                    <a:gd name="T7" fmla="*/ 2 h 33"/>
                    <a:gd name="T8" fmla="*/ 66 w 66"/>
                    <a:gd name="T9" fmla="*/ 7 h 33"/>
                    <a:gd name="T10" fmla="*/ 66 w 66"/>
                    <a:gd name="T11" fmla="*/ 7 h 33"/>
                    <a:gd name="T12" fmla="*/ 40 w 66"/>
                    <a:gd name="T13" fmla="*/ 4 h 33"/>
                    <a:gd name="T14" fmla="*/ 40 w 66"/>
                    <a:gd name="T15" fmla="*/ 4 h 33"/>
                    <a:gd name="T16" fmla="*/ 15 w 66"/>
                    <a:gd name="T17" fmla="*/ 0 h 33"/>
                    <a:gd name="T18" fmla="*/ 11 w 66"/>
                    <a:gd name="T19" fmla="*/ 1 h 33"/>
                    <a:gd name="T20" fmla="*/ 6 w 66"/>
                    <a:gd name="T21" fmla="*/ 2 h 33"/>
                    <a:gd name="T22" fmla="*/ 3 w 66"/>
                    <a:gd name="T23" fmla="*/ 5 h 33"/>
                    <a:gd name="T24" fmla="*/ 2 w 66"/>
                    <a:gd name="T25" fmla="*/ 11 h 33"/>
                    <a:gd name="T26" fmla="*/ 2 w 66"/>
                    <a:gd name="T27" fmla="*/ 16 h 33"/>
                    <a:gd name="T28" fmla="*/ 3 w 66"/>
                    <a:gd name="T29" fmla="*/ 20 h 33"/>
                    <a:gd name="T30" fmla="*/ 8 w 66"/>
                    <a:gd name="T31" fmla="*/ 23 h 33"/>
                    <a:gd name="T32" fmla="*/ 12 w 66"/>
                    <a:gd name="T33" fmla="*/ 24 h 33"/>
                    <a:gd name="T34" fmla="*/ 56 w 66"/>
                    <a:gd name="T35" fmla="*/ 30 h 33"/>
                    <a:gd name="T36" fmla="*/ 56 w 66"/>
                    <a:gd name="T37" fmla="*/ 30 h 33"/>
                    <a:gd name="T38" fmla="*/ 62 w 66"/>
                    <a:gd name="T39" fmla="*/ 32 h 33"/>
                    <a:gd name="T40" fmla="*/ 62 w 66"/>
                    <a:gd name="T41" fmla="*/ 33 h 33"/>
                    <a:gd name="T42" fmla="*/ 56 w 66"/>
                    <a:gd name="T43" fmla="*/ 32 h 33"/>
                    <a:gd name="T44" fmla="*/ 56 w 66"/>
                    <a:gd name="T45" fmla="*/ 32 h 33"/>
                    <a:gd name="T46" fmla="*/ 11 w 66"/>
                    <a:gd name="T47" fmla="*/ 26 h 33"/>
                    <a:gd name="T48" fmla="*/ 8 w 66"/>
                    <a:gd name="T49" fmla="*/ 24 h 33"/>
                    <a:gd name="T50" fmla="*/ 5 w 66"/>
                    <a:gd name="T51" fmla="*/ 21 h 33"/>
                    <a:gd name="T52" fmla="*/ 2 w 66"/>
                    <a:gd name="T53" fmla="*/ 18 h 33"/>
                    <a:gd name="T54" fmla="*/ 0 w 66"/>
                    <a:gd name="T55" fmla="*/ 14 h 33"/>
                    <a:gd name="T56" fmla="*/ 0 w 66"/>
                    <a:gd name="T57" fmla="*/ 10 h 33"/>
                    <a:gd name="T58" fmla="*/ 2 w 66"/>
                    <a:gd name="T59" fmla="*/ 5 h 33"/>
                    <a:gd name="T60" fmla="*/ 5 w 66"/>
                    <a:gd name="T61" fmla="*/ 1 h 33"/>
                    <a:gd name="T62" fmla="*/ 9 w 66"/>
                    <a:gd name="T63" fmla="*/ 0 h 33"/>
                    <a:gd name="T64" fmla="*/ 15 w 66"/>
                    <a:gd name="T65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66" h="33">
                      <a:moveTo>
                        <a:pt x="15" y="0"/>
                      </a:moveTo>
                      <a:lnTo>
                        <a:pt x="40" y="2"/>
                      </a:lnTo>
                      <a:lnTo>
                        <a:pt x="40" y="2"/>
                      </a:lnTo>
                      <a:lnTo>
                        <a:pt x="40" y="2"/>
                      </a:lnTo>
                      <a:lnTo>
                        <a:pt x="66" y="7"/>
                      </a:lnTo>
                      <a:lnTo>
                        <a:pt x="66" y="7"/>
                      </a:lnTo>
                      <a:lnTo>
                        <a:pt x="40" y="4"/>
                      </a:lnTo>
                      <a:lnTo>
                        <a:pt x="40" y="4"/>
                      </a:lnTo>
                      <a:lnTo>
                        <a:pt x="15" y="0"/>
                      </a:lnTo>
                      <a:lnTo>
                        <a:pt x="11" y="1"/>
                      </a:lnTo>
                      <a:lnTo>
                        <a:pt x="6" y="2"/>
                      </a:lnTo>
                      <a:lnTo>
                        <a:pt x="3" y="5"/>
                      </a:lnTo>
                      <a:lnTo>
                        <a:pt x="2" y="11"/>
                      </a:lnTo>
                      <a:lnTo>
                        <a:pt x="2" y="16"/>
                      </a:lnTo>
                      <a:lnTo>
                        <a:pt x="3" y="20"/>
                      </a:lnTo>
                      <a:lnTo>
                        <a:pt x="8" y="23"/>
                      </a:lnTo>
                      <a:lnTo>
                        <a:pt x="12" y="24"/>
                      </a:lnTo>
                      <a:lnTo>
                        <a:pt x="56" y="30"/>
                      </a:lnTo>
                      <a:lnTo>
                        <a:pt x="56" y="30"/>
                      </a:lnTo>
                      <a:lnTo>
                        <a:pt x="62" y="32"/>
                      </a:lnTo>
                      <a:lnTo>
                        <a:pt x="62" y="33"/>
                      </a:lnTo>
                      <a:lnTo>
                        <a:pt x="56" y="32"/>
                      </a:lnTo>
                      <a:lnTo>
                        <a:pt x="56" y="32"/>
                      </a:lnTo>
                      <a:lnTo>
                        <a:pt x="11" y="26"/>
                      </a:lnTo>
                      <a:lnTo>
                        <a:pt x="8" y="24"/>
                      </a:lnTo>
                      <a:lnTo>
                        <a:pt x="5" y="21"/>
                      </a:lnTo>
                      <a:lnTo>
                        <a:pt x="2" y="18"/>
                      </a:lnTo>
                      <a:lnTo>
                        <a:pt x="0" y="14"/>
                      </a:lnTo>
                      <a:lnTo>
                        <a:pt x="0" y="10"/>
                      </a:lnTo>
                      <a:lnTo>
                        <a:pt x="2" y="5"/>
                      </a:lnTo>
                      <a:lnTo>
                        <a:pt x="5" y="1"/>
                      </a:lnTo>
                      <a:lnTo>
                        <a:pt x="9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DEB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01" name="Freeform 289"/>
                <p:cNvSpPr>
                  <a:spLocks/>
                </p:cNvSpPr>
                <p:nvPr/>
              </p:nvSpPr>
              <p:spPr bwMode="auto">
                <a:xfrm>
                  <a:off x="5359401" y="4084638"/>
                  <a:ext cx="128588" cy="50800"/>
                </a:xfrm>
                <a:custGeom>
                  <a:avLst/>
                  <a:gdLst>
                    <a:gd name="T0" fmla="*/ 26 w 81"/>
                    <a:gd name="T1" fmla="*/ 0 h 32"/>
                    <a:gd name="T2" fmla="*/ 48 w 81"/>
                    <a:gd name="T3" fmla="*/ 3 h 32"/>
                    <a:gd name="T4" fmla="*/ 48 w 81"/>
                    <a:gd name="T5" fmla="*/ 3 h 32"/>
                    <a:gd name="T6" fmla="*/ 72 w 81"/>
                    <a:gd name="T7" fmla="*/ 6 h 32"/>
                    <a:gd name="T8" fmla="*/ 77 w 81"/>
                    <a:gd name="T9" fmla="*/ 8 h 32"/>
                    <a:gd name="T10" fmla="*/ 80 w 81"/>
                    <a:gd name="T11" fmla="*/ 12 h 32"/>
                    <a:gd name="T12" fmla="*/ 81 w 81"/>
                    <a:gd name="T13" fmla="*/ 16 h 32"/>
                    <a:gd name="T14" fmla="*/ 81 w 81"/>
                    <a:gd name="T15" fmla="*/ 21 h 32"/>
                    <a:gd name="T16" fmla="*/ 80 w 81"/>
                    <a:gd name="T17" fmla="*/ 25 h 32"/>
                    <a:gd name="T18" fmla="*/ 77 w 81"/>
                    <a:gd name="T19" fmla="*/ 30 h 32"/>
                    <a:gd name="T20" fmla="*/ 72 w 81"/>
                    <a:gd name="T21" fmla="*/ 31 h 32"/>
                    <a:gd name="T22" fmla="*/ 68 w 81"/>
                    <a:gd name="T23" fmla="*/ 32 h 32"/>
                    <a:gd name="T24" fmla="*/ 39 w 81"/>
                    <a:gd name="T25" fmla="*/ 28 h 32"/>
                    <a:gd name="T26" fmla="*/ 39 w 81"/>
                    <a:gd name="T27" fmla="*/ 28 h 32"/>
                    <a:gd name="T28" fmla="*/ 24 w 81"/>
                    <a:gd name="T29" fmla="*/ 27 h 32"/>
                    <a:gd name="T30" fmla="*/ 23 w 81"/>
                    <a:gd name="T31" fmla="*/ 25 h 32"/>
                    <a:gd name="T32" fmla="*/ 17 w 81"/>
                    <a:gd name="T33" fmla="*/ 25 h 32"/>
                    <a:gd name="T34" fmla="*/ 17 w 81"/>
                    <a:gd name="T35" fmla="*/ 22 h 32"/>
                    <a:gd name="T36" fmla="*/ 16 w 81"/>
                    <a:gd name="T37" fmla="*/ 21 h 32"/>
                    <a:gd name="T38" fmla="*/ 14 w 81"/>
                    <a:gd name="T39" fmla="*/ 19 h 32"/>
                    <a:gd name="T40" fmla="*/ 11 w 81"/>
                    <a:gd name="T41" fmla="*/ 18 h 32"/>
                    <a:gd name="T42" fmla="*/ 10 w 81"/>
                    <a:gd name="T43" fmla="*/ 16 h 32"/>
                    <a:gd name="T44" fmla="*/ 7 w 81"/>
                    <a:gd name="T45" fmla="*/ 15 h 32"/>
                    <a:gd name="T46" fmla="*/ 4 w 81"/>
                    <a:gd name="T47" fmla="*/ 14 h 32"/>
                    <a:gd name="T48" fmla="*/ 0 w 81"/>
                    <a:gd name="T49" fmla="*/ 14 h 32"/>
                    <a:gd name="T50" fmla="*/ 0 w 81"/>
                    <a:gd name="T51" fmla="*/ 14 h 32"/>
                    <a:gd name="T52" fmla="*/ 0 w 81"/>
                    <a:gd name="T53" fmla="*/ 12 h 32"/>
                    <a:gd name="T54" fmla="*/ 0 w 81"/>
                    <a:gd name="T55" fmla="*/ 8 h 32"/>
                    <a:gd name="T56" fmla="*/ 4 w 81"/>
                    <a:gd name="T57" fmla="*/ 8 h 32"/>
                    <a:gd name="T58" fmla="*/ 7 w 81"/>
                    <a:gd name="T59" fmla="*/ 8 h 32"/>
                    <a:gd name="T60" fmla="*/ 8 w 81"/>
                    <a:gd name="T61" fmla="*/ 5 h 32"/>
                    <a:gd name="T62" fmla="*/ 11 w 81"/>
                    <a:gd name="T63" fmla="*/ 2 h 32"/>
                    <a:gd name="T64" fmla="*/ 11 w 81"/>
                    <a:gd name="T65" fmla="*/ 3 h 32"/>
                    <a:gd name="T66" fmla="*/ 11 w 81"/>
                    <a:gd name="T67" fmla="*/ 3 h 32"/>
                    <a:gd name="T68" fmla="*/ 11 w 81"/>
                    <a:gd name="T69" fmla="*/ 6 h 32"/>
                    <a:gd name="T70" fmla="*/ 11 w 81"/>
                    <a:gd name="T71" fmla="*/ 9 h 32"/>
                    <a:gd name="T72" fmla="*/ 13 w 81"/>
                    <a:gd name="T73" fmla="*/ 12 h 32"/>
                    <a:gd name="T74" fmla="*/ 14 w 81"/>
                    <a:gd name="T75" fmla="*/ 14 h 32"/>
                    <a:gd name="T76" fmla="*/ 17 w 81"/>
                    <a:gd name="T77" fmla="*/ 15 h 32"/>
                    <a:gd name="T78" fmla="*/ 20 w 81"/>
                    <a:gd name="T79" fmla="*/ 15 h 32"/>
                    <a:gd name="T80" fmla="*/ 23 w 81"/>
                    <a:gd name="T81" fmla="*/ 12 h 32"/>
                    <a:gd name="T82" fmla="*/ 24 w 81"/>
                    <a:gd name="T83" fmla="*/ 8 h 32"/>
                    <a:gd name="T84" fmla="*/ 26 w 81"/>
                    <a:gd name="T85" fmla="*/ 5 h 32"/>
                    <a:gd name="T86" fmla="*/ 26 w 81"/>
                    <a:gd name="T87" fmla="*/ 0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81" h="32">
                      <a:moveTo>
                        <a:pt x="26" y="0"/>
                      </a:moveTo>
                      <a:lnTo>
                        <a:pt x="48" y="3"/>
                      </a:lnTo>
                      <a:lnTo>
                        <a:pt x="48" y="3"/>
                      </a:lnTo>
                      <a:lnTo>
                        <a:pt x="72" y="6"/>
                      </a:lnTo>
                      <a:lnTo>
                        <a:pt x="77" y="8"/>
                      </a:lnTo>
                      <a:lnTo>
                        <a:pt x="80" y="12"/>
                      </a:lnTo>
                      <a:lnTo>
                        <a:pt x="81" y="16"/>
                      </a:lnTo>
                      <a:lnTo>
                        <a:pt x="81" y="21"/>
                      </a:lnTo>
                      <a:lnTo>
                        <a:pt x="80" y="25"/>
                      </a:lnTo>
                      <a:lnTo>
                        <a:pt x="77" y="30"/>
                      </a:lnTo>
                      <a:lnTo>
                        <a:pt x="72" y="31"/>
                      </a:lnTo>
                      <a:lnTo>
                        <a:pt x="68" y="32"/>
                      </a:lnTo>
                      <a:lnTo>
                        <a:pt x="39" y="28"/>
                      </a:lnTo>
                      <a:lnTo>
                        <a:pt x="39" y="28"/>
                      </a:lnTo>
                      <a:lnTo>
                        <a:pt x="24" y="27"/>
                      </a:lnTo>
                      <a:lnTo>
                        <a:pt x="23" y="25"/>
                      </a:lnTo>
                      <a:lnTo>
                        <a:pt x="17" y="25"/>
                      </a:lnTo>
                      <a:lnTo>
                        <a:pt x="17" y="22"/>
                      </a:lnTo>
                      <a:lnTo>
                        <a:pt x="16" y="21"/>
                      </a:lnTo>
                      <a:lnTo>
                        <a:pt x="14" y="19"/>
                      </a:lnTo>
                      <a:lnTo>
                        <a:pt x="11" y="18"/>
                      </a:lnTo>
                      <a:lnTo>
                        <a:pt x="10" y="16"/>
                      </a:lnTo>
                      <a:lnTo>
                        <a:pt x="7" y="15"/>
                      </a:lnTo>
                      <a:lnTo>
                        <a:pt x="4" y="14"/>
                      </a:lnTo>
                      <a:lnTo>
                        <a:pt x="0" y="14"/>
                      </a:lnTo>
                      <a:lnTo>
                        <a:pt x="0" y="14"/>
                      </a:lnTo>
                      <a:lnTo>
                        <a:pt x="0" y="12"/>
                      </a:lnTo>
                      <a:lnTo>
                        <a:pt x="0" y="8"/>
                      </a:lnTo>
                      <a:lnTo>
                        <a:pt x="4" y="8"/>
                      </a:lnTo>
                      <a:lnTo>
                        <a:pt x="7" y="8"/>
                      </a:lnTo>
                      <a:lnTo>
                        <a:pt x="8" y="5"/>
                      </a:lnTo>
                      <a:lnTo>
                        <a:pt x="11" y="2"/>
                      </a:lnTo>
                      <a:lnTo>
                        <a:pt x="11" y="3"/>
                      </a:lnTo>
                      <a:lnTo>
                        <a:pt x="11" y="3"/>
                      </a:lnTo>
                      <a:lnTo>
                        <a:pt x="11" y="6"/>
                      </a:lnTo>
                      <a:lnTo>
                        <a:pt x="11" y="9"/>
                      </a:lnTo>
                      <a:lnTo>
                        <a:pt x="13" y="12"/>
                      </a:lnTo>
                      <a:lnTo>
                        <a:pt x="14" y="14"/>
                      </a:lnTo>
                      <a:lnTo>
                        <a:pt x="17" y="15"/>
                      </a:lnTo>
                      <a:lnTo>
                        <a:pt x="20" y="15"/>
                      </a:lnTo>
                      <a:lnTo>
                        <a:pt x="23" y="12"/>
                      </a:lnTo>
                      <a:lnTo>
                        <a:pt x="24" y="8"/>
                      </a:lnTo>
                      <a:lnTo>
                        <a:pt x="26" y="5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solidFill>
                  <a:srgbClr val="FFDEB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02" name="Freeform 290"/>
                <p:cNvSpPr>
                  <a:spLocks/>
                </p:cNvSpPr>
                <p:nvPr/>
              </p:nvSpPr>
              <p:spPr bwMode="auto">
                <a:xfrm>
                  <a:off x="5384801" y="4083051"/>
                  <a:ext cx="106363" cy="52388"/>
                </a:xfrm>
                <a:custGeom>
                  <a:avLst/>
                  <a:gdLst>
                    <a:gd name="T0" fmla="*/ 10 w 67"/>
                    <a:gd name="T1" fmla="*/ 0 h 33"/>
                    <a:gd name="T2" fmla="*/ 32 w 67"/>
                    <a:gd name="T3" fmla="*/ 3 h 33"/>
                    <a:gd name="T4" fmla="*/ 32 w 67"/>
                    <a:gd name="T5" fmla="*/ 4 h 33"/>
                    <a:gd name="T6" fmla="*/ 32 w 67"/>
                    <a:gd name="T7" fmla="*/ 4 h 33"/>
                    <a:gd name="T8" fmla="*/ 56 w 67"/>
                    <a:gd name="T9" fmla="*/ 7 h 33"/>
                    <a:gd name="T10" fmla="*/ 59 w 67"/>
                    <a:gd name="T11" fmla="*/ 9 h 33"/>
                    <a:gd name="T12" fmla="*/ 64 w 67"/>
                    <a:gd name="T13" fmla="*/ 10 h 33"/>
                    <a:gd name="T14" fmla="*/ 65 w 67"/>
                    <a:gd name="T15" fmla="*/ 15 h 33"/>
                    <a:gd name="T16" fmla="*/ 67 w 67"/>
                    <a:gd name="T17" fmla="*/ 17 h 33"/>
                    <a:gd name="T18" fmla="*/ 67 w 67"/>
                    <a:gd name="T19" fmla="*/ 22 h 33"/>
                    <a:gd name="T20" fmla="*/ 65 w 67"/>
                    <a:gd name="T21" fmla="*/ 28 h 33"/>
                    <a:gd name="T22" fmla="*/ 61 w 67"/>
                    <a:gd name="T23" fmla="*/ 31 h 33"/>
                    <a:gd name="T24" fmla="*/ 56 w 67"/>
                    <a:gd name="T25" fmla="*/ 33 h 33"/>
                    <a:gd name="T26" fmla="*/ 52 w 67"/>
                    <a:gd name="T27" fmla="*/ 33 h 33"/>
                    <a:gd name="T28" fmla="*/ 7 w 67"/>
                    <a:gd name="T29" fmla="*/ 28 h 33"/>
                    <a:gd name="T30" fmla="*/ 7 w 67"/>
                    <a:gd name="T31" fmla="*/ 28 h 33"/>
                    <a:gd name="T32" fmla="*/ 0 w 67"/>
                    <a:gd name="T33" fmla="*/ 26 h 33"/>
                    <a:gd name="T34" fmla="*/ 1 w 67"/>
                    <a:gd name="T35" fmla="*/ 25 h 33"/>
                    <a:gd name="T36" fmla="*/ 7 w 67"/>
                    <a:gd name="T37" fmla="*/ 26 h 33"/>
                    <a:gd name="T38" fmla="*/ 8 w 67"/>
                    <a:gd name="T39" fmla="*/ 26 h 33"/>
                    <a:gd name="T40" fmla="*/ 52 w 67"/>
                    <a:gd name="T41" fmla="*/ 32 h 33"/>
                    <a:gd name="T42" fmla="*/ 56 w 67"/>
                    <a:gd name="T43" fmla="*/ 32 h 33"/>
                    <a:gd name="T44" fmla="*/ 61 w 67"/>
                    <a:gd name="T45" fmla="*/ 31 h 33"/>
                    <a:gd name="T46" fmla="*/ 64 w 67"/>
                    <a:gd name="T47" fmla="*/ 26 h 33"/>
                    <a:gd name="T48" fmla="*/ 65 w 67"/>
                    <a:gd name="T49" fmla="*/ 22 h 33"/>
                    <a:gd name="T50" fmla="*/ 65 w 67"/>
                    <a:gd name="T51" fmla="*/ 17 h 33"/>
                    <a:gd name="T52" fmla="*/ 64 w 67"/>
                    <a:gd name="T53" fmla="*/ 13 h 33"/>
                    <a:gd name="T54" fmla="*/ 61 w 67"/>
                    <a:gd name="T55" fmla="*/ 10 h 33"/>
                    <a:gd name="T56" fmla="*/ 56 w 67"/>
                    <a:gd name="T57" fmla="*/ 9 h 33"/>
                    <a:gd name="T58" fmla="*/ 32 w 67"/>
                    <a:gd name="T59" fmla="*/ 4 h 33"/>
                    <a:gd name="T60" fmla="*/ 32 w 67"/>
                    <a:gd name="T61" fmla="*/ 4 h 33"/>
                    <a:gd name="T62" fmla="*/ 10 w 67"/>
                    <a:gd name="T63" fmla="*/ 1 h 33"/>
                    <a:gd name="T64" fmla="*/ 10 w 67"/>
                    <a:gd name="T65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67" h="33">
                      <a:moveTo>
                        <a:pt x="10" y="0"/>
                      </a:moveTo>
                      <a:lnTo>
                        <a:pt x="32" y="3"/>
                      </a:lnTo>
                      <a:lnTo>
                        <a:pt x="32" y="4"/>
                      </a:lnTo>
                      <a:lnTo>
                        <a:pt x="32" y="4"/>
                      </a:lnTo>
                      <a:lnTo>
                        <a:pt x="56" y="7"/>
                      </a:lnTo>
                      <a:lnTo>
                        <a:pt x="59" y="9"/>
                      </a:lnTo>
                      <a:lnTo>
                        <a:pt x="64" y="10"/>
                      </a:lnTo>
                      <a:lnTo>
                        <a:pt x="65" y="15"/>
                      </a:lnTo>
                      <a:lnTo>
                        <a:pt x="67" y="17"/>
                      </a:lnTo>
                      <a:lnTo>
                        <a:pt x="67" y="22"/>
                      </a:lnTo>
                      <a:lnTo>
                        <a:pt x="65" y="28"/>
                      </a:lnTo>
                      <a:lnTo>
                        <a:pt x="61" y="31"/>
                      </a:lnTo>
                      <a:lnTo>
                        <a:pt x="56" y="33"/>
                      </a:lnTo>
                      <a:lnTo>
                        <a:pt x="52" y="33"/>
                      </a:lnTo>
                      <a:lnTo>
                        <a:pt x="7" y="28"/>
                      </a:lnTo>
                      <a:lnTo>
                        <a:pt x="7" y="28"/>
                      </a:lnTo>
                      <a:lnTo>
                        <a:pt x="0" y="26"/>
                      </a:lnTo>
                      <a:lnTo>
                        <a:pt x="1" y="25"/>
                      </a:lnTo>
                      <a:lnTo>
                        <a:pt x="7" y="26"/>
                      </a:lnTo>
                      <a:lnTo>
                        <a:pt x="8" y="26"/>
                      </a:lnTo>
                      <a:lnTo>
                        <a:pt x="52" y="32"/>
                      </a:lnTo>
                      <a:lnTo>
                        <a:pt x="56" y="32"/>
                      </a:lnTo>
                      <a:lnTo>
                        <a:pt x="61" y="31"/>
                      </a:lnTo>
                      <a:lnTo>
                        <a:pt x="64" y="26"/>
                      </a:lnTo>
                      <a:lnTo>
                        <a:pt x="65" y="22"/>
                      </a:lnTo>
                      <a:lnTo>
                        <a:pt x="65" y="17"/>
                      </a:lnTo>
                      <a:lnTo>
                        <a:pt x="64" y="13"/>
                      </a:lnTo>
                      <a:lnTo>
                        <a:pt x="61" y="10"/>
                      </a:lnTo>
                      <a:lnTo>
                        <a:pt x="56" y="9"/>
                      </a:lnTo>
                      <a:lnTo>
                        <a:pt x="32" y="4"/>
                      </a:lnTo>
                      <a:lnTo>
                        <a:pt x="32" y="4"/>
                      </a:lnTo>
                      <a:lnTo>
                        <a:pt x="10" y="1"/>
                      </a:lnTo>
                      <a:lnTo>
                        <a:pt x="10" y="0"/>
                      </a:lnTo>
                      <a:close/>
                    </a:path>
                  </a:pathLst>
                </a:custGeom>
                <a:solidFill>
                  <a:srgbClr val="FFDEB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03" name="Freeform 291"/>
                <p:cNvSpPr>
                  <a:spLocks/>
                </p:cNvSpPr>
                <p:nvPr/>
              </p:nvSpPr>
              <p:spPr bwMode="auto">
                <a:xfrm>
                  <a:off x="5356226" y="4084638"/>
                  <a:ext cx="19050" cy="28575"/>
                </a:xfrm>
                <a:custGeom>
                  <a:avLst/>
                  <a:gdLst>
                    <a:gd name="T0" fmla="*/ 8 w 12"/>
                    <a:gd name="T1" fmla="*/ 0 h 18"/>
                    <a:gd name="T2" fmla="*/ 10 w 12"/>
                    <a:gd name="T3" fmla="*/ 2 h 18"/>
                    <a:gd name="T4" fmla="*/ 12 w 12"/>
                    <a:gd name="T5" fmla="*/ 3 h 18"/>
                    <a:gd name="T6" fmla="*/ 12 w 12"/>
                    <a:gd name="T7" fmla="*/ 6 h 18"/>
                    <a:gd name="T8" fmla="*/ 10 w 12"/>
                    <a:gd name="T9" fmla="*/ 15 h 18"/>
                    <a:gd name="T10" fmla="*/ 10 w 12"/>
                    <a:gd name="T11" fmla="*/ 16 h 18"/>
                    <a:gd name="T12" fmla="*/ 8 w 12"/>
                    <a:gd name="T13" fmla="*/ 18 h 18"/>
                    <a:gd name="T14" fmla="*/ 5 w 12"/>
                    <a:gd name="T15" fmla="*/ 18 h 18"/>
                    <a:gd name="T16" fmla="*/ 2 w 12"/>
                    <a:gd name="T17" fmla="*/ 18 h 18"/>
                    <a:gd name="T18" fmla="*/ 0 w 12"/>
                    <a:gd name="T19" fmla="*/ 15 h 18"/>
                    <a:gd name="T20" fmla="*/ 0 w 12"/>
                    <a:gd name="T21" fmla="*/ 12 h 18"/>
                    <a:gd name="T22" fmla="*/ 2 w 12"/>
                    <a:gd name="T23" fmla="*/ 5 h 18"/>
                    <a:gd name="T24" fmla="*/ 3 w 12"/>
                    <a:gd name="T25" fmla="*/ 2 h 18"/>
                    <a:gd name="T26" fmla="*/ 5 w 12"/>
                    <a:gd name="T27" fmla="*/ 0 h 18"/>
                    <a:gd name="T28" fmla="*/ 8 w 12"/>
                    <a:gd name="T29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2" h="18">
                      <a:moveTo>
                        <a:pt x="8" y="0"/>
                      </a:moveTo>
                      <a:lnTo>
                        <a:pt x="10" y="2"/>
                      </a:lnTo>
                      <a:lnTo>
                        <a:pt x="12" y="3"/>
                      </a:lnTo>
                      <a:lnTo>
                        <a:pt x="12" y="6"/>
                      </a:lnTo>
                      <a:lnTo>
                        <a:pt x="10" y="15"/>
                      </a:lnTo>
                      <a:lnTo>
                        <a:pt x="10" y="16"/>
                      </a:lnTo>
                      <a:lnTo>
                        <a:pt x="8" y="18"/>
                      </a:lnTo>
                      <a:lnTo>
                        <a:pt x="5" y="18"/>
                      </a:lnTo>
                      <a:lnTo>
                        <a:pt x="2" y="18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2" y="5"/>
                      </a:lnTo>
                      <a:lnTo>
                        <a:pt x="3" y="2"/>
                      </a:lnTo>
                      <a:lnTo>
                        <a:pt x="5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FFF0D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04" name="Freeform 292"/>
                <p:cNvSpPr>
                  <a:spLocks/>
                </p:cNvSpPr>
                <p:nvPr/>
              </p:nvSpPr>
              <p:spPr bwMode="auto">
                <a:xfrm>
                  <a:off x="5381626" y="4132263"/>
                  <a:ext cx="90488" cy="42863"/>
                </a:xfrm>
                <a:custGeom>
                  <a:avLst/>
                  <a:gdLst>
                    <a:gd name="T0" fmla="*/ 13 w 57"/>
                    <a:gd name="T1" fmla="*/ 0 h 27"/>
                    <a:gd name="T2" fmla="*/ 38 w 57"/>
                    <a:gd name="T3" fmla="*/ 2 h 27"/>
                    <a:gd name="T4" fmla="*/ 40 w 57"/>
                    <a:gd name="T5" fmla="*/ 2 h 27"/>
                    <a:gd name="T6" fmla="*/ 50 w 57"/>
                    <a:gd name="T7" fmla="*/ 4 h 27"/>
                    <a:gd name="T8" fmla="*/ 50 w 57"/>
                    <a:gd name="T9" fmla="*/ 5 h 27"/>
                    <a:gd name="T10" fmla="*/ 50 w 57"/>
                    <a:gd name="T11" fmla="*/ 7 h 27"/>
                    <a:gd name="T12" fmla="*/ 50 w 57"/>
                    <a:gd name="T13" fmla="*/ 10 h 27"/>
                    <a:gd name="T14" fmla="*/ 53 w 57"/>
                    <a:gd name="T15" fmla="*/ 13 h 27"/>
                    <a:gd name="T16" fmla="*/ 54 w 57"/>
                    <a:gd name="T17" fmla="*/ 14 h 27"/>
                    <a:gd name="T18" fmla="*/ 57 w 57"/>
                    <a:gd name="T19" fmla="*/ 14 h 27"/>
                    <a:gd name="T20" fmla="*/ 57 w 57"/>
                    <a:gd name="T21" fmla="*/ 16 h 27"/>
                    <a:gd name="T22" fmla="*/ 57 w 57"/>
                    <a:gd name="T23" fmla="*/ 17 h 27"/>
                    <a:gd name="T24" fmla="*/ 56 w 57"/>
                    <a:gd name="T25" fmla="*/ 18 h 27"/>
                    <a:gd name="T26" fmla="*/ 53 w 57"/>
                    <a:gd name="T27" fmla="*/ 18 h 27"/>
                    <a:gd name="T28" fmla="*/ 51 w 57"/>
                    <a:gd name="T29" fmla="*/ 20 h 27"/>
                    <a:gd name="T30" fmla="*/ 48 w 57"/>
                    <a:gd name="T31" fmla="*/ 21 h 27"/>
                    <a:gd name="T32" fmla="*/ 48 w 57"/>
                    <a:gd name="T33" fmla="*/ 24 h 27"/>
                    <a:gd name="T34" fmla="*/ 48 w 57"/>
                    <a:gd name="T35" fmla="*/ 27 h 27"/>
                    <a:gd name="T36" fmla="*/ 41 w 57"/>
                    <a:gd name="T37" fmla="*/ 26 h 27"/>
                    <a:gd name="T38" fmla="*/ 41 w 57"/>
                    <a:gd name="T39" fmla="*/ 26 h 27"/>
                    <a:gd name="T40" fmla="*/ 10 w 57"/>
                    <a:gd name="T41" fmla="*/ 21 h 27"/>
                    <a:gd name="T42" fmla="*/ 6 w 57"/>
                    <a:gd name="T43" fmla="*/ 20 h 27"/>
                    <a:gd name="T44" fmla="*/ 3 w 57"/>
                    <a:gd name="T45" fmla="*/ 17 h 27"/>
                    <a:gd name="T46" fmla="*/ 2 w 57"/>
                    <a:gd name="T47" fmla="*/ 13 h 27"/>
                    <a:gd name="T48" fmla="*/ 0 w 57"/>
                    <a:gd name="T49" fmla="*/ 8 h 27"/>
                    <a:gd name="T50" fmla="*/ 2 w 57"/>
                    <a:gd name="T51" fmla="*/ 4 h 27"/>
                    <a:gd name="T52" fmla="*/ 5 w 57"/>
                    <a:gd name="T53" fmla="*/ 1 h 27"/>
                    <a:gd name="T54" fmla="*/ 9 w 57"/>
                    <a:gd name="T55" fmla="*/ 0 h 27"/>
                    <a:gd name="T56" fmla="*/ 13 w 57"/>
                    <a:gd name="T57" fmla="*/ 0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57" h="27">
                      <a:moveTo>
                        <a:pt x="13" y="0"/>
                      </a:moveTo>
                      <a:lnTo>
                        <a:pt x="38" y="2"/>
                      </a:lnTo>
                      <a:lnTo>
                        <a:pt x="40" y="2"/>
                      </a:lnTo>
                      <a:lnTo>
                        <a:pt x="50" y="4"/>
                      </a:lnTo>
                      <a:lnTo>
                        <a:pt x="50" y="5"/>
                      </a:lnTo>
                      <a:lnTo>
                        <a:pt x="50" y="7"/>
                      </a:lnTo>
                      <a:lnTo>
                        <a:pt x="50" y="10"/>
                      </a:lnTo>
                      <a:lnTo>
                        <a:pt x="53" y="13"/>
                      </a:lnTo>
                      <a:lnTo>
                        <a:pt x="54" y="14"/>
                      </a:lnTo>
                      <a:lnTo>
                        <a:pt x="57" y="14"/>
                      </a:lnTo>
                      <a:lnTo>
                        <a:pt x="57" y="16"/>
                      </a:lnTo>
                      <a:lnTo>
                        <a:pt x="57" y="17"/>
                      </a:lnTo>
                      <a:lnTo>
                        <a:pt x="56" y="18"/>
                      </a:lnTo>
                      <a:lnTo>
                        <a:pt x="53" y="18"/>
                      </a:lnTo>
                      <a:lnTo>
                        <a:pt x="51" y="20"/>
                      </a:lnTo>
                      <a:lnTo>
                        <a:pt x="48" y="21"/>
                      </a:lnTo>
                      <a:lnTo>
                        <a:pt x="48" y="24"/>
                      </a:lnTo>
                      <a:lnTo>
                        <a:pt x="48" y="27"/>
                      </a:lnTo>
                      <a:lnTo>
                        <a:pt x="41" y="26"/>
                      </a:lnTo>
                      <a:lnTo>
                        <a:pt x="41" y="26"/>
                      </a:lnTo>
                      <a:lnTo>
                        <a:pt x="10" y="21"/>
                      </a:lnTo>
                      <a:lnTo>
                        <a:pt x="6" y="20"/>
                      </a:lnTo>
                      <a:lnTo>
                        <a:pt x="3" y="17"/>
                      </a:lnTo>
                      <a:lnTo>
                        <a:pt x="2" y="13"/>
                      </a:lnTo>
                      <a:lnTo>
                        <a:pt x="0" y="8"/>
                      </a:lnTo>
                      <a:lnTo>
                        <a:pt x="2" y="4"/>
                      </a:lnTo>
                      <a:lnTo>
                        <a:pt x="5" y="1"/>
                      </a:lnTo>
                      <a:lnTo>
                        <a:pt x="9" y="0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FFDEB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05" name="Freeform 293"/>
                <p:cNvSpPr>
                  <a:spLocks/>
                </p:cNvSpPr>
                <p:nvPr/>
              </p:nvSpPr>
              <p:spPr bwMode="auto">
                <a:xfrm>
                  <a:off x="5381626" y="4129088"/>
                  <a:ext cx="79375" cy="46038"/>
                </a:xfrm>
                <a:custGeom>
                  <a:avLst/>
                  <a:gdLst>
                    <a:gd name="T0" fmla="*/ 13 w 50"/>
                    <a:gd name="T1" fmla="*/ 0 h 29"/>
                    <a:gd name="T2" fmla="*/ 38 w 50"/>
                    <a:gd name="T3" fmla="*/ 4 h 29"/>
                    <a:gd name="T4" fmla="*/ 38 w 50"/>
                    <a:gd name="T5" fmla="*/ 4 h 29"/>
                    <a:gd name="T6" fmla="*/ 38 w 50"/>
                    <a:gd name="T7" fmla="*/ 4 h 29"/>
                    <a:gd name="T8" fmla="*/ 50 w 50"/>
                    <a:gd name="T9" fmla="*/ 6 h 29"/>
                    <a:gd name="T10" fmla="*/ 50 w 50"/>
                    <a:gd name="T11" fmla="*/ 6 h 29"/>
                    <a:gd name="T12" fmla="*/ 13 w 50"/>
                    <a:gd name="T13" fmla="*/ 2 h 29"/>
                    <a:gd name="T14" fmla="*/ 9 w 50"/>
                    <a:gd name="T15" fmla="*/ 2 h 29"/>
                    <a:gd name="T16" fmla="*/ 6 w 50"/>
                    <a:gd name="T17" fmla="*/ 3 h 29"/>
                    <a:gd name="T18" fmla="*/ 3 w 50"/>
                    <a:gd name="T19" fmla="*/ 7 h 29"/>
                    <a:gd name="T20" fmla="*/ 2 w 50"/>
                    <a:gd name="T21" fmla="*/ 10 h 29"/>
                    <a:gd name="T22" fmla="*/ 2 w 50"/>
                    <a:gd name="T23" fmla="*/ 15 h 29"/>
                    <a:gd name="T24" fmla="*/ 3 w 50"/>
                    <a:gd name="T25" fmla="*/ 19 h 29"/>
                    <a:gd name="T26" fmla="*/ 8 w 50"/>
                    <a:gd name="T27" fmla="*/ 22 h 29"/>
                    <a:gd name="T28" fmla="*/ 12 w 50"/>
                    <a:gd name="T29" fmla="*/ 23 h 29"/>
                    <a:gd name="T30" fmla="*/ 47 w 50"/>
                    <a:gd name="T31" fmla="*/ 28 h 29"/>
                    <a:gd name="T32" fmla="*/ 48 w 50"/>
                    <a:gd name="T33" fmla="*/ 29 h 29"/>
                    <a:gd name="T34" fmla="*/ 48 w 50"/>
                    <a:gd name="T35" fmla="*/ 29 h 29"/>
                    <a:gd name="T36" fmla="*/ 10 w 50"/>
                    <a:gd name="T37" fmla="*/ 25 h 29"/>
                    <a:gd name="T38" fmla="*/ 6 w 50"/>
                    <a:gd name="T39" fmla="*/ 23 h 29"/>
                    <a:gd name="T40" fmla="*/ 3 w 50"/>
                    <a:gd name="T41" fmla="*/ 20 h 29"/>
                    <a:gd name="T42" fmla="*/ 0 w 50"/>
                    <a:gd name="T43" fmla="*/ 16 h 29"/>
                    <a:gd name="T44" fmla="*/ 0 w 50"/>
                    <a:gd name="T45" fmla="*/ 10 h 29"/>
                    <a:gd name="T46" fmla="*/ 2 w 50"/>
                    <a:gd name="T47" fmla="*/ 6 h 29"/>
                    <a:gd name="T48" fmla="*/ 5 w 50"/>
                    <a:gd name="T49" fmla="*/ 3 h 29"/>
                    <a:gd name="T50" fmla="*/ 9 w 50"/>
                    <a:gd name="T51" fmla="*/ 0 h 29"/>
                    <a:gd name="T52" fmla="*/ 13 w 50"/>
                    <a:gd name="T53" fmla="*/ 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50" h="29">
                      <a:moveTo>
                        <a:pt x="13" y="0"/>
                      </a:moveTo>
                      <a:lnTo>
                        <a:pt x="38" y="4"/>
                      </a:lnTo>
                      <a:lnTo>
                        <a:pt x="38" y="4"/>
                      </a:lnTo>
                      <a:lnTo>
                        <a:pt x="38" y="4"/>
                      </a:lnTo>
                      <a:lnTo>
                        <a:pt x="50" y="6"/>
                      </a:lnTo>
                      <a:lnTo>
                        <a:pt x="50" y="6"/>
                      </a:lnTo>
                      <a:lnTo>
                        <a:pt x="13" y="2"/>
                      </a:lnTo>
                      <a:lnTo>
                        <a:pt x="9" y="2"/>
                      </a:lnTo>
                      <a:lnTo>
                        <a:pt x="6" y="3"/>
                      </a:lnTo>
                      <a:lnTo>
                        <a:pt x="3" y="7"/>
                      </a:lnTo>
                      <a:lnTo>
                        <a:pt x="2" y="10"/>
                      </a:lnTo>
                      <a:lnTo>
                        <a:pt x="2" y="15"/>
                      </a:lnTo>
                      <a:lnTo>
                        <a:pt x="3" y="19"/>
                      </a:lnTo>
                      <a:lnTo>
                        <a:pt x="8" y="22"/>
                      </a:lnTo>
                      <a:lnTo>
                        <a:pt x="12" y="23"/>
                      </a:lnTo>
                      <a:lnTo>
                        <a:pt x="47" y="28"/>
                      </a:lnTo>
                      <a:lnTo>
                        <a:pt x="48" y="29"/>
                      </a:lnTo>
                      <a:lnTo>
                        <a:pt x="48" y="29"/>
                      </a:lnTo>
                      <a:lnTo>
                        <a:pt x="10" y="25"/>
                      </a:lnTo>
                      <a:lnTo>
                        <a:pt x="6" y="23"/>
                      </a:lnTo>
                      <a:lnTo>
                        <a:pt x="3" y="20"/>
                      </a:lnTo>
                      <a:lnTo>
                        <a:pt x="0" y="16"/>
                      </a:lnTo>
                      <a:lnTo>
                        <a:pt x="0" y="10"/>
                      </a:lnTo>
                      <a:lnTo>
                        <a:pt x="2" y="6"/>
                      </a:lnTo>
                      <a:lnTo>
                        <a:pt x="5" y="3"/>
                      </a:lnTo>
                      <a:lnTo>
                        <a:pt x="9" y="0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FFDEB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06" name="Freeform 294"/>
                <p:cNvSpPr>
                  <a:spLocks/>
                </p:cNvSpPr>
                <p:nvPr/>
              </p:nvSpPr>
              <p:spPr bwMode="auto">
                <a:xfrm>
                  <a:off x="5402264" y="4132263"/>
                  <a:ext cx="76200" cy="42863"/>
                </a:xfrm>
                <a:custGeom>
                  <a:avLst/>
                  <a:gdLst>
                    <a:gd name="T0" fmla="*/ 2 w 48"/>
                    <a:gd name="T1" fmla="*/ 0 h 27"/>
                    <a:gd name="T2" fmla="*/ 13 w 48"/>
                    <a:gd name="T3" fmla="*/ 1 h 27"/>
                    <a:gd name="T4" fmla="*/ 15 w 48"/>
                    <a:gd name="T5" fmla="*/ 1 h 27"/>
                    <a:gd name="T6" fmla="*/ 40 w 48"/>
                    <a:gd name="T7" fmla="*/ 4 h 27"/>
                    <a:gd name="T8" fmla="*/ 44 w 48"/>
                    <a:gd name="T9" fmla="*/ 5 h 27"/>
                    <a:gd name="T10" fmla="*/ 47 w 48"/>
                    <a:gd name="T11" fmla="*/ 8 h 27"/>
                    <a:gd name="T12" fmla="*/ 48 w 48"/>
                    <a:gd name="T13" fmla="*/ 13 h 27"/>
                    <a:gd name="T14" fmla="*/ 48 w 48"/>
                    <a:gd name="T15" fmla="*/ 17 h 27"/>
                    <a:gd name="T16" fmla="*/ 47 w 48"/>
                    <a:gd name="T17" fmla="*/ 21 h 27"/>
                    <a:gd name="T18" fmla="*/ 44 w 48"/>
                    <a:gd name="T19" fmla="*/ 24 h 27"/>
                    <a:gd name="T20" fmla="*/ 40 w 48"/>
                    <a:gd name="T21" fmla="*/ 27 h 27"/>
                    <a:gd name="T22" fmla="*/ 35 w 48"/>
                    <a:gd name="T23" fmla="*/ 27 h 27"/>
                    <a:gd name="T24" fmla="*/ 11 w 48"/>
                    <a:gd name="T25" fmla="*/ 23 h 27"/>
                    <a:gd name="T26" fmla="*/ 11 w 48"/>
                    <a:gd name="T27" fmla="*/ 20 h 27"/>
                    <a:gd name="T28" fmla="*/ 9 w 48"/>
                    <a:gd name="T29" fmla="*/ 18 h 27"/>
                    <a:gd name="T30" fmla="*/ 8 w 48"/>
                    <a:gd name="T31" fmla="*/ 16 h 27"/>
                    <a:gd name="T32" fmla="*/ 5 w 48"/>
                    <a:gd name="T33" fmla="*/ 16 h 27"/>
                    <a:gd name="T34" fmla="*/ 2 w 48"/>
                    <a:gd name="T35" fmla="*/ 14 h 27"/>
                    <a:gd name="T36" fmla="*/ 2 w 48"/>
                    <a:gd name="T37" fmla="*/ 13 h 27"/>
                    <a:gd name="T38" fmla="*/ 2 w 48"/>
                    <a:gd name="T39" fmla="*/ 10 h 27"/>
                    <a:gd name="T40" fmla="*/ 2 w 48"/>
                    <a:gd name="T41" fmla="*/ 5 h 27"/>
                    <a:gd name="T42" fmla="*/ 0 w 48"/>
                    <a:gd name="T43" fmla="*/ 2 h 27"/>
                    <a:gd name="T44" fmla="*/ 0 w 48"/>
                    <a:gd name="T45" fmla="*/ 2 h 27"/>
                    <a:gd name="T46" fmla="*/ 2 w 48"/>
                    <a:gd name="T47" fmla="*/ 1 h 27"/>
                    <a:gd name="T48" fmla="*/ 2 w 48"/>
                    <a:gd name="T49" fmla="*/ 0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48" h="27">
                      <a:moveTo>
                        <a:pt x="2" y="0"/>
                      </a:moveTo>
                      <a:lnTo>
                        <a:pt x="13" y="1"/>
                      </a:lnTo>
                      <a:lnTo>
                        <a:pt x="15" y="1"/>
                      </a:lnTo>
                      <a:lnTo>
                        <a:pt x="40" y="4"/>
                      </a:lnTo>
                      <a:lnTo>
                        <a:pt x="44" y="5"/>
                      </a:lnTo>
                      <a:lnTo>
                        <a:pt x="47" y="8"/>
                      </a:lnTo>
                      <a:lnTo>
                        <a:pt x="48" y="13"/>
                      </a:lnTo>
                      <a:lnTo>
                        <a:pt x="48" y="17"/>
                      </a:lnTo>
                      <a:lnTo>
                        <a:pt x="47" y="21"/>
                      </a:lnTo>
                      <a:lnTo>
                        <a:pt x="44" y="24"/>
                      </a:lnTo>
                      <a:lnTo>
                        <a:pt x="40" y="27"/>
                      </a:lnTo>
                      <a:lnTo>
                        <a:pt x="35" y="27"/>
                      </a:lnTo>
                      <a:lnTo>
                        <a:pt x="11" y="23"/>
                      </a:lnTo>
                      <a:lnTo>
                        <a:pt x="11" y="20"/>
                      </a:lnTo>
                      <a:lnTo>
                        <a:pt x="9" y="18"/>
                      </a:lnTo>
                      <a:lnTo>
                        <a:pt x="8" y="16"/>
                      </a:lnTo>
                      <a:lnTo>
                        <a:pt x="5" y="16"/>
                      </a:lnTo>
                      <a:lnTo>
                        <a:pt x="2" y="14"/>
                      </a:lnTo>
                      <a:lnTo>
                        <a:pt x="2" y="13"/>
                      </a:lnTo>
                      <a:lnTo>
                        <a:pt x="2" y="10"/>
                      </a:lnTo>
                      <a:lnTo>
                        <a:pt x="2" y="5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2" y="1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DEB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07" name="Freeform 295"/>
                <p:cNvSpPr>
                  <a:spLocks/>
                </p:cNvSpPr>
                <p:nvPr/>
              </p:nvSpPr>
              <p:spPr bwMode="auto">
                <a:xfrm>
                  <a:off x="5405439" y="4129088"/>
                  <a:ext cx="76200" cy="46038"/>
                </a:xfrm>
                <a:custGeom>
                  <a:avLst/>
                  <a:gdLst>
                    <a:gd name="T0" fmla="*/ 0 w 48"/>
                    <a:gd name="T1" fmla="*/ 0 h 29"/>
                    <a:gd name="T2" fmla="*/ 13 w 48"/>
                    <a:gd name="T3" fmla="*/ 2 h 29"/>
                    <a:gd name="T4" fmla="*/ 13 w 48"/>
                    <a:gd name="T5" fmla="*/ 2 h 29"/>
                    <a:gd name="T6" fmla="*/ 13 w 48"/>
                    <a:gd name="T7" fmla="*/ 2 h 29"/>
                    <a:gd name="T8" fmla="*/ 38 w 48"/>
                    <a:gd name="T9" fmla="*/ 6 h 29"/>
                    <a:gd name="T10" fmla="*/ 42 w 48"/>
                    <a:gd name="T11" fmla="*/ 7 h 29"/>
                    <a:gd name="T12" fmla="*/ 45 w 48"/>
                    <a:gd name="T13" fmla="*/ 10 h 29"/>
                    <a:gd name="T14" fmla="*/ 48 w 48"/>
                    <a:gd name="T15" fmla="*/ 15 h 29"/>
                    <a:gd name="T16" fmla="*/ 48 w 48"/>
                    <a:gd name="T17" fmla="*/ 19 h 29"/>
                    <a:gd name="T18" fmla="*/ 46 w 48"/>
                    <a:gd name="T19" fmla="*/ 23 h 29"/>
                    <a:gd name="T20" fmla="*/ 42 w 48"/>
                    <a:gd name="T21" fmla="*/ 28 h 29"/>
                    <a:gd name="T22" fmla="*/ 38 w 48"/>
                    <a:gd name="T23" fmla="*/ 29 h 29"/>
                    <a:gd name="T24" fmla="*/ 33 w 48"/>
                    <a:gd name="T25" fmla="*/ 29 h 29"/>
                    <a:gd name="T26" fmla="*/ 9 w 48"/>
                    <a:gd name="T27" fmla="*/ 26 h 29"/>
                    <a:gd name="T28" fmla="*/ 9 w 48"/>
                    <a:gd name="T29" fmla="*/ 25 h 29"/>
                    <a:gd name="T30" fmla="*/ 33 w 48"/>
                    <a:gd name="T31" fmla="*/ 29 h 29"/>
                    <a:gd name="T32" fmla="*/ 38 w 48"/>
                    <a:gd name="T33" fmla="*/ 28 h 29"/>
                    <a:gd name="T34" fmla="*/ 42 w 48"/>
                    <a:gd name="T35" fmla="*/ 26 h 29"/>
                    <a:gd name="T36" fmla="*/ 45 w 48"/>
                    <a:gd name="T37" fmla="*/ 23 h 29"/>
                    <a:gd name="T38" fmla="*/ 46 w 48"/>
                    <a:gd name="T39" fmla="*/ 19 h 29"/>
                    <a:gd name="T40" fmla="*/ 46 w 48"/>
                    <a:gd name="T41" fmla="*/ 15 h 29"/>
                    <a:gd name="T42" fmla="*/ 45 w 48"/>
                    <a:gd name="T43" fmla="*/ 12 h 29"/>
                    <a:gd name="T44" fmla="*/ 41 w 48"/>
                    <a:gd name="T45" fmla="*/ 9 h 29"/>
                    <a:gd name="T46" fmla="*/ 38 w 48"/>
                    <a:gd name="T47" fmla="*/ 7 h 29"/>
                    <a:gd name="T48" fmla="*/ 0 w 48"/>
                    <a:gd name="T49" fmla="*/ 2 h 29"/>
                    <a:gd name="T50" fmla="*/ 0 w 48"/>
                    <a:gd name="T51" fmla="*/ 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48" h="29">
                      <a:moveTo>
                        <a:pt x="0" y="0"/>
                      </a:moveTo>
                      <a:lnTo>
                        <a:pt x="13" y="2"/>
                      </a:lnTo>
                      <a:lnTo>
                        <a:pt x="13" y="2"/>
                      </a:lnTo>
                      <a:lnTo>
                        <a:pt x="13" y="2"/>
                      </a:lnTo>
                      <a:lnTo>
                        <a:pt x="38" y="6"/>
                      </a:lnTo>
                      <a:lnTo>
                        <a:pt x="42" y="7"/>
                      </a:lnTo>
                      <a:lnTo>
                        <a:pt x="45" y="10"/>
                      </a:lnTo>
                      <a:lnTo>
                        <a:pt x="48" y="15"/>
                      </a:lnTo>
                      <a:lnTo>
                        <a:pt x="48" y="19"/>
                      </a:lnTo>
                      <a:lnTo>
                        <a:pt x="46" y="23"/>
                      </a:lnTo>
                      <a:lnTo>
                        <a:pt x="42" y="28"/>
                      </a:lnTo>
                      <a:lnTo>
                        <a:pt x="38" y="29"/>
                      </a:lnTo>
                      <a:lnTo>
                        <a:pt x="33" y="29"/>
                      </a:lnTo>
                      <a:lnTo>
                        <a:pt x="9" y="26"/>
                      </a:lnTo>
                      <a:lnTo>
                        <a:pt x="9" y="25"/>
                      </a:lnTo>
                      <a:lnTo>
                        <a:pt x="33" y="29"/>
                      </a:lnTo>
                      <a:lnTo>
                        <a:pt x="38" y="28"/>
                      </a:lnTo>
                      <a:lnTo>
                        <a:pt x="42" y="26"/>
                      </a:lnTo>
                      <a:lnTo>
                        <a:pt x="45" y="23"/>
                      </a:lnTo>
                      <a:lnTo>
                        <a:pt x="46" y="19"/>
                      </a:lnTo>
                      <a:lnTo>
                        <a:pt x="46" y="15"/>
                      </a:lnTo>
                      <a:lnTo>
                        <a:pt x="45" y="12"/>
                      </a:lnTo>
                      <a:lnTo>
                        <a:pt x="41" y="9"/>
                      </a:lnTo>
                      <a:lnTo>
                        <a:pt x="38" y="7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DEB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08" name="Freeform 296"/>
                <p:cNvSpPr>
                  <a:spLocks/>
                </p:cNvSpPr>
                <p:nvPr/>
              </p:nvSpPr>
              <p:spPr bwMode="auto">
                <a:xfrm>
                  <a:off x="5427664" y="4143376"/>
                  <a:ext cx="4763" cy="17463"/>
                </a:xfrm>
                <a:custGeom>
                  <a:avLst/>
                  <a:gdLst>
                    <a:gd name="T0" fmla="*/ 3 w 3"/>
                    <a:gd name="T1" fmla="*/ 0 h 11"/>
                    <a:gd name="T2" fmla="*/ 3 w 3"/>
                    <a:gd name="T3" fmla="*/ 0 h 11"/>
                    <a:gd name="T4" fmla="*/ 2 w 3"/>
                    <a:gd name="T5" fmla="*/ 10 h 11"/>
                    <a:gd name="T6" fmla="*/ 2 w 3"/>
                    <a:gd name="T7" fmla="*/ 11 h 11"/>
                    <a:gd name="T8" fmla="*/ 0 w 3"/>
                    <a:gd name="T9" fmla="*/ 10 h 11"/>
                    <a:gd name="T10" fmla="*/ 3 w 3"/>
                    <a:gd name="T11" fmla="*/ 0 h 11"/>
                    <a:gd name="T12" fmla="*/ 3 w 3"/>
                    <a:gd name="T13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" h="11">
                      <a:moveTo>
                        <a:pt x="3" y="0"/>
                      </a:moveTo>
                      <a:lnTo>
                        <a:pt x="3" y="0"/>
                      </a:lnTo>
                      <a:lnTo>
                        <a:pt x="2" y="10"/>
                      </a:lnTo>
                      <a:lnTo>
                        <a:pt x="2" y="11"/>
                      </a:lnTo>
                      <a:lnTo>
                        <a:pt x="0" y="10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DEB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09" name="Freeform 297"/>
                <p:cNvSpPr>
                  <a:spLocks/>
                </p:cNvSpPr>
                <p:nvPr/>
              </p:nvSpPr>
              <p:spPr bwMode="auto">
                <a:xfrm>
                  <a:off x="5391151" y="4133851"/>
                  <a:ext cx="19050" cy="26988"/>
                </a:xfrm>
                <a:custGeom>
                  <a:avLst/>
                  <a:gdLst>
                    <a:gd name="T0" fmla="*/ 7 w 12"/>
                    <a:gd name="T1" fmla="*/ 0 h 17"/>
                    <a:gd name="T2" fmla="*/ 10 w 12"/>
                    <a:gd name="T3" fmla="*/ 1 h 17"/>
                    <a:gd name="T4" fmla="*/ 12 w 12"/>
                    <a:gd name="T5" fmla="*/ 3 h 17"/>
                    <a:gd name="T6" fmla="*/ 12 w 12"/>
                    <a:gd name="T7" fmla="*/ 6 h 17"/>
                    <a:gd name="T8" fmla="*/ 10 w 12"/>
                    <a:gd name="T9" fmla="*/ 13 h 17"/>
                    <a:gd name="T10" fmla="*/ 9 w 12"/>
                    <a:gd name="T11" fmla="*/ 16 h 17"/>
                    <a:gd name="T12" fmla="*/ 7 w 12"/>
                    <a:gd name="T13" fmla="*/ 17 h 17"/>
                    <a:gd name="T14" fmla="*/ 4 w 12"/>
                    <a:gd name="T15" fmla="*/ 17 h 17"/>
                    <a:gd name="T16" fmla="*/ 3 w 12"/>
                    <a:gd name="T17" fmla="*/ 16 h 17"/>
                    <a:gd name="T18" fmla="*/ 2 w 12"/>
                    <a:gd name="T19" fmla="*/ 15 h 17"/>
                    <a:gd name="T20" fmla="*/ 0 w 12"/>
                    <a:gd name="T21" fmla="*/ 12 h 17"/>
                    <a:gd name="T22" fmla="*/ 2 w 12"/>
                    <a:gd name="T23" fmla="*/ 4 h 17"/>
                    <a:gd name="T24" fmla="*/ 3 w 12"/>
                    <a:gd name="T25" fmla="*/ 1 h 17"/>
                    <a:gd name="T26" fmla="*/ 4 w 12"/>
                    <a:gd name="T27" fmla="*/ 0 h 17"/>
                    <a:gd name="T28" fmla="*/ 7 w 12"/>
                    <a:gd name="T29" fmla="*/ 0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2" h="17">
                      <a:moveTo>
                        <a:pt x="7" y="0"/>
                      </a:moveTo>
                      <a:lnTo>
                        <a:pt x="10" y="1"/>
                      </a:lnTo>
                      <a:lnTo>
                        <a:pt x="12" y="3"/>
                      </a:lnTo>
                      <a:lnTo>
                        <a:pt x="12" y="6"/>
                      </a:lnTo>
                      <a:lnTo>
                        <a:pt x="10" y="13"/>
                      </a:lnTo>
                      <a:lnTo>
                        <a:pt x="9" y="16"/>
                      </a:lnTo>
                      <a:lnTo>
                        <a:pt x="7" y="17"/>
                      </a:lnTo>
                      <a:lnTo>
                        <a:pt x="4" y="17"/>
                      </a:lnTo>
                      <a:lnTo>
                        <a:pt x="3" y="16"/>
                      </a:lnTo>
                      <a:lnTo>
                        <a:pt x="2" y="15"/>
                      </a:lnTo>
                      <a:lnTo>
                        <a:pt x="0" y="12"/>
                      </a:lnTo>
                      <a:lnTo>
                        <a:pt x="2" y="4"/>
                      </a:lnTo>
                      <a:lnTo>
                        <a:pt x="3" y="1"/>
                      </a:lnTo>
                      <a:lnTo>
                        <a:pt x="4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0D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10" name="Freeform 298"/>
                <p:cNvSpPr>
                  <a:spLocks/>
                </p:cNvSpPr>
                <p:nvPr/>
              </p:nvSpPr>
              <p:spPr bwMode="auto">
                <a:xfrm>
                  <a:off x="5400676" y="4178301"/>
                  <a:ext cx="61913" cy="31750"/>
                </a:xfrm>
                <a:custGeom>
                  <a:avLst/>
                  <a:gdLst>
                    <a:gd name="T0" fmla="*/ 9 w 39"/>
                    <a:gd name="T1" fmla="*/ 0 h 20"/>
                    <a:gd name="T2" fmla="*/ 26 w 39"/>
                    <a:gd name="T3" fmla="*/ 1 h 20"/>
                    <a:gd name="T4" fmla="*/ 26 w 39"/>
                    <a:gd name="T5" fmla="*/ 1 h 20"/>
                    <a:gd name="T6" fmla="*/ 38 w 39"/>
                    <a:gd name="T7" fmla="*/ 2 h 20"/>
                    <a:gd name="T8" fmla="*/ 38 w 39"/>
                    <a:gd name="T9" fmla="*/ 7 h 20"/>
                    <a:gd name="T10" fmla="*/ 39 w 39"/>
                    <a:gd name="T11" fmla="*/ 10 h 20"/>
                    <a:gd name="T12" fmla="*/ 39 w 39"/>
                    <a:gd name="T13" fmla="*/ 11 h 20"/>
                    <a:gd name="T14" fmla="*/ 39 w 39"/>
                    <a:gd name="T15" fmla="*/ 13 h 20"/>
                    <a:gd name="T16" fmla="*/ 38 w 39"/>
                    <a:gd name="T17" fmla="*/ 14 h 20"/>
                    <a:gd name="T18" fmla="*/ 36 w 39"/>
                    <a:gd name="T19" fmla="*/ 16 h 20"/>
                    <a:gd name="T20" fmla="*/ 35 w 39"/>
                    <a:gd name="T21" fmla="*/ 17 h 20"/>
                    <a:gd name="T22" fmla="*/ 33 w 39"/>
                    <a:gd name="T23" fmla="*/ 20 h 20"/>
                    <a:gd name="T24" fmla="*/ 28 w 39"/>
                    <a:gd name="T25" fmla="*/ 18 h 20"/>
                    <a:gd name="T26" fmla="*/ 28 w 39"/>
                    <a:gd name="T27" fmla="*/ 18 h 20"/>
                    <a:gd name="T28" fmla="*/ 7 w 39"/>
                    <a:gd name="T29" fmla="*/ 16 h 20"/>
                    <a:gd name="T30" fmla="*/ 4 w 39"/>
                    <a:gd name="T31" fmla="*/ 16 h 20"/>
                    <a:gd name="T32" fmla="*/ 1 w 39"/>
                    <a:gd name="T33" fmla="*/ 13 h 20"/>
                    <a:gd name="T34" fmla="*/ 1 w 39"/>
                    <a:gd name="T35" fmla="*/ 10 h 20"/>
                    <a:gd name="T36" fmla="*/ 0 w 39"/>
                    <a:gd name="T37" fmla="*/ 7 h 20"/>
                    <a:gd name="T38" fmla="*/ 1 w 39"/>
                    <a:gd name="T39" fmla="*/ 4 h 20"/>
                    <a:gd name="T40" fmla="*/ 3 w 39"/>
                    <a:gd name="T41" fmla="*/ 1 h 20"/>
                    <a:gd name="T42" fmla="*/ 6 w 39"/>
                    <a:gd name="T43" fmla="*/ 0 h 20"/>
                    <a:gd name="T44" fmla="*/ 9 w 39"/>
                    <a:gd name="T45" fmla="*/ 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39" h="20">
                      <a:moveTo>
                        <a:pt x="9" y="0"/>
                      </a:moveTo>
                      <a:lnTo>
                        <a:pt x="26" y="1"/>
                      </a:lnTo>
                      <a:lnTo>
                        <a:pt x="26" y="1"/>
                      </a:lnTo>
                      <a:lnTo>
                        <a:pt x="38" y="2"/>
                      </a:lnTo>
                      <a:lnTo>
                        <a:pt x="38" y="7"/>
                      </a:lnTo>
                      <a:lnTo>
                        <a:pt x="39" y="10"/>
                      </a:lnTo>
                      <a:lnTo>
                        <a:pt x="39" y="11"/>
                      </a:lnTo>
                      <a:lnTo>
                        <a:pt x="39" y="13"/>
                      </a:lnTo>
                      <a:lnTo>
                        <a:pt x="38" y="14"/>
                      </a:lnTo>
                      <a:lnTo>
                        <a:pt x="36" y="16"/>
                      </a:lnTo>
                      <a:lnTo>
                        <a:pt x="35" y="17"/>
                      </a:lnTo>
                      <a:lnTo>
                        <a:pt x="33" y="20"/>
                      </a:lnTo>
                      <a:lnTo>
                        <a:pt x="28" y="18"/>
                      </a:lnTo>
                      <a:lnTo>
                        <a:pt x="28" y="18"/>
                      </a:lnTo>
                      <a:lnTo>
                        <a:pt x="7" y="16"/>
                      </a:lnTo>
                      <a:lnTo>
                        <a:pt x="4" y="16"/>
                      </a:lnTo>
                      <a:lnTo>
                        <a:pt x="1" y="13"/>
                      </a:lnTo>
                      <a:lnTo>
                        <a:pt x="1" y="10"/>
                      </a:lnTo>
                      <a:lnTo>
                        <a:pt x="0" y="7"/>
                      </a:lnTo>
                      <a:lnTo>
                        <a:pt x="1" y="4"/>
                      </a:lnTo>
                      <a:lnTo>
                        <a:pt x="3" y="1"/>
                      </a:lnTo>
                      <a:lnTo>
                        <a:pt x="6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solidFill>
                  <a:srgbClr val="FFDEB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11" name="Freeform 299"/>
                <p:cNvSpPr>
                  <a:spLocks/>
                </p:cNvSpPr>
                <p:nvPr/>
              </p:nvSpPr>
              <p:spPr bwMode="auto">
                <a:xfrm>
                  <a:off x="5400676" y="4175126"/>
                  <a:ext cx="55563" cy="34925"/>
                </a:xfrm>
                <a:custGeom>
                  <a:avLst/>
                  <a:gdLst>
                    <a:gd name="T0" fmla="*/ 10 w 35"/>
                    <a:gd name="T1" fmla="*/ 0 h 22"/>
                    <a:gd name="T2" fmla="*/ 26 w 35"/>
                    <a:gd name="T3" fmla="*/ 3 h 22"/>
                    <a:gd name="T4" fmla="*/ 26 w 35"/>
                    <a:gd name="T5" fmla="*/ 3 h 22"/>
                    <a:gd name="T6" fmla="*/ 26 w 35"/>
                    <a:gd name="T7" fmla="*/ 3 h 22"/>
                    <a:gd name="T8" fmla="*/ 33 w 35"/>
                    <a:gd name="T9" fmla="*/ 4 h 22"/>
                    <a:gd name="T10" fmla="*/ 35 w 35"/>
                    <a:gd name="T11" fmla="*/ 6 h 22"/>
                    <a:gd name="T12" fmla="*/ 9 w 35"/>
                    <a:gd name="T13" fmla="*/ 2 h 22"/>
                    <a:gd name="T14" fmla="*/ 6 w 35"/>
                    <a:gd name="T15" fmla="*/ 3 h 22"/>
                    <a:gd name="T16" fmla="*/ 3 w 35"/>
                    <a:gd name="T17" fmla="*/ 4 h 22"/>
                    <a:gd name="T18" fmla="*/ 1 w 35"/>
                    <a:gd name="T19" fmla="*/ 9 h 22"/>
                    <a:gd name="T20" fmla="*/ 1 w 35"/>
                    <a:gd name="T21" fmla="*/ 12 h 22"/>
                    <a:gd name="T22" fmla="*/ 3 w 35"/>
                    <a:gd name="T23" fmla="*/ 15 h 22"/>
                    <a:gd name="T24" fmla="*/ 4 w 35"/>
                    <a:gd name="T25" fmla="*/ 16 h 22"/>
                    <a:gd name="T26" fmla="*/ 7 w 35"/>
                    <a:gd name="T27" fmla="*/ 18 h 22"/>
                    <a:gd name="T28" fmla="*/ 33 w 35"/>
                    <a:gd name="T29" fmla="*/ 20 h 22"/>
                    <a:gd name="T30" fmla="*/ 33 w 35"/>
                    <a:gd name="T31" fmla="*/ 22 h 22"/>
                    <a:gd name="T32" fmla="*/ 7 w 35"/>
                    <a:gd name="T33" fmla="*/ 19 h 22"/>
                    <a:gd name="T34" fmla="*/ 4 w 35"/>
                    <a:gd name="T35" fmla="*/ 18 h 22"/>
                    <a:gd name="T36" fmla="*/ 1 w 35"/>
                    <a:gd name="T37" fmla="*/ 16 h 22"/>
                    <a:gd name="T38" fmla="*/ 0 w 35"/>
                    <a:gd name="T39" fmla="*/ 12 h 22"/>
                    <a:gd name="T40" fmla="*/ 0 w 35"/>
                    <a:gd name="T41" fmla="*/ 9 h 22"/>
                    <a:gd name="T42" fmla="*/ 1 w 35"/>
                    <a:gd name="T43" fmla="*/ 6 h 22"/>
                    <a:gd name="T44" fmla="*/ 3 w 35"/>
                    <a:gd name="T45" fmla="*/ 3 h 22"/>
                    <a:gd name="T46" fmla="*/ 6 w 35"/>
                    <a:gd name="T47" fmla="*/ 2 h 22"/>
                    <a:gd name="T48" fmla="*/ 10 w 35"/>
                    <a:gd name="T49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35" h="22">
                      <a:moveTo>
                        <a:pt x="10" y="0"/>
                      </a:moveTo>
                      <a:lnTo>
                        <a:pt x="26" y="3"/>
                      </a:lnTo>
                      <a:lnTo>
                        <a:pt x="26" y="3"/>
                      </a:lnTo>
                      <a:lnTo>
                        <a:pt x="26" y="3"/>
                      </a:lnTo>
                      <a:lnTo>
                        <a:pt x="33" y="4"/>
                      </a:lnTo>
                      <a:lnTo>
                        <a:pt x="35" y="6"/>
                      </a:lnTo>
                      <a:lnTo>
                        <a:pt x="9" y="2"/>
                      </a:lnTo>
                      <a:lnTo>
                        <a:pt x="6" y="3"/>
                      </a:lnTo>
                      <a:lnTo>
                        <a:pt x="3" y="4"/>
                      </a:lnTo>
                      <a:lnTo>
                        <a:pt x="1" y="9"/>
                      </a:lnTo>
                      <a:lnTo>
                        <a:pt x="1" y="12"/>
                      </a:lnTo>
                      <a:lnTo>
                        <a:pt x="3" y="15"/>
                      </a:lnTo>
                      <a:lnTo>
                        <a:pt x="4" y="16"/>
                      </a:lnTo>
                      <a:lnTo>
                        <a:pt x="7" y="18"/>
                      </a:lnTo>
                      <a:lnTo>
                        <a:pt x="33" y="20"/>
                      </a:lnTo>
                      <a:lnTo>
                        <a:pt x="33" y="22"/>
                      </a:lnTo>
                      <a:lnTo>
                        <a:pt x="7" y="19"/>
                      </a:lnTo>
                      <a:lnTo>
                        <a:pt x="4" y="18"/>
                      </a:lnTo>
                      <a:lnTo>
                        <a:pt x="1" y="16"/>
                      </a:lnTo>
                      <a:lnTo>
                        <a:pt x="0" y="12"/>
                      </a:lnTo>
                      <a:lnTo>
                        <a:pt x="0" y="9"/>
                      </a:lnTo>
                      <a:lnTo>
                        <a:pt x="1" y="6"/>
                      </a:lnTo>
                      <a:lnTo>
                        <a:pt x="3" y="3"/>
                      </a:lnTo>
                      <a:lnTo>
                        <a:pt x="6" y="2"/>
                      </a:lnTo>
                      <a:lnTo>
                        <a:pt x="10" y="0"/>
                      </a:lnTo>
                      <a:close/>
                    </a:path>
                  </a:pathLst>
                </a:custGeom>
                <a:solidFill>
                  <a:srgbClr val="FFDEB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12" name="Freeform 300"/>
                <p:cNvSpPr>
                  <a:spLocks/>
                </p:cNvSpPr>
                <p:nvPr/>
              </p:nvSpPr>
              <p:spPr bwMode="auto">
                <a:xfrm>
                  <a:off x="5411789" y="4178301"/>
                  <a:ext cx="58738" cy="31750"/>
                </a:xfrm>
                <a:custGeom>
                  <a:avLst/>
                  <a:gdLst>
                    <a:gd name="T0" fmla="*/ 3 w 37"/>
                    <a:gd name="T1" fmla="*/ 0 h 20"/>
                    <a:gd name="T2" fmla="*/ 15 w 37"/>
                    <a:gd name="T3" fmla="*/ 1 h 20"/>
                    <a:gd name="T4" fmla="*/ 15 w 37"/>
                    <a:gd name="T5" fmla="*/ 1 h 20"/>
                    <a:gd name="T6" fmla="*/ 31 w 37"/>
                    <a:gd name="T7" fmla="*/ 2 h 20"/>
                    <a:gd name="T8" fmla="*/ 34 w 37"/>
                    <a:gd name="T9" fmla="*/ 4 h 20"/>
                    <a:gd name="T10" fmla="*/ 35 w 37"/>
                    <a:gd name="T11" fmla="*/ 7 h 20"/>
                    <a:gd name="T12" fmla="*/ 37 w 37"/>
                    <a:gd name="T13" fmla="*/ 10 h 20"/>
                    <a:gd name="T14" fmla="*/ 37 w 37"/>
                    <a:gd name="T15" fmla="*/ 13 h 20"/>
                    <a:gd name="T16" fmla="*/ 37 w 37"/>
                    <a:gd name="T17" fmla="*/ 16 h 20"/>
                    <a:gd name="T18" fmla="*/ 34 w 37"/>
                    <a:gd name="T19" fmla="*/ 18 h 20"/>
                    <a:gd name="T20" fmla="*/ 31 w 37"/>
                    <a:gd name="T21" fmla="*/ 20 h 20"/>
                    <a:gd name="T22" fmla="*/ 28 w 37"/>
                    <a:gd name="T23" fmla="*/ 20 h 20"/>
                    <a:gd name="T24" fmla="*/ 9 w 37"/>
                    <a:gd name="T25" fmla="*/ 17 h 20"/>
                    <a:gd name="T26" fmla="*/ 6 w 37"/>
                    <a:gd name="T27" fmla="*/ 16 h 20"/>
                    <a:gd name="T28" fmla="*/ 3 w 37"/>
                    <a:gd name="T29" fmla="*/ 13 h 20"/>
                    <a:gd name="T30" fmla="*/ 2 w 37"/>
                    <a:gd name="T31" fmla="*/ 11 h 20"/>
                    <a:gd name="T32" fmla="*/ 2 w 37"/>
                    <a:gd name="T33" fmla="*/ 8 h 20"/>
                    <a:gd name="T34" fmla="*/ 2 w 37"/>
                    <a:gd name="T35" fmla="*/ 5 h 20"/>
                    <a:gd name="T36" fmla="*/ 2 w 37"/>
                    <a:gd name="T37" fmla="*/ 2 h 20"/>
                    <a:gd name="T38" fmla="*/ 0 w 37"/>
                    <a:gd name="T39" fmla="*/ 1 h 20"/>
                    <a:gd name="T40" fmla="*/ 3 w 37"/>
                    <a:gd name="T41" fmla="*/ 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7" h="20">
                      <a:moveTo>
                        <a:pt x="3" y="0"/>
                      </a:moveTo>
                      <a:lnTo>
                        <a:pt x="15" y="1"/>
                      </a:lnTo>
                      <a:lnTo>
                        <a:pt x="15" y="1"/>
                      </a:lnTo>
                      <a:lnTo>
                        <a:pt x="31" y="2"/>
                      </a:lnTo>
                      <a:lnTo>
                        <a:pt x="34" y="4"/>
                      </a:lnTo>
                      <a:lnTo>
                        <a:pt x="35" y="7"/>
                      </a:lnTo>
                      <a:lnTo>
                        <a:pt x="37" y="10"/>
                      </a:lnTo>
                      <a:lnTo>
                        <a:pt x="37" y="13"/>
                      </a:lnTo>
                      <a:lnTo>
                        <a:pt x="37" y="16"/>
                      </a:lnTo>
                      <a:lnTo>
                        <a:pt x="34" y="18"/>
                      </a:lnTo>
                      <a:lnTo>
                        <a:pt x="31" y="20"/>
                      </a:lnTo>
                      <a:lnTo>
                        <a:pt x="28" y="20"/>
                      </a:lnTo>
                      <a:lnTo>
                        <a:pt x="9" y="17"/>
                      </a:lnTo>
                      <a:lnTo>
                        <a:pt x="6" y="16"/>
                      </a:lnTo>
                      <a:lnTo>
                        <a:pt x="3" y="13"/>
                      </a:lnTo>
                      <a:lnTo>
                        <a:pt x="2" y="11"/>
                      </a:lnTo>
                      <a:lnTo>
                        <a:pt x="2" y="8"/>
                      </a:lnTo>
                      <a:lnTo>
                        <a:pt x="2" y="5"/>
                      </a:lnTo>
                      <a:lnTo>
                        <a:pt x="2" y="2"/>
                      </a:lnTo>
                      <a:lnTo>
                        <a:pt x="0" y="1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DEB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13" name="Freeform 301"/>
                <p:cNvSpPr>
                  <a:spLocks/>
                </p:cNvSpPr>
                <p:nvPr/>
              </p:nvSpPr>
              <p:spPr bwMode="auto">
                <a:xfrm>
                  <a:off x="5416551" y="4178301"/>
                  <a:ext cx="55563" cy="33338"/>
                </a:xfrm>
                <a:custGeom>
                  <a:avLst/>
                  <a:gdLst>
                    <a:gd name="T0" fmla="*/ 2 w 35"/>
                    <a:gd name="T1" fmla="*/ 0 h 21"/>
                    <a:gd name="T2" fmla="*/ 12 w 35"/>
                    <a:gd name="T3" fmla="*/ 1 h 21"/>
                    <a:gd name="T4" fmla="*/ 12 w 35"/>
                    <a:gd name="T5" fmla="*/ 1 h 21"/>
                    <a:gd name="T6" fmla="*/ 12 w 35"/>
                    <a:gd name="T7" fmla="*/ 1 h 21"/>
                    <a:gd name="T8" fmla="*/ 28 w 35"/>
                    <a:gd name="T9" fmla="*/ 2 h 21"/>
                    <a:gd name="T10" fmla="*/ 31 w 35"/>
                    <a:gd name="T11" fmla="*/ 4 h 21"/>
                    <a:gd name="T12" fmla="*/ 34 w 35"/>
                    <a:gd name="T13" fmla="*/ 5 h 21"/>
                    <a:gd name="T14" fmla="*/ 35 w 35"/>
                    <a:gd name="T15" fmla="*/ 10 h 21"/>
                    <a:gd name="T16" fmla="*/ 35 w 35"/>
                    <a:gd name="T17" fmla="*/ 13 h 21"/>
                    <a:gd name="T18" fmla="*/ 34 w 35"/>
                    <a:gd name="T19" fmla="*/ 16 h 21"/>
                    <a:gd name="T20" fmla="*/ 31 w 35"/>
                    <a:gd name="T21" fmla="*/ 18 h 21"/>
                    <a:gd name="T22" fmla="*/ 28 w 35"/>
                    <a:gd name="T23" fmla="*/ 20 h 21"/>
                    <a:gd name="T24" fmla="*/ 25 w 35"/>
                    <a:gd name="T25" fmla="*/ 21 h 21"/>
                    <a:gd name="T26" fmla="*/ 7 w 35"/>
                    <a:gd name="T27" fmla="*/ 18 h 21"/>
                    <a:gd name="T28" fmla="*/ 6 w 35"/>
                    <a:gd name="T29" fmla="*/ 17 h 21"/>
                    <a:gd name="T30" fmla="*/ 4 w 35"/>
                    <a:gd name="T31" fmla="*/ 17 h 21"/>
                    <a:gd name="T32" fmla="*/ 25 w 35"/>
                    <a:gd name="T33" fmla="*/ 20 h 21"/>
                    <a:gd name="T34" fmla="*/ 29 w 35"/>
                    <a:gd name="T35" fmla="*/ 18 h 21"/>
                    <a:gd name="T36" fmla="*/ 32 w 35"/>
                    <a:gd name="T37" fmla="*/ 17 h 21"/>
                    <a:gd name="T38" fmla="*/ 34 w 35"/>
                    <a:gd name="T39" fmla="*/ 13 h 21"/>
                    <a:gd name="T40" fmla="*/ 34 w 35"/>
                    <a:gd name="T41" fmla="*/ 10 h 21"/>
                    <a:gd name="T42" fmla="*/ 32 w 35"/>
                    <a:gd name="T43" fmla="*/ 7 h 21"/>
                    <a:gd name="T44" fmla="*/ 31 w 35"/>
                    <a:gd name="T45" fmla="*/ 5 h 21"/>
                    <a:gd name="T46" fmla="*/ 28 w 35"/>
                    <a:gd name="T47" fmla="*/ 4 h 21"/>
                    <a:gd name="T48" fmla="*/ 0 w 35"/>
                    <a:gd name="T49" fmla="*/ 0 h 21"/>
                    <a:gd name="T50" fmla="*/ 2 w 35"/>
                    <a:gd name="T51" fmla="*/ 0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35" h="21">
                      <a:moveTo>
                        <a:pt x="2" y="0"/>
                      </a:moveTo>
                      <a:lnTo>
                        <a:pt x="12" y="1"/>
                      </a:lnTo>
                      <a:lnTo>
                        <a:pt x="12" y="1"/>
                      </a:lnTo>
                      <a:lnTo>
                        <a:pt x="12" y="1"/>
                      </a:lnTo>
                      <a:lnTo>
                        <a:pt x="28" y="2"/>
                      </a:lnTo>
                      <a:lnTo>
                        <a:pt x="31" y="4"/>
                      </a:lnTo>
                      <a:lnTo>
                        <a:pt x="34" y="5"/>
                      </a:lnTo>
                      <a:lnTo>
                        <a:pt x="35" y="10"/>
                      </a:lnTo>
                      <a:lnTo>
                        <a:pt x="35" y="13"/>
                      </a:lnTo>
                      <a:lnTo>
                        <a:pt x="34" y="16"/>
                      </a:lnTo>
                      <a:lnTo>
                        <a:pt x="31" y="18"/>
                      </a:lnTo>
                      <a:lnTo>
                        <a:pt x="28" y="20"/>
                      </a:lnTo>
                      <a:lnTo>
                        <a:pt x="25" y="21"/>
                      </a:lnTo>
                      <a:lnTo>
                        <a:pt x="7" y="18"/>
                      </a:lnTo>
                      <a:lnTo>
                        <a:pt x="6" y="17"/>
                      </a:lnTo>
                      <a:lnTo>
                        <a:pt x="4" y="17"/>
                      </a:lnTo>
                      <a:lnTo>
                        <a:pt x="25" y="20"/>
                      </a:lnTo>
                      <a:lnTo>
                        <a:pt x="29" y="18"/>
                      </a:lnTo>
                      <a:lnTo>
                        <a:pt x="32" y="17"/>
                      </a:lnTo>
                      <a:lnTo>
                        <a:pt x="34" y="13"/>
                      </a:lnTo>
                      <a:lnTo>
                        <a:pt x="34" y="10"/>
                      </a:lnTo>
                      <a:lnTo>
                        <a:pt x="32" y="7"/>
                      </a:lnTo>
                      <a:lnTo>
                        <a:pt x="31" y="5"/>
                      </a:lnTo>
                      <a:lnTo>
                        <a:pt x="28" y="4"/>
                      </a:lnTo>
                      <a:lnTo>
                        <a:pt x="0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DEB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14" name="Freeform 302"/>
                <p:cNvSpPr>
                  <a:spLocks/>
                </p:cNvSpPr>
                <p:nvPr/>
              </p:nvSpPr>
              <p:spPr bwMode="auto">
                <a:xfrm>
                  <a:off x="5446714" y="4189413"/>
                  <a:ext cx="4763" cy="15875"/>
                </a:xfrm>
                <a:custGeom>
                  <a:avLst/>
                  <a:gdLst>
                    <a:gd name="T0" fmla="*/ 1 w 3"/>
                    <a:gd name="T1" fmla="*/ 0 h 10"/>
                    <a:gd name="T2" fmla="*/ 3 w 3"/>
                    <a:gd name="T3" fmla="*/ 0 h 10"/>
                    <a:gd name="T4" fmla="*/ 1 w 3"/>
                    <a:gd name="T5" fmla="*/ 10 h 10"/>
                    <a:gd name="T6" fmla="*/ 0 w 3"/>
                    <a:gd name="T7" fmla="*/ 10 h 10"/>
                    <a:gd name="T8" fmla="*/ 0 w 3"/>
                    <a:gd name="T9" fmla="*/ 10 h 10"/>
                    <a:gd name="T10" fmla="*/ 1 w 3"/>
                    <a:gd name="T11" fmla="*/ 0 h 10"/>
                    <a:gd name="T12" fmla="*/ 1 w 3"/>
                    <a:gd name="T13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" h="10">
                      <a:moveTo>
                        <a:pt x="1" y="0"/>
                      </a:moveTo>
                      <a:lnTo>
                        <a:pt x="3" y="0"/>
                      </a:lnTo>
                      <a:lnTo>
                        <a:pt x="1" y="10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1" y="0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solidFill>
                  <a:srgbClr val="FFDEB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15" name="Freeform 303"/>
                <p:cNvSpPr>
                  <a:spLocks/>
                </p:cNvSpPr>
                <p:nvPr/>
              </p:nvSpPr>
              <p:spPr bwMode="auto">
                <a:xfrm>
                  <a:off x="5451476" y="4191001"/>
                  <a:ext cx="4763" cy="12700"/>
                </a:xfrm>
                <a:custGeom>
                  <a:avLst/>
                  <a:gdLst>
                    <a:gd name="T0" fmla="*/ 1 w 3"/>
                    <a:gd name="T1" fmla="*/ 0 h 8"/>
                    <a:gd name="T2" fmla="*/ 3 w 3"/>
                    <a:gd name="T3" fmla="*/ 0 h 8"/>
                    <a:gd name="T4" fmla="*/ 1 w 3"/>
                    <a:gd name="T5" fmla="*/ 8 h 8"/>
                    <a:gd name="T6" fmla="*/ 0 w 3"/>
                    <a:gd name="T7" fmla="*/ 8 h 8"/>
                    <a:gd name="T8" fmla="*/ 0 w 3"/>
                    <a:gd name="T9" fmla="*/ 8 h 8"/>
                    <a:gd name="T10" fmla="*/ 1 w 3"/>
                    <a:gd name="T11" fmla="*/ 0 h 8"/>
                    <a:gd name="T12" fmla="*/ 1 w 3"/>
                    <a:gd name="T13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" h="8">
                      <a:moveTo>
                        <a:pt x="1" y="0"/>
                      </a:moveTo>
                      <a:lnTo>
                        <a:pt x="3" y="0"/>
                      </a:lnTo>
                      <a:lnTo>
                        <a:pt x="1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1" y="0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solidFill>
                  <a:srgbClr val="FFDEB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16" name="Freeform 304"/>
                <p:cNvSpPr>
                  <a:spLocks/>
                </p:cNvSpPr>
                <p:nvPr/>
              </p:nvSpPr>
              <p:spPr bwMode="auto">
                <a:xfrm>
                  <a:off x="5430839" y="4186238"/>
                  <a:ext cx="1588" cy="14288"/>
                </a:xfrm>
                <a:custGeom>
                  <a:avLst/>
                  <a:gdLst>
                    <a:gd name="T0" fmla="*/ 1 w 1"/>
                    <a:gd name="T1" fmla="*/ 0 h 9"/>
                    <a:gd name="T2" fmla="*/ 1 w 1"/>
                    <a:gd name="T3" fmla="*/ 2 h 9"/>
                    <a:gd name="T4" fmla="*/ 0 w 1"/>
                    <a:gd name="T5" fmla="*/ 8 h 9"/>
                    <a:gd name="T6" fmla="*/ 0 w 1"/>
                    <a:gd name="T7" fmla="*/ 9 h 9"/>
                    <a:gd name="T8" fmla="*/ 0 w 1"/>
                    <a:gd name="T9" fmla="*/ 8 h 9"/>
                    <a:gd name="T10" fmla="*/ 1 w 1"/>
                    <a:gd name="T11" fmla="*/ 2 h 9"/>
                    <a:gd name="T12" fmla="*/ 1 w 1"/>
                    <a:gd name="T13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" h="9">
                      <a:moveTo>
                        <a:pt x="1" y="0"/>
                      </a:moveTo>
                      <a:lnTo>
                        <a:pt x="1" y="2"/>
                      </a:lnTo>
                      <a:lnTo>
                        <a:pt x="0" y="8"/>
                      </a:lnTo>
                      <a:lnTo>
                        <a:pt x="0" y="9"/>
                      </a:lnTo>
                      <a:lnTo>
                        <a:pt x="0" y="8"/>
                      </a:lnTo>
                      <a:lnTo>
                        <a:pt x="1" y="2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solidFill>
                  <a:srgbClr val="FFDEB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17" name="Freeform 305"/>
                <p:cNvSpPr>
                  <a:spLocks/>
                </p:cNvSpPr>
                <p:nvPr/>
              </p:nvSpPr>
              <p:spPr bwMode="auto">
                <a:xfrm>
                  <a:off x="5410201" y="4179888"/>
                  <a:ext cx="12700" cy="23813"/>
                </a:xfrm>
                <a:custGeom>
                  <a:avLst/>
                  <a:gdLst>
                    <a:gd name="T0" fmla="*/ 6 w 8"/>
                    <a:gd name="T1" fmla="*/ 0 h 15"/>
                    <a:gd name="T2" fmla="*/ 7 w 8"/>
                    <a:gd name="T3" fmla="*/ 1 h 15"/>
                    <a:gd name="T4" fmla="*/ 8 w 8"/>
                    <a:gd name="T5" fmla="*/ 3 h 15"/>
                    <a:gd name="T6" fmla="*/ 8 w 8"/>
                    <a:gd name="T7" fmla="*/ 4 h 15"/>
                    <a:gd name="T8" fmla="*/ 7 w 8"/>
                    <a:gd name="T9" fmla="*/ 12 h 15"/>
                    <a:gd name="T10" fmla="*/ 7 w 8"/>
                    <a:gd name="T11" fmla="*/ 13 h 15"/>
                    <a:gd name="T12" fmla="*/ 6 w 8"/>
                    <a:gd name="T13" fmla="*/ 15 h 15"/>
                    <a:gd name="T14" fmla="*/ 3 w 8"/>
                    <a:gd name="T15" fmla="*/ 15 h 15"/>
                    <a:gd name="T16" fmla="*/ 1 w 8"/>
                    <a:gd name="T17" fmla="*/ 13 h 15"/>
                    <a:gd name="T18" fmla="*/ 0 w 8"/>
                    <a:gd name="T19" fmla="*/ 12 h 15"/>
                    <a:gd name="T20" fmla="*/ 0 w 8"/>
                    <a:gd name="T21" fmla="*/ 10 h 15"/>
                    <a:gd name="T22" fmla="*/ 0 w 8"/>
                    <a:gd name="T23" fmla="*/ 3 h 15"/>
                    <a:gd name="T24" fmla="*/ 1 w 8"/>
                    <a:gd name="T25" fmla="*/ 1 h 15"/>
                    <a:gd name="T26" fmla="*/ 3 w 8"/>
                    <a:gd name="T27" fmla="*/ 1 h 15"/>
                    <a:gd name="T28" fmla="*/ 6 w 8"/>
                    <a:gd name="T29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8" h="15">
                      <a:moveTo>
                        <a:pt x="6" y="0"/>
                      </a:moveTo>
                      <a:lnTo>
                        <a:pt x="7" y="1"/>
                      </a:lnTo>
                      <a:lnTo>
                        <a:pt x="8" y="3"/>
                      </a:lnTo>
                      <a:lnTo>
                        <a:pt x="8" y="4"/>
                      </a:lnTo>
                      <a:lnTo>
                        <a:pt x="7" y="12"/>
                      </a:lnTo>
                      <a:lnTo>
                        <a:pt x="7" y="13"/>
                      </a:lnTo>
                      <a:lnTo>
                        <a:pt x="6" y="15"/>
                      </a:lnTo>
                      <a:lnTo>
                        <a:pt x="3" y="15"/>
                      </a:lnTo>
                      <a:lnTo>
                        <a:pt x="1" y="13"/>
                      </a:lnTo>
                      <a:lnTo>
                        <a:pt x="0" y="12"/>
                      </a:lnTo>
                      <a:lnTo>
                        <a:pt x="0" y="10"/>
                      </a:lnTo>
                      <a:lnTo>
                        <a:pt x="0" y="3"/>
                      </a:lnTo>
                      <a:lnTo>
                        <a:pt x="1" y="1"/>
                      </a:lnTo>
                      <a:lnTo>
                        <a:pt x="3" y="1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rgbClr val="FFF0D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18" name="Freeform 306"/>
                <p:cNvSpPr>
                  <a:spLocks/>
                </p:cNvSpPr>
                <p:nvPr/>
              </p:nvSpPr>
              <p:spPr bwMode="auto">
                <a:xfrm>
                  <a:off x="6402389" y="3941763"/>
                  <a:ext cx="625475" cy="314325"/>
                </a:xfrm>
                <a:custGeom>
                  <a:avLst/>
                  <a:gdLst>
                    <a:gd name="T0" fmla="*/ 338 w 394"/>
                    <a:gd name="T1" fmla="*/ 0 h 198"/>
                    <a:gd name="T2" fmla="*/ 343 w 394"/>
                    <a:gd name="T3" fmla="*/ 15 h 198"/>
                    <a:gd name="T4" fmla="*/ 352 w 394"/>
                    <a:gd name="T5" fmla="*/ 34 h 198"/>
                    <a:gd name="T6" fmla="*/ 361 w 394"/>
                    <a:gd name="T7" fmla="*/ 57 h 198"/>
                    <a:gd name="T8" fmla="*/ 370 w 394"/>
                    <a:gd name="T9" fmla="*/ 82 h 198"/>
                    <a:gd name="T10" fmla="*/ 378 w 394"/>
                    <a:gd name="T11" fmla="*/ 108 h 198"/>
                    <a:gd name="T12" fmla="*/ 386 w 394"/>
                    <a:gd name="T13" fmla="*/ 133 h 198"/>
                    <a:gd name="T14" fmla="*/ 389 w 394"/>
                    <a:gd name="T15" fmla="*/ 154 h 198"/>
                    <a:gd name="T16" fmla="*/ 391 w 394"/>
                    <a:gd name="T17" fmla="*/ 160 h 198"/>
                    <a:gd name="T18" fmla="*/ 394 w 394"/>
                    <a:gd name="T19" fmla="*/ 165 h 198"/>
                    <a:gd name="T20" fmla="*/ 394 w 394"/>
                    <a:gd name="T21" fmla="*/ 169 h 198"/>
                    <a:gd name="T22" fmla="*/ 391 w 394"/>
                    <a:gd name="T23" fmla="*/ 176 h 198"/>
                    <a:gd name="T24" fmla="*/ 383 w 394"/>
                    <a:gd name="T25" fmla="*/ 183 h 198"/>
                    <a:gd name="T26" fmla="*/ 370 w 394"/>
                    <a:gd name="T27" fmla="*/ 188 h 198"/>
                    <a:gd name="T28" fmla="*/ 352 w 394"/>
                    <a:gd name="T29" fmla="*/ 191 h 198"/>
                    <a:gd name="T30" fmla="*/ 332 w 394"/>
                    <a:gd name="T31" fmla="*/ 194 h 198"/>
                    <a:gd name="T32" fmla="*/ 313 w 394"/>
                    <a:gd name="T33" fmla="*/ 195 h 198"/>
                    <a:gd name="T34" fmla="*/ 293 w 394"/>
                    <a:gd name="T35" fmla="*/ 197 h 198"/>
                    <a:gd name="T36" fmla="*/ 275 w 394"/>
                    <a:gd name="T37" fmla="*/ 198 h 198"/>
                    <a:gd name="T38" fmla="*/ 262 w 394"/>
                    <a:gd name="T39" fmla="*/ 198 h 198"/>
                    <a:gd name="T40" fmla="*/ 256 w 394"/>
                    <a:gd name="T41" fmla="*/ 198 h 198"/>
                    <a:gd name="T42" fmla="*/ 245 w 394"/>
                    <a:gd name="T43" fmla="*/ 198 h 198"/>
                    <a:gd name="T44" fmla="*/ 229 w 394"/>
                    <a:gd name="T45" fmla="*/ 197 h 198"/>
                    <a:gd name="T46" fmla="*/ 213 w 394"/>
                    <a:gd name="T47" fmla="*/ 197 h 198"/>
                    <a:gd name="T48" fmla="*/ 201 w 394"/>
                    <a:gd name="T49" fmla="*/ 197 h 198"/>
                    <a:gd name="T50" fmla="*/ 195 w 394"/>
                    <a:gd name="T51" fmla="*/ 197 h 198"/>
                    <a:gd name="T52" fmla="*/ 156 w 394"/>
                    <a:gd name="T53" fmla="*/ 192 h 198"/>
                    <a:gd name="T54" fmla="*/ 141 w 394"/>
                    <a:gd name="T55" fmla="*/ 192 h 198"/>
                    <a:gd name="T56" fmla="*/ 133 w 394"/>
                    <a:gd name="T57" fmla="*/ 188 h 198"/>
                    <a:gd name="T58" fmla="*/ 125 w 394"/>
                    <a:gd name="T59" fmla="*/ 183 h 198"/>
                    <a:gd name="T60" fmla="*/ 119 w 394"/>
                    <a:gd name="T61" fmla="*/ 178 h 198"/>
                    <a:gd name="T62" fmla="*/ 114 w 394"/>
                    <a:gd name="T63" fmla="*/ 172 h 198"/>
                    <a:gd name="T64" fmla="*/ 106 w 394"/>
                    <a:gd name="T65" fmla="*/ 166 h 198"/>
                    <a:gd name="T66" fmla="*/ 96 w 394"/>
                    <a:gd name="T67" fmla="*/ 163 h 198"/>
                    <a:gd name="T68" fmla="*/ 83 w 394"/>
                    <a:gd name="T69" fmla="*/ 163 h 198"/>
                    <a:gd name="T70" fmla="*/ 79 w 394"/>
                    <a:gd name="T71" fmla="*/ 163 h 198"/>
                    <a:gd name="T72" fmla="*/ 70 w 394"/>
                    <a:gd name="T73" fmla="*/ 165 h 198"/>
                    <a:gd name="T74" fmla="*/ 55 w 394"/>
                    <a:gd name="T75" fmla="*/ 166 h 198"/>
                    <a:gd name="T76" fmla="*/ 38 w 394"/>
                    <a:gd name="T77" fmla="*/ 167 h 198"/>
                    <a:gd name="T78" fmla="*/ 21 w 394"/>
                    <a:gd name="T79" fmla="*/ 170 h 198"/>
                    <a:gd name="T80" fmla="*/ 2 w 394"/>
                    <a:gd name="T81" fmla="*/ 175 h 198"/>
                    <a:gd name="T82" fmla="*/ 0 w 394"/>
                    <a:gd name="T83" fmla="*/ 173 h 198"/>
                    <a:gd name="T84" fmla="*/ 2 w 394"/>
                    <a:gd name="T85" fmla="*/ 167 h 198"/>
                    <a:gd name="T86" fmla="*/ 6 w 394"/>
                    <a:gd name="T87" fmla="*/ 159 h 198"/>
                    <a:gd name="T88" fmla="*/ 13 w 394"/>
                    <a:gd name="T89" fmla="*/ 150 h 198"/>
                    <a:gd name="T90" fmla="*/ 26 w 394"/>
                    <a:gd name="T91" fmla="*/ 141 h 198"/>
                    <a:gd name="T92" fmla="*/ 45 w 394"/>
                    <a:gd name="T93" fmla="*/ 136 h 198"/>
                    <a:gd name="T94" fmla="*/ 71 w 394"/>
                    <a:gd name="T95" fmla="*/ 133 h 198"/>
                    <a:gd name="T96" fmla="*/ 101 w 394"/>
                    <a:gd name="T97" fmla="*/ 134 h 198"/>
                    <a:gd name="T98" fmla="*/ 131 w 394"/>
                    <a:gd name="T99" fmla="*/ 136 h 198"/>
                    <a:gd name="T100" fmla="*/ 159 w 394"/>
                    <a:gd name="T101" fmla="*/ 137 h 198"/>
                    <a:gd name="T102" fmla="*/ 186 w 394"/>
                    <a:gd name="T103" fmla="*/ 138 h 198"/>
                    <a:gd name="T104" fmla="*/ 211 w 394"/>
                    <a:gd name="T105" fmla="*/ 137 h 198"/>
                    <a:gd name="T106" fmla="*/ 234 w 394"/>
                    <a:gd name="T107" fmla="*/ 133 h 198"/>
                    <a:gd name="T108" fmla="*/ 256 w 394"/>
                    <a:gd name="T109" fmla="*/ 127 h 198"/>
                    <a:gd name="T110" fmla="*/ 279 w 394"/>
                    <a:gd name="T111" fmla="*/ 118 h 198"/>
                    <a:gd name="T112" fmla="*/ 271 w 394"/>
                    <a:gd name="T113" fmla="*/ 102 h 198"/>
                    <a:gd name="T114" fmla="*/ 261 w 394"/>
                    <a:gd name="T115" fmla="*/ 85 h 198"/>
                    <a:gd name="T116" fmla="*/ 249 w 394"/>
                    <a:gd name="T117" fmla="*/ 67 h 198"/>
                    <a:gd name="T118" fmla="*/ 239 w 394"/>
                    <a:gd name="T119" fmla="*/ 51 h 198"/>
                    <a:gd name="T120" fmla="*/ 338 w 394"/>
                    <a:gd name="T121" fmla="*/ 0 h 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394" h="198">
                      <a:moveTo>
                        <a:pt x="338" y="0"/>
                      </a:moveTo>
                      <a:lnTo>
                        <a:pt x="343" y="15"/>
                      </a:lnTo>
                      <a:lnTo>
                        <a:pt x="352" y="34"/>
                      </a:lnTo>
                      <a:lnTo>
                        <a:pt x="361" y="57"/>
                      </a:lnTo>
                      <a:lnTo>
                        <a:pt x="370" y="82"/>
                      </a:lnTo>
                      <a:lnTo>
                        <a:pt x="378" y="108"/>
                      </a:lnTo>
                      <a:lnTo>
                        <a:pt x="386" y="133"/>
                      </a:lnTo>
                      <a:lnTo>
                        <a:pt x="389" y="154"/>
                      </a:lnTo>
                      <a:lnTo>
                        <a:pt x="391" y="160"/>
                      </a:lnTo>
                      <a:lnTo>
                        <a:pt x="394" y="165"/>
                      </a:lnTo>
                      <a:lnTo>
                        <a:pt x="394" y="169"/>
                      </a:lnTo>
                      <a:lnTo>
                        <a:pt x="391" y="176"/>
                      </a:lnTo>
                      <a:lnTo>
                        <a:pt x="383" y="183"/>
                      </a:lnTo>
                      <a:lnTo>
                        <a:pt x="370" y="188"/>
                      </a:lnTo>
                      <a:lnTo>
                        <a:pt x="352" y="191"/>
                      </a:lnTo>
                      <a:lnTo>
                        <a:pt x="332" y="194"/>
                      </a:lnTo>
                      <a:lnTo>
                        <a:pt x="313" y="195"/>
                      </a:lnTo>
                      <a:lnTo>
                        <a:pt x="293" y="197"/>
                      </a:lnTo>
                      <a:lnTo>
                        <a:pt x="275" y="198"/>
                      </a:lnTo>
                      <a:lnTo>
                        <a:pt x="262" y="198"/>
                      </a:lnTo>
                      <a:lnTo>
                        <a:pt x="256" y="198"/>
                      </a:lnTo>
                      <a:lnTo>
                        <a:pt x="245" y="198"/>
                      </a:lnTo>
                      <a:lnTo>
                        <a:pt x="229" y="197"/>
                      </a:lnTo>
                      <a:lnTo>
                        <a:pt x="213" y="197"/>
                      </a:lnTo>
                      <a:lnTo>
                        <a:pt x="201" y="197"/>
                      </a:lnTo>
                      <a:lnTo>
                        <a:pt x="195" y="197"/>
                      </a:lnTo>
                      <a:lnTo>
                        <a:pt x="156" y="192"/>
                      </a:lnTo>
                      <a:lnTo>
                        <a:pt x="141" y="192"/>
                      </a:lnTo>
                      <a:lnTo>
                        <a:pt x="133" y="188"/>
                      </a:lnTo>
                      <a:lnTo>
                        <a:pt x="125" y="183"/>
                      </a:lnTo>
                      <a:lnTo>
                        <a:pt x="119" y="178"/>
                      </a:lnTo>
                      <a:lnTo>
                        <a:pt x="114" y="172"/>
                      </a:lnTo>
                      <a:lnTo>
                        <a:pt x="106" y="166"/>
                      </a:lnTo>
                      <a:lnTo>
                        <a:pt x="96" y="163"/>
                      </a:lnTo>
                      <a:lnTo>
                        <a:pt x="83" y="163"/>
                      </a:lnTo>
                      <a:lnTo>
                        <a:pt x="79" y="163"/>
                      </a:lnTo>
                      <a:lnTo>
                        <a:pt x="70" y="165"/>
                      </a:lnTo>
                      <a:lnTo>
                        <a:pt x="55" y="166"/>
                      </a:lnTo>
                      <a:lnTo>
                        <a:pt x="38" y="167"/>
                      </a:lnTo>
                      <a:lnTo>
                        <a:pt x="21" y="170"/>
                      </a:lnTo>
                      <a:lnTo>
                        <a:pt x="2" y="175"/>
                      </a:lnTo>
                      <a:lnTo>
                        <a:pt x="0" y="173"/>
                      </a:lnTo>
                      <a:lnTo>
                        <a:pt x="2" y="167"/>
                      </a:lnTo>
                      <a:lnTo>
                        <a:pt x="6" y="159"/>
                      </a:lnTo>
                      <a:lnTo>
                        <a:pt x="13" y="150"/>
                      </a:lnTo>
                      <a:lnTo>
                        <a:pt x="26" y="141"/>
                      </a:lnTo>
                      <a:lnTo>
                        <a:pt x="45" y="136"/>
                      </a:lnTo>
                      <a:lnTo>
                        <a:pt x="71" y="133"/>
                      </a:lnTo>
                      <a:lnTo>
                        <a:pt x="101" y="134"/>
                      </a:lnTo>
                      <a:lnTo>
                        <a:pt x="131" y="136"/>
                      </a:lnTo>
                      <a:lnTo>
                        <a:pt x="159" y="137"/>
                      </a:lnTo>
                      <a:lnTo>
                        <a:pt x="186" y="138"/>
                      </a:lnTo>
                      <a:lnTo>
                        <a:pt x="211" y="137"/>
                      </a:lnTo>
                      <a:lnTo>
                        <a:pt x="234" y="133"/>
                      </a:lnTo>
                      <a:lnTo>
                        <a:pt x="256" y="127"/>
                      </a:lnTo>
                      <a:lnTo>
                        <a:pt x="279" y="118"/>
                      </a:lnTo>
                      <a:lnTo>
                        <a:pt x="271" y="102"/>
                      </a:lnTo>
                      <a:lnTo>
                        <a:pt x="261" y="85"/>
                      </a:lnTo>
                      <a:lnTo>
                        <a:pt x="249" y="67"/>
                      </a:lnTo>
                      <a:lnTo>
                        <a:pt x="239" y="51"/>
                      </a:lnTo>
                      <a:lnTo>
                        <a:pt x="338" y="0"/>
                      </a:lnTo>
                      <a:close/>
                    </a:path>
                  </a:pathLst>
                </a:custGeom>
                <a:solidFill>
                  <a:srgbClr val="F2D2B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19" name="Freeform 307"/>
                <p:cNvSpPr>
                  <a:spLocks noEditPoints="1"/>
                </p:cNvSpPr>
                <p:nvPr/>
              </p:nvSpPr>
              <p:spPr bwMode="auto">
                <a:xfrm>
                  <a:off x="6621464" y="4244976"/>
                  <a:ext cx="28575" cy="1588"/>
                </a:xfrm>
                <a:custGeom>
                  <a:avLst/>
                  <a:gdLst>
                    <a:gd name="T0" fmla="*/ 18 w 18"/>
                    <a:gd name="T1" fmla="*/ 1 h 1"/>
                    <a:gd name="T2" fmla="*/ 13 w 18"/>
                    <a:gd name="T3" fmla="*/ 1 h 1"/>
                    <a:gd name="T4" fmla="*/ 13 w 18"/>
                    <a:gd name="T5" fmla="*/ 1 h 1"/>
                    <a:gd name="T6" fmla="*/ 18 w 18"/>
                    <a:gd name="T7" fmla="*/ 1 h 1"/>
                    <a:gd name="T8" fmla="*/ 0 w 18"/>
                    <a:gd name="T9" fmla="*/ 0 h 1"/>
                    <a:gd name="T10" fmla="*/ 6 w 18"/>
                    <a:gd name="T11" fmla="*/ 1 h 1"/>
                    <a:gd name="T12" fmla="*/ 13 w 18"/>
                    <a:gd name="T13" fmla="*/ 1 h 1"/>
                    <a:gd name="T14" fmla="*/ 13 w 18"/>
                    <a:gd name="T15" fmla="*/ 1 h 1"/>
                    <a:gd name="T16" fmla="*/ 6 w 18"/>
                    <a:gd name="T17" fmla="*/ 1 h 1"/>
                    <a:gd name="T18" fmla="*/ 0 w 18"/>
                    <a:gd name="T1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" h="1">
                      <a:moveTo>
                        <a:pt x="18" y="1"/>
                      </a:moveTo>
                      <a:lnTo>
                        <a:pt x="13" y="1"/>
                      </a:lnTo>
                      <a:lnTo>
                        <a:pt x="13" y="1"/>
                      </a:lnTo>
                      <a:lnTo>
                        <a:pt x="18" y="1"/>
                      </a:lnTo>
                      <a:close/>
                      <a:moveTo>
                        <a:pt x="0" y="0"/>
                      </a:moveTo>
                      <a:lnTo>
                        <a:pt x="6" y="1"/>
                      </a:lnTo>
                      <a:lnTo>
                        <a:pt x="13" y="1"/>
                      </a:lnTo>
                      <a:lnTo>
                        <a:pt x="13" y="1"/>
                      </a:lnTo>
                      <a:lnTo>
                        <a:pt x="6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72020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20" name="Freeform 308"/>
                <p:cNvSpPr>
                  <a:spLocks/>
                </p:cNvSpPr>
                <p:nvPr/>
              </p:nvSpPr>
              <p:spPr bwMode="auto">
                <a:xfrm>
                  <a:off x="6557964" y="4200526"/>
                  <a:ext cx="1588" cy="3175"/>
                </a:xfrm>
                <a:custGeom>
                  <a:avLst/>
                  <a:gdLst>
                    <a:gd name="T0" fmla="*/ 0 w 1"/>
                    <a:gd name="T1" fmla="*/ 0 h 2"/>
                    <a:gd name="T2" fmla="*/ 1 w 1"/>
                    <a:gd name="T3" fmla="*/ 2 h 2"/>
                    <a:gd name="T4" fmla="*/ 0 w 1"/>
                    <a:gd name="T5" fmla="*/ 0 h 2"/>
                    <a:gd name="T6" fmla="*/ 0 w 1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2">
                      <a:moveTo>
                        <a:pt x="0" y="0"/>
                      </a:move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2BA8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21" name="Freeform 309"/>
                <p:cNvSpPr>
                  <a:spLocks/>
                </p:cNvSpPr>
                <p:nvPr/>
              </p:nvSpPr>
              <p:spPr bwMode="auto">
                <a:xfrm>
                  <a:off x="6557964" y="3941763"/>
                  <a:ext cx="469900" cy="314325"/>
                </a:xfrm>
                <a:custGeom>
                  <a:avLst/>
                  <a:gdLst>
                    <a:gd name="T0" fmla="*/ 245 w 296"/>
                    <a:gd name="T1" fmla="*/ 15 h 198"/>
                    <a:gd name="T2" fmla="*/ 263 w 296"/>
                    <a:gd name="T3" fmla="*/ 57 h 198"/>
                    <a:gd name="T4" fmla="*/ 280 w 296"/>
                    <a:gd name="T5" fmla="*/ 108 h 198"/>
                    <a:gd name="T6" fmla="*/ 291 w 296"/>
                    <a:gd name="T7" fmla="*/ 154 h 198"/>
                    <a:gd name="T8" fmla="*/ 296 w 296"/>
                    <a:gd name="T9" fmla="*/ 165 h 198"/>
                    <a:gd name="T10" fmla="*/ 296 w 296"/>
                    <a:gd name="T11" fmla="*/ 170 h 198"/>
                    <a:gd name="T12" fmla="*/ 280 w 296"/>
                    <a:gd name="T13" fmla="*/ 185 h 198"/>
                    <a:gd name="T14" fmla="*/ 243 w 296"/>
                    <a:gd name="T15" fmla="*/ 194 h 198"/>
                    <a:gd name="T16" fmla="*/ 197 w 296"/>
                    <a:gd name="T17" fmla="*/ 197 h 198"/>
                    <a:gd name="T18" fmla="*/ 164 w 296"/>
                    <a:gd name="T19" fmla="*/ 198 h 198"/>
                    <a:gd name="T20" fmla="*/ 147 w 296"/>
                    <a:gd name="T21" fmla="*/ 198 h 198"/>
                    <a:gd name="T22" fmla="*/ 116 w 296"/>
                    <a:gd name="T23" fmla="*/ 197 h 198"/>
                    <a:gd name="T24" fmla="*/ 97 w 296"/>
                    <a:gd name="T25" fmla="*/ 197 h 198"/>
                    <a:gd name="T26" fmla="*/ 87 w 296"/>
                    <a:gd name="T27" fmla="*/ 195 h 198"/>
                    <a:gd name="T28" fmla="*/ 53 w 296"/>
                    <a:gd name="T29" fmla="*/ 192 h 198"/>
                    <a:gd name="T30" fmla="*/ 40 w 296"/>
                    <a:gd name="T31" fmla="*/ 191 h 198"/>
                    <a:gd name="T32" fmla="*/ 40 w 296"/>
                    <a:gd name="T33" fmla="*/ 191 h 198"/>
                    <a:gd name="T34" fmla="*/ 39 w 296"/>
                    <a:gd name="T35" fmla="*/ 191 h 198"/>
                    <a:gd name="T36" fmla="*/ 20 w 296"/>
                    <a:gd name="T37" fmla="*/ 176 h 198"/>
                    <a:gd name="T38" fmla="*/ 1 w 296"/>
                    <a:gd name="T39" fmla="*/ 165 h 198"/>
                    <a:gd name="T40" fmla="*/ 5 w 296"/>
                    <a:gd name="T41" fmla="*/ 163 h 198"/>
                    <a:gd name="T42" fmla="*/ 35 w 296"/>
                    <a:gd name="T43" fmla="*/ 169 h 198"/>
                    <a:gd name="T44" fmla="*/ 64 w 296"/>
                    <a:gd name="T45" fmla="*/ 175 h 198"/>
                    <a:gd name="T46" fmla="*/ 110 w 296"/>
                    <a:gd name="T47" fmla="*/ 172 h 198"/>
                    <a:gd name="T48" fmla="*/ 193 w 296"/>
                    <a:gd name="T49" fmla="*/ 162 h 198"/>
                    <a:gd name="T50" fmla="*/ 250 w 296"/>
                    <a:gd name="T51" fmla="*/ 141 h 198"/>
                    <a:gd name="T52" fmla="*/ 263 w 296"/>
                    <a:gd name="T53" fmla="*/ 118 h 198"/>
                    <a:gd name="T54" fmla="*/ 259 w 296"/>
                    <a:gd name="T55" fmla="*/ 89 h 198"/>
                    <a:gd name="T56" fmla="*/ 256 w 296"/>
                    <a:gd name="T57" fmla="*/ 83 h 198"/>
                    <a:gd name="T58" fmla="*/ 251 w 296"/>
                    <a:gd name="T59" fmla="*/ 74 h 198"/>
                    <a:gd name="T60" fmla="*/ 247 w 296"/>
                    <a:gd name="T61" fmla="*/ 66 h 198"/>
                    <a:gd name="T62" fmla="*/ 235 w 296"/>
                    <a:gd name="T63" fmla="*/ 45 h 198"/>
                    <a:gd name="T64" fmla="*/ 228 w 296"/>
                    <a:gd name="T65" fmla="*/ 32 h 198"/>
                    <a:gd name="T66" fmla="*/ 221 w 296"/>
                    <a:gd name="T67" fmla="*/ 29 h 198"/>
                    <a:gd name="T68" fmla="*/ 202 w 296"/>
                    <a:gd name="T69" fmla="*/ 31 h 198"/>
                    <a:gd name="T70" fmla="*/ 171 w 296"/>
                    <a:gd name="T71" fmla="*/ 41 h 198"/>
                    <a:gd name="T72" fmla="*/ 148 w 296"/>
                    <a:gd name="T73" fmla="*/ 51 h 198"/>
                    <a:gd name="T74" fmla="*/ 144 w 296"/>
                    <a:gd name="T75" fmla="*/ 54 h 198"/>
                    <a:gd name="T76" fmla="*/ 142 w 296"/>
                    <a:gd name="T77" fmla="*/ 53 h 198"/>
                    <a:gd name="T78" fmla="*/ 142 w 296"/>
                    <a:gd name="T79" fmla="*/ 53 h 198"/>
                    <a:gd name="T80" fmla="*/ 142 w 296"/>
                    <a:gd name="T81" fmla="*/ 51 h 198"/>
                    <a:gd name="T82" fmla="*/ 240 w 296"/>
                    <a:gd name="T83" fmla="*/ 0 h 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296" h="198">
                      <a:moveTo>
                        <a:pt x="240" y="0"/>
                      </a:moveTo>
                      <a:lnTo>
                        <a:pt x="245" y="15"/>
                      </a:lnTo>
                      <a:lnTo>
                        <a:pt x="254" y="34"/>
                      </a:lnTo>
                      <a:lnTo>
                        <a:pt x="263" y="57"/>
                      </a:lnTo>
                      <a:lnTo>
                        <a:pt x="272" y="82"/>
                      </a:lnTo>
                      <a:lnTo>
                        <a:pt x="280" y="108"/>
                      </a:lnTo>
                      <a:lnTo>
                        <a:pt x="288" y="133"/>
                      </a:lnTo>
                      <a:lnTo>
                        <a:pt x="291" y="154"/>
                      </a:lnTo>
                      <a:lnTo>
                        <a:pt x="293" y="160"/>
                      </a:lnTo>
                      <a:lnTo>
                        <a:pt x="296" y="165"/>
                      </a:lnTo>
                      <a:lnTo>
                        <a:pt x="296" y="169"/>
                      </a:lnTo>
                      <a:lnTo>
                        <a:pt x="296" y="170"/>
                      </a:lnTo>
                      <a:lnTo>
                        <a:pt x="292" y="178"/>
                      </a:lnTo>
                      <a:lnTo>
                        <a:pt x="280" y="185"/>
                      </a:lnTo>
                      <a:lnTo>
                        <a:pt x="263" y="189"/>
                      </a:lnTo>
                      <a:lnTo>
                        <a:pt x="243" y="194"/>
                      </a:lnTo>
                      <a:lnTo>
                        <a:pt x="218" y="195"/>
                      </a:lnTo>
                      <a:lnTo>
                        <a:pt x="197" y="197"/>
                      </a:lnTo>
                      <a:lnTo>
                        <a:pt x="179" y="198"/>
                      </a:lnTo>
                      <a:lnTo>
                        <a:pt x="164" y="198"/>
                      </a:lnTo>
                      <a:lnTo>
                        <a:pt x="160" y="198"/>
                      </a:lnTo>
                      <a:lnTo>
                        <a:pt x="147" y="198"/>
                      </a:lnTo>
                      <a:lnTo>
                        <a:pt x="132" y="197"/>
                      </a:lnTo>
                      <a:lnTo>
                        <a:pt x="116" y="197"/>
                      </a:lnTo>
                      <a:lnTo>
                        <a:pt x="103" y="197"/>
                      </a:lnTo>
                      <a:lnTo>
                        <a:pt x="97" y="197"/>
                      </a:lnTo>
                      <a:lnTo>
                        <a:pt x="97" y="197"/>
                      </a:lnTo>
                      <a:lnTo>
                        <a:pt x="87" y="195"/>
                      </a:lnTo>
                      <a:lnTo>
                        <a:pt x="58" y="192"/>
                      </a:lnTo>
                      <a:lnTo>
                        <a:pt x="53" y="192"/>
                      </a:lnTo>
                      <a:lnTo>
                        <a:pt x="46" y="192"/>
                      </a:lnTo>
                      <a:lnTo>
                        <a:pt x="40" y="191"/>
                      </a:lnTo>
                      <a:lnTo>
                        <a:pt x="40" y="191"/>
                      </a:lnTo>
                      <a:lnTo>
                        <a:pt x="40" y="191"/>
                      </a:lnTo>
                      <a:lnTo>
                        <a:pt x="39" y="191"/>
                      </a:lnTo>
                      <a:lnTo>
                        <a:pt x="39" y="191"/>
                      </a:lnTo>
                      <a:lnTo>
                        <a:pt x="29" y="185"/>
                      </a:lnTo>
                      <a:lnTo>
                        <a:pt x="20" y="176"/>
                      </a:lnTo>
                      <a:lnTo>
                        <a:pt x="13" y="169"/>
                      </a:lnTo>
                      <a:lnTo>
                        <a:pt x="1" y="165"/>
                      </a:lnTo>
                      <a:lnTo>
                        <a:pt x="0" y="163"/>
                      </a:lnTo>
                      <a:lnTo>
                        <a:pt x="5" y="163"/>
                      </a:lnTo>
                      <a:lnTo>
                        <a:pt x="19" y="165"/>
                      </a:lnTo>
                      <a:lnTo>
                        <a:pt x="35" y="169"/>
                      </a:lnTo>
                      <a:lnTo>
                        <a:pt x="49" y="173"/>
                      </a:lnTo>
                      <a:lnTo>
                        <a:pt x="64" y="175"/>
                      </a:lnTo>
                      <a:lnTo>
                        <a:pt x="67" y="175"/>
                      </a:lnTo>
                      <a:lnTo>
                        <a:pt x="110" y="172"/>
                      </a:lnTo>
                      <a:lnTo>
                        <a:pt x="152" y="167"/>
                      </a:lnTo>
                      <a:lnTo>
                        <a:pt x="193" y="162"/>
                      </a:lnTo>
                      <a:lnTo>
                        <a:pt x="237" y="149"/>
                      </a:lnTo>
                      <a:lnTo>
                        <a:pt x="250" y="141"/>
                      </a:lnTo>
                      <a:lnTo>
                        <a:pt x="259" y="131"/>
                      </a:lnTo>
                      <a:lnTo>
                        <a:pt x="263" y="118"/>
                      </a:lnTo>
                      <a:lnTo>
                        <a:pt x="263" y="104"/>
                      </a:lnTo>
                      <a:lnTo>
                        <a:pt x="259" y="89"/>
                      </a:lnTo>
                      <a:lnTo>
                        <a:pt x="257" y="88"/>
                      </a:lnTo>
                      <a:lnTo>
                        <a:pt x="256" y="83"/>
                      </a:lnTo>
                      <a:lnTo>
                        <a:pt x="254" y="79"/>
                      </a:lnTo>
                      <a:lnTo>
                        <a:pt x="251" y="74"/>
                      </a:lnTo>
                      <a:lnTo>
                        <a:pt x="248" y="69"/>
                      </a:lnTo>
                      <a:lnTo>
                        <a:pt x="247" y="66"/>
                      </a:lnTo>
                      <a:lnTo>
                        <a:pt x="241" y="56"/>
                      </a:lnTo>
                      <a:lnTo>
                        <a:pt x="235" y="45"/>
                      </a:lnTo>
                      <a:lnTo>
                        <a:pt x="231" y="35"/>
                      </a:lnTo>
                      <a:lnTo>
                        <a:pt x="228" y="32"/>
                      </a:lnTo>
                      <a:lnTo>
                        <a:pt x="225" y="31"/>
                      </a:lnTo>
                      <a:lnTo>
                        <a:pt x="221" y="29"/>
                      </a:lnTo>
                      <a:lnTo>
                        <a:pt x="216" y="29"/>
                      </a:lnTo>
                      <a:lnTo>
                        <a:pt x="202" y="31"/>
                      </a:lnTo>
                      <a:lnTo>
                        <a:pt x="187" y="35"/>
                      </a:lnTo>
                      <a:lnTo>
                        <a:pt x="171" y="41"/>
                      </a:lnTo>
                      <a:lnTo>
                        <a:pt x="158" y="47"/>
                      </a:lnTo>
                      <a:lnTo>
                        <a:pt x="148" y="51"/>
                      </a:lnTo>
                      <a:lnTo>
                        <a:pt x="144" y="56"/>
                      </a:lnTo>
                      <a:lnTo>
                        <a:pt x="144" y="54"/>
                      </a:lnTo>
                      <a:lnTo>
                        <a:pt x="142" y="53"/>
                      </a:lnTo>
                      <a:lnTo>
                        <a:pt x="142" y="53"/>
                      </a:lnTo>
                      <a:lnTo>
                        <a:pt x="142" y="53"/>
                      </a:lnTo>
                      <a:lnTo>
                        <a:pt x="142" y="53"/>
                      </a:lnTo>
                      <a:lnTo>
                        <a:pt x="142" y="53"/>
                      </a:lnTo>
                      <a:lnTo>
                        <a:pt x="142" y="51"/>
                      </a:lnTo>
                      <a:lnTo>
                        <a:pt x="141" y="51"/>
                      </a:lnTo>
                      <a:lnTo>
                        <a:pt x="240" y="0"/>
                      </a:lnTo>
                      <a:close/>
                    </a:path>
                  </a:pathLst>
                </a:custGeom>
                <a:solidFill>
                  <a:srgbClr val="E6AD7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22" name="Freeform 310"/>
                <p:cNvSpPr>
                  <a:spLocks noEditPoints="1"/>
                </p:cNvSpPr>
                <p:nvPr/>
              </p:nvSpPr>
              <p:spPr bwMode="auto">
                <a:xfrm>
                  <a:off x="6600826" y="3289301"/>
                  <a:ext cx="4763" cy="0"/>
                </a:xfrm>
                <a:custGeom>
                  <a:avLst/>
                  <a:gdLst>
                    <a:gd name="T0" fmla="*/ 2 w 3"/>
                    <a:gd name="T1" fmla="*/ 2 w 3"/>
                    <a:gd name="T2" fmla="*/ 3 w 3"/>
                    <a:gd name="T3" fmla="*/ 2 w 3"/>
                    <a:gd name="T4" fmla="*/ 0 w 3"/>
                    <a:gd name="T5" fmla="*/ 2 w 3"/>
                    <a:gd name="T6" fmla="*/ 0 w 3"/>
                    <a:gd name="T7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</a:cxnLst>
                  <a:rect l="0" t="0" r="r" b="b"/>
                  <a:pathLst>
                    <a:path w="3">
                      <a:moveTo>
                        <a:pt x="2" y="0"/>
                      </a:move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2" y="0"/>
                      </a:lnTo>
                      <a:close/>
                      <a:moveTo>
                        <a:pt x="0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2D2B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23" name="Freeform 311"/>
                <p:cNvSpPr>
                  <a:spLocks/>
                </p:cNvSpPr>
                <p:nvPr/>
              </p:nvSpPr>
              <p:spPr bwMode="auto">
                <a:xfrm>
                  <a:off x="6559551" y="3303588"/>
                  <a:ext cx="66675" cy="188913"/>
                </a:xfrm>
                <a:custGeom>
                  <a:avLst/>
                  <a:gdLst>
                    <a:gd name="T0" fmla="*/ 36 w 42"/>
                    <a:gd name="T1" fmla="*/ 0 h 119"/>
                    <a:gd name="T2" fmla="*/ 39 w 42"/>
                    <a:gd name="T3" fmla="*/ 5 h 119"/>
                    <a:gd name="T4" fmla="*/ 41 w 42"/>
                    <a:gd name="T5" fmla="*/ 13 h 119"/>
                    <a:gd name="T6" fmla="*/ 42 w 42"/>
                    <a:gd name="T7" fmla="*/ 20 h 119"/>
                    <a:gd name="T8" fmla="*/ 41 w 42"/>
                    <a:gd name="T9" fmla="*/ 33 h 119"/>
                    <a:gd name="T10" fmla="*/ 36 w 42"/>
                    <a:gd name="T11" fmla="*/ 43 h 119"/>
                    <a:gd name="T12" fmla="*/ 29 w 42"/>
                    <a:gd name="T13" fmla="*/ 49 h 119"/>
                    <a:gd name="T14" fmla="*/ 18 w 42"/>
                    <a:gd name="T15" fmla="*/ 87 h 119"/>
                    <a:gd name="T16" fmla="*/ 0 w 42"/>
                    <a:gd name="T17" fmla="*/ 119 h 119"/>
                    <a:gd name="T18" fmla="*/ 0 w 42"/>
                    <a:gd name="T19" fmla="*/ 119 h 119"/>
                    <a:gd name="T20" fmla="*/ 18 w 42"/>
                    <a:gd name="T21" fmla="*/ 87 h 119"/>
                    <a:gd name="T22" fmla="*/ 29 w 42"/>
                    <a:gd name="T23" fmla="*/ 49 h 119"/>
                    <a:gd name="T24" fmla="*/ 35 w 42"/>
                    <a:gd name="T25" fmla="*/ 43 h 119"/>
                    <a:gd name="T26" fmla="*/ 39 w 42"/>
                    <a:gd name="T27" fmla="*/ 33 h 119"/>
                    <a:gd name="T28" fmla="*/ 41 w 42"/>
                    <a:gd name="T29" fmla="*/ 20 h 119"/>
                    <a:gd name="T30" fmla="*/ 41 w 42"/>
                    <a:gd name="T31" fmla="*/ 13 h 119"/>
                    <a:gd name="T32" fmla="*/ 39 w 42"/>
                    <a:gd name="T33" fmla="*/ 5 h 119"/>
                    <a:gd name="T34" fmla="*/ 36 w 42"/>
                    <a:gd name="T35" fmla="*/ 0 h 119"/>
                    <a:gd name="T36" fmla="*/ 36 w 42"/>
                    <a:gd name="T37" fmla="*/ 0 h 1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42" h="119">
                      <a:moveTo>
                        <a:pt x="36" y="0"/>
                      </a:moveTo>
                      <a:lnTo>
                        <a:pt x="39" y="5"/>
                      </a:lnTo>
                      <a:lnTo>
                        <a:pt x="41" y="13"/>
                      </a:lnTo>
                      <a:lnTo>
                        <a:pt x="42" y="20"/>
                      </a:lnTo>
                      <a:lnTo>
                        <a:pt x="41" y="33"/>
                      </a:lnTo>
                      <a:lnTo>
                        <a:pt x="36" y="43"/>
                      </a:lnTo>
                      <a:lnTo>
                        <a:pt x="29" y="49"/>
                      </a:lnTo>
                      <a:lnTo>
                        <a:pt x="18" y="87"/>
                      </a:lnTo>
                      <a:lnTo>
                        <a:pt x="0" y="119"/>
                      </a:lnTo>
                      <a:lnTo>
                        <a:pt x="0" y="119"/>
                      </a:lnTo>
                      <a:lnTo>
                        <a:pt x="18" y="87"/>
                      </a:lnTo>
                      <a:lnTo>
                        <a:pt x="29" y="49"/>
                      </a:lnTo>
                      <a:lnTo>
                        <a:pt x="35" y="43"/>
                      </a:lnTo>
                      <a:lnTo>
                        <a:pt x="39" y="33"/>
                      </a:lnTo>
                      <a:lnTo>
                        <a:pt x="41" y="20"/>
                      </a:lnTo>
                      <a:lnTo>
                        <a:pt x="41" y="13"/>
                      </a:lnTo>
                      <a:lnTo>
                        <a:pt x="39" y="5"/>
                      </a:lnTo>
                      <a:lnTo>
                        <a:pt x="36" y="0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solidFill>
                  <a:srgbClr val="F2D2B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24" name="Freeform 312"/>
                <p:cNvSpPr>
                  <a:spLocks/>
                </p:cNvSpPr>
                <p:nvPr/>
              </p:nvSpPr>
              <p:spPr bwMode="auto">
                <a:xfrm>
                  <a:off x="6550026" y="3492501"/>
                  <a:ext cx="9525" cy="11113"/>
                </a:xfrm>
                <a:custGeom>
                  <a:avLst/>
                  <a:gdLst>
                    <a:gd name="T0" fmla="*/ 6 w 6"/>
                    <a:gd name="T1" fmla="*/ 0 h 7"/>
                    <a:gd name="T2" fmla="*/ 6 w 6"/>
                    <a:gd name="T3" fmla="*/ 0 h 7"/>
                    <a:gd name="T4" fmla="*/ 0 w 6"/>
                    <a:gd name="T5" fmla="*/ 7 h 7"/>
                    <a:gd name="T6" fmla="*/ 0 w 6"/>
                    <a:gd name="T7" fmla="*/ 7 h 7"/>
                    <a:gd name="T8" fmla="*/ 6 w 6"/>
                    <a:gd name="T9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7">
                      <a:moveTo>
                        <a:pt x="6" y="0"/>
                      </a:moveTo>
                      <a:lnTo>
                        <a:pt x="6" y="0"/>
                      </a:lnTo>
                      <a:lnTo>
                        <a:pt x="0" y="7"/>
                      </a:lnTo>
                      <a:lnTo>
                        <a:pt x="0" y="7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rgbClr val="070403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25" name="Rectangle 313"/>
                <p:cNvSpPr>
                  <a:spLocks noChangeArrowheads="1"/>
                </p:cNvSpPr>
                <p:nvPr/>
              </p:nvSpPr>
              <p:spPr bwMode="auto">
                <a:xfrm>
                  <a:off x="6550026" y="3503613"/>
                  <a:ext cx="1588" cy="1588"/>
                </a:xfrm>
                <a:prstGeom prst="rect">
                  <a:avLst/>
                </a:prstGeom>
                <a:solidFill>
                  <a:srgbClr val="070302"/>
                </a:soli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26" name="Freeform 314"/>
                <p:cNvSpPr>
                  <a:spLocks noEditPoints="1"/>
                </p:cNvSpPr>
                <p:nvPr/>
              </p:nvSpPr>
              <p:spPr bwMode="auto">
                <a:xfrm>
                  <a:off x="6437314" y="3503613"/>
                  <a:ext cx="112713" cy="76200"/>
                </a:xfrm>
                <a:custGeom>
                  <a:avLst/>
                  <a:gdLst>
                    <a:gd name="T0" fmla="*/ 0 w 71"/>
                    <a:gd name="T1" fmla="*/ 48 h 48"/>
                    <a:gd name="T2" fmla="*/ 0 w 71"/>
                    <a:gd name="T3" fmla="*/ 48 h 48"/>
                    <a:gd name="T4" fmla="*/ 0 w 71"/>
                    <a:gd name="T5" fmla="*/ 48 h 48"/>
                    <a:gd name="T6" fmla="*/ 0 w 71"/>
                    <a:gd name="T7" fmla="*/ 48 h 48"/>
                    <a:gd name="T8" fmla="*/ 71 w 71"/>
                    <a:gd name="T9" fmla="*/ 0 h 48"/>
                    <a:gd name="T10" fmla="*/ 71 w 71"/>
                    <a:gd name="T11" fmla="*/ 0 h 48"/>
                    <a:gd name="T12" fmla="*/ 54 w 71"/>
                    <a:gd name="T13" fmla="*/ 20 h 48"/>
                    <a:gd name="T14" fmla="*/ 36 w 71"/>
                    <a:gd name="T15" fmla="*/ 35 h 48"/>
                    <a:gd name="T16" fmla="*/ 17 w 71"/>
                    <a:gd name="T17" fmla="*/ 45 h 48"/>
                    <a:gd name="T18" fmla="*/ 0 w 71"/>
                    <a:gd name="T19" fmla="*/ 48 h 48"/>
                    <a:gd name="T20" fmla="*/ 17 w 71"/>
                    <a:gd name="T21" fmla="*/ 44 h 48"/>
                    <a:gd name="T22" fmla="*/ 36 w 71"/>
                    <a:gd name="T23" fmla="*/ 35 h 48"/>
                    <a:gd name="T24" fmla="*/ 54 w 71"/>
                    <a:gd name="T25" fmla="*/ 20 h 48"/>
                    <a:gd name="T26" fmla="*/ 71 w 71"/>
                    <a:gd name="T27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71" h="48">
                      <a:moveTo>
                        <a:pt x="0" y="48"/>
                      </a:moveTo>
                      <a:lnTo>
                        <a:pt x="0" y="48"/>
                      </a:lnTo>
                      <a:lnTo>
                        <a:pt x="0" y="48"/>
                      </a:lnTo>
                      <a:lnTo>
                        <a:pt x="0" y="48"/>
                      </a:lnTo>
                      <a:close/>
                      <a:moveTo>
                        <a:pt x="71" y="0"/>
                      </a:moveTo>
                      <a:lnTo>
                        <a:pt x="71" y="0"/>
                      </a:lnTo>
                      <a:lnTo>
                        <a:pt x="54" y="20"/>
                      </a:lnTo>
                      <a:lnTo>
                        <a:pt x="36" y="35"/>
                      </a:lnTo>
                      <a:lnTo>
                        <a:pt x="17" y="45"/>
                      </a:lnTo>
                      <a:lnTo>
                        <a:pt x="0" y="48"/>
                      </a:lnTo>
                      <a:lnTo>
                        <a:pt x="17" y="44"/>
                      </a:lnTo>
                      <a:lnTo>
                        <a:pt x="36" y="35"/>
                      </a:lnTo>
                      <a:lnTo>
                        <a:pt x="54" y="20"/>
                      </a:lnTo>
                      <a:lnTo>
                        <a:pt x="71" y="0"/>
                      </a:lnTo>
                      <a:close/>
                    </a:path>
                  </a:pathLst>
                </a:custGeom>
                <a:solidFill>
                  <a:srgbClr val="DA8E5A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27" name="Freeform 315"/>
                <p:cNvSpPr>
                  <a:spLocks/>
                </p:cNvSpPr>
                <p:nvPr/>
              </p:nvSpPr>
              <p:spPr bwMode="auto">
                <a:xfrm>
                  <a:off x="6437314" y="3201988"/>
                  <a:ext cx="168275" cy="377825"/>
                </a:xfrm>
                <a:custGeom>
                  <a:avLst/>
                  <a:gdLst>
                    <a:gd name="T0" fmla="*/ 67 w 106"/>
                    <a:gd name="T1" fmla="*/ 0 h 238"/>
                    <a:gd name="T2" fmla="*/ 73 w 106"/>
                    <a:gd name="T3" fmla="*/ 3 h 238"/>
                    <a:gd name="T4" fmla="*/ 79 w 106"/>
                    <a:gd name="T5" fmla="*/ 6 h 238"/>
                    <a:gd name="T6" fmla="*/ 80 w 106"/>
                    <a:gd name="T7" fmla="*/ 7 h 238"/>
                    <a:gd name="T8" fmla="*/ 89 w 106"/>
                    <a:gd name="T9" fmla="*/ 19 h 238"/>
                    <a:gd name="T10" fmla="*/ 96 w 106"/>
                    <a:gd name="T11" fmla="*/ 36 h 238"/>
                    <a:gd name="T12" fmla="*/ 102 w 106"/>
                    <a:gd name="T13" fmla="*/ 55 h 238"/>
                    <a:gd name="T14" fmla="*/ 95 w 106"/>
                    <a:gd name="T15" fmla="*/ 59 h 238"/>
                    <a:gd name="T16" fmla="*/ 90 w 106"/>
                    <a:gd name="T17" fmla="*/ 71 h 238"/>
                    <a:gd name="T18" fmla="*/ 89 w 106"/>
                    <a:gd name="T19" fmla="*/ 84 h 238"/>
                    <a:gd name="T20" fmla="*/ 90 w 106"/>
                    <a:gd name="T21" fmla="*/ 99 h 238"/>
                    <a:gd name="T22" fmla="*/ 96 w 106"/>
                    <a:gd name="T23" fmla="*/ 110 h 238"/>
                    <a:gd name="T24" fmla="*/ 103 w 106"/>
                    <a:gd name="T25" fmla="*/ 115 h 238"/>
                    <a:gd name="T26" fmla="*/ 106 w 106"/>
                    <a:gd name="T27" fmla="*/ 113 h 238"/>
                    <a:gd name="T28" fmla="*/ 95 w 106"/>
                    <a:gd name="T29" fmla="*/ 151 h 238"/>
                    <a:gd name="T30" fmla="*/ 77 w 106"/>
                    <a:gd name="T31" fmla="*/ 183 h 238"/>
                    <a:gd name="T32" fmla="*/ 71 w 106"/>
                    <a:gd name="T33" fmla="*/ 190 h 238"/>
                    <a:gd name="T34" fmla="*/ 71 w 106"/>
                    <a:gd name="T35" fmla="*/ 190 h 238"/>
                    <a:gd name="T36" fmla="*/ 54 w 106"/>
                    <a:gd name="T37" fmla="*/ 210 h 238"/>
                    <a:gd name="T38" fmla="*/ 36 w 106"/>
                    <a:gd name="T39" fmla="*/ 225 h 238"/>
                    <a:gd name="T40" fmla="*/ 17 w 106"/>
                    <a:gd name="T41" fmla="*/ 234 h 238"/>
                    <a:gd name="T42" fmla="*/ 0 w 106"/>
                    <a:gd name="T43" fmla="*/ 238 h 238"/>
                    <a:gd name="T44" fmla="*/ 3 w 106"/>
                    <a:gd name="T45" fmla="*/ 237 h 238"/>
                    <a:gd name="T46" fmla="*/ 12 w 106"/>
                    <a:gd name="T47" fmla="*/ 231 h 238"/>
                    <a:gd name="T48" fmla="*/ 23 w 106"/>
                    <a:gd name="T49" fmla="*/ 222 h 238"/>
                    <a:gd name="T50" fmla="*/ 38 w 106"/>
                    <a:gd name="T51" fmla="*/ 209 h 238"/>
                    <a:gd name="T52" fmla="*/ 52 w 106"/>
                    <a:gd name="T53" fmla="*/ 189 h 238"/>
                    <a:gd name="T54" fmla="*/ 65 w 106"/>
                    <a:gd name="T55" fmla="*/ 163 h 238"/>
                    <a:gd name="T56" fmla="*/ 79 w 106"/>
                    <a:gd name="T57" fmla="*/ 131 h 238"/>
                    <a:gd name="T58" fmla="*/ 84 w 106"/>
                    <a:gd name="T59" fmla="*/ 100 h 238"/>
                    <a:gd name="T60" fmla="*/ 84 w 106"/>
                    <a:gd name="T61" fmla="*/ 74 h 238"/>
                    <a:gd name="T62" fmla="*/ 83 w 106"/>
                    <a:gd name="T63" fmla="*/ 49 h 238"/>
                    <a:gd name="T64" fmla="*/ 79 w 106"/>
                    <a:gd name="T65" fmla="*/ 30 h 238"/>
                    <a:gd name="T66" fmla="*/ 73 w 106"/>
                    <a:gd name="T67" fmla="*/ 14 h 238"/>
                    <a:gd name="T68" fmla="*/ 68 w 106"/>
                    <a:gd name="T69" fmla="*/ 4 h 238"/>
                    <a:gd name="T70" fmla="*/ 67 w 106"/>
                    <a:gd name="T71" fmla="*/ 0 h 2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06" h="238">
                      <a:moveTo>
                        <a:pt x="67" y="0"/>
                      </a:moveTo>
                      <a:lnTo>
                        <a:pt x="73" y="3"/>
                      </a:lnTo>
                      <a:lnTo>
                        <a:pt x="79" y="6"/>
                      </a:lnTo>
                      <a:lnTo>
                        <a:pt x="80" y="7"/>
                      </a:lnTo>
                      <a:lnTo>
                        <a:pt x="89" y="19"/>
                      </a:lnTo>
                      <a:lnTo>
                        <a:pt x="96" y="36"/>
                      </a:lnTo>
                      <a:lnTo>
                        <a:pt x="102" y="55"/>
                      </a:lnTo>
                      <a:lnTo>
                        <a:pt x="95" y="59"/>
                      </a:lnTo>
                      <a:lnTo>
                        <a:pt x="90" y="71"/>
                      </a:lnTo>
                      <a:lnTo>
                        <a:pt x="89" y="84"/>
                      </a:lnTo>
                      <a:lnTo>
                        <a:pt x="90" y="99"/>
                      </a:lnTo>
                      <a:lnTo>
                        <a:pt x="96" y="110"/>
                      </a:lnTo>
                      <a:lnTo>
                        <a:pt x="103" y="115"/>
                      </a:lnTo>
                      <a:lnTo>
                        <a:pt x="106" y="113"/>
                      </a:lnTo>
                      <a:lnTo>
                        <a:pt x="95" y="151"/>
                      </a:lnTo>
                      <a:lnTo>
                        <a:pt x="77" y="183"/>
                      </a:lnTo>
                      <a:lnTo>
                        <a:pt x="71" y="190"/>
                      </a:lnTo>
                      <a:lnTo>
                        <a:pt x="71" y="190"/>
                      </a:lnTo>
                      <a:lnTo>
                        <a:pt x="54" y="210"/>
                      </a:lnTo>
                      <a:lnTo>
                        <a:pt x="36" y="225"/>
                      </a:lnTo>
                      <a:lnTo>
                        <a:pt x="17" y="234"/>
                      </a:lnTo>
                      <a:lnTo>
                        <a:pt x="0" y="238"/>
                      </a:lnTo>
                      <a:lnTo>
                        <a:pt x="3" y="237"/>
                      </a:lnTo>
                      <a:lnTo>
                        <a:pt x="12" y="231"/>
                      </a:lnTo>
                      <a:lnTo>
                        <a:pt x="23" y="222"/>
                      </a:lnTo>
                      <a:lnTo>
                        <a:pt x="38" y="209"/>
                      </a:lnTo>
                      <a:lnTo>
                        <a:pt x="52" y="189"/>
                      </a:lnTo>
                      <a:lnTo>
                        <a:pt x="65" y="163"/>
                      </a:lnTo>
                      <a:lnTo>
                        <a:pt x="79" y="131"/>
                      </a:lnTo>
                      <a:lnTo>
                        <a:pt x="84" y="100"/>
                      </a:lnTo>
                      <a:lnTo>
                        <a:pt x="84" y="74"/>
                      </a:lnTo>
                      <a:lnTo>
                        <a:pt x="83" y="49"/>
                      </a:lnTo>
                      <a:lnTo>
                        <a:pt x="79" y="30"/>
                      </a:lnTo>
                      <a:lnTo>
                        <a:pt x="73" y="14"/>
                      </a:lnTo>
                      <a:lnTo>
                        <a:pt x="68" y="4"/>
                      </a:lnTo>
                      <a:lnTo>
                        <a:pt x="67" y="0"/>
                      </a:lnTo>
                      <a:close/>
                    </a:path>
                  </a:pathLst>
                </a:custGeom>
                <a:solidFill>
                  <a:srgbClr val="E6AD7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28" name="Freeform 316"/>
                <p:cNvSpPr>
                  <a:spLocks/>
                </p:cNvSpPr>
                <p:nvPr/>
              </p:nvSpPr>
              <p:spPr bwMode="auto">
                <a:xfrm>
                  <a:off x="6543676" y="3201988"/>
                  <a:ext cx="19050" cy="9525"/>
                </a:xfrm>
                <a:custGeom>
                  <a:avLst/>
                  <a:gdLst>
                    <a:gd name="T0" fmla="*/ 0 w 12"/>
                    <a:gd name="T1" fmla="*/ 0 h 6"/>
                    <a:gd name="T2" fmla="*/ 4 w 12"/>
                    <a:gd name="T3" fmla="*/ 1 h 6"/>
                    <a:gd name="T4" fmla="*/ 9 w 12"/>
                    <a:gd name="T5" fmla="*/ 3 h 6"/>
                    <a:gd name="T6" fmla="*/ 12 w 12"/>
                    <a:gd name="T7" fmla="*/ 6 h 6"/>
                    <a:gd name="T8" fmla="*/ 6 w 12"/>
                    <a:gd name="T9" fmla="*/ 3 h 6"/>
                    <a:gd name="T10" fmla="*/ 0 w 12"/>
                    <a:gd name="T11" fmla="*/ 0 h 6"/>
                    <a:gd name="T12" fmla="*/ 0 w 12"/>
                    <a:gd name="T13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6">
                      <a:moveTo>
                        <a:pt x="0" y="0"/>
                      </a:moveTo>
                      <a:lnTo>
                        <a:pt x="4" y="1"/>
                      </a:lnTo>
                      <a:lnTo>
                        <a:pt x="9" y="3"/>
                      </a:lnTo>
                      <a:lnTo>
                        <a:pt x="12" y="6"/>
                      </a:lnTo>
                      <a:lnTo>
                        <a:pt x="6" y="3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2A632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29" name="Freeform 317"/>
                <p:cNvSpPr>
                  <a:spLocks/>
                </p:cNvSpPr>
                <p:nvPr/>
              </p:nvSpPr>
              <p:spPr bwMode="auto">
                <a:xfrm>
                  <a:off x="6564314" y="3213101"/>
                  <a:ext cx="34925" cy="76200"/>
                </a:xfrm>
                <a:custGeom>
                  <a:avLst/>
                  <a:gdLst>
                    <a:gd name="T0" fmla="*/ 0 w 22"/>
                    <a:gd name="T1" fmla="*/ 0 h 48"/>
                    <a:gd name="T2" fmla="*/ 7 w 22"/>
                    <a:gd name="T3" fmla="*/ 10 h 48"/>
                    <a:gd name="T4" fmla="*/ 15 w 22"/>
                    <a:gd name="T5" fmla="*/ 23 h 48"/>
                    <a:gd name="T6" fmla="*/ 19 w 22"/>
                    <a:gd name="T7" fmla="*/ 35 h 48"/>
                    <a:gd name="T8" fmla="*/ 20 w 22"/>
                    <a:gd name="T9" fmla="*/ 45 h 48"/>
                    <a:gd name="T10" fmla="*/ 22 w 22"/>
                    <a:gd name="T11" fmla="*/ 48 h 48"/>
                    <a:gd name="T12" fmla="*/ 22 w 22"/>
                    <a:gd name="T13" fmla="*/ 48 h 48"/>
                    <a:gd name="T14" fmla="*/ 22 w 22"/>
                    <a:gd name="T15" fmla="*/ 48 h 48"/>
                    <a:gd name="T16" fmla="*/ 22 w 22"/>
                    <a:gd name="T17" fmla="*/ 48 h 48"/>
                    <a:gd name="T18" fmla="*/ 16 w 22"/>
                    <a:gd name="T19" fmla="*/ 29 h 48"/>
                    <a:gd name="T20" fmla="*/ 9 w 22"/>
                    <a:gd name="T21" fmla="*/ 12 h 48"/>
                    <a:gd name="T22" fmla="*/ 0 w 22"/>
                    <a:gd name="T23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2" h="48">
                      <a:moveTo>
                        <a:pt x="0" y="0"/>
                      </a:moveTo>
                      <a:lnTo>
                        <a:pt x="7" y="10"/>
                      </a:lnTo>
                      <a:lnTo>
                        <a:pt x="15" y="23"/>
                      </a:lnTo>
                      <a:lnTo>
                        <a:pt x="19" y="35"/>
                      </a:lnTo>
                      <a:lnTo>
                        <a:pt x="20" y="45"/>
                      </a:lnTo>
                      <a:lnTo>
                        <a:pt x="22" y="48"/>
                      </a:lnTo>
                      <a:lnTo>
                        <a:pt x="22" y="48"/>
                      </a:lnTo>
                      <a:lnTo>
                        <a:pt x="22" y="48"/>
                      </a:lnTo>
                      <a:lnTo>
                        <a:pt x="22" y="48"/>
                      </a:lnTo>
                      <a:lnTo>
                        <a:pt x="16" y="29"/>
                      </a:lnTo>
                      <a:lnTo>
                        <a:pt x="9" y="1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68923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30" name="Freeform 318"/>
                <p:cNvSpPr>
                  <a:spLocks noEditPoints="1"/>
                </p:cNvSpPr>
                <p:nvPr/>
              </p:nvSpPr>
              <p:spPr bwMode="auto">
                <a:xfrm>
                  <a:off x="6599239" y="3289301"/>
                  <a:ext cx="17463" cy="14288"/>
                </a:xfrm>
                <a:custGeom>
                  <a:avLst/>
                  <a:gdLst>
                    <a:gd name="T0" fmla="*/ 4 w 11"/>
                    <a:gd name="T1" fmla="*/ 0 h 9"/>
                    <a:gd name="T2" fmla="*/ 7 w 11"/>
                    <a:gd name="T3" fmla="*/ 1 h 9"/>
                    <a:gd name="T4" fmla="*/ 7 w 11"/>
                    <a:gd name="T5" fmla="*/ 3 h 9"/>
                    <a:gd name="T6" fmla="*/ 9 w 11"/>
                    <a:gd name="T7" fmla="*/ 3 h 9"/>
                    <a:gd name="T8" fmla="*/ 10 w 11"/>
                    <a:gd name="T9" fmla="*/ 4 h 9"/>
                    <a:gd name="T10" fmla="*/ 11 w 11"/>
                    <a:gd name="T11" fmla="*/ 9 h 9"/>
                    <a:gd name="T12" fmla="*/ 11 w 11"/>
                    <a:gd name="T13" fmla="*/ 9 h 9"/>
                    <a:gd name="T14" fmla="*/ 9 w 11"/>
                    <a:gd name="T15" fmla="*/ 3 h 9"/>
                    <a:gd name="T16" fmla="*/ 4 w 11"/>
                    <a:gd name="T17" fmla="*/ 0 h 9"/>
                    <a:gd name="T18" fmla="*/ 0 w 11"/>
                    <a:gd name="T19" fmla="*/ 0 h 9"/>
                    <a:gd name="T20" fmla="*/ 1 w 11"/>
                    <a:gd name="T21" fmla="*/ 0 h 9"/>
                    <a:gd name="T22" fmla="*/ 0 w 11"/>
                    <a:gd name="T23" fmla="*/ 0 h 9"/>
                    <a:gd name="T24" fmla="*/ 0 w 11"/>
                    <a:gd name="T25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1" h="9">
                      <a:moveTo>
                        <a:pt x="4" y="0"/>
                      </a:moveTo>
                      <a:lnTo>
                        <a:pt x="7" y="1"/>
                      </a:lnTo>
                      <a:lnTo>
                        <a:pt x="7" y="3"/>
                      </a:lnTo>
                      <a:lnTo>
                        <a:pt x="9" y="3"/>
                      </a:lnTo>
                      <a:lnTo>
                        <a:pt x="10" y="4"/>
                      </a:lnTo>
                      <a:lnTo>
                        <a:pt x="11" y="9"/>
                      </a:lnTo>
                      <a:lnTo>
                        <a:pt x="11" y="9"/>
                      </a:lnTo>
                      <a:lnTo>
                        <a:pt x="9" y="3"/>
                      </a:lnTo>
                      <a:lnTo>
                        <a:pt x="4" y="0"/>
                      </a:lnTo>
                      <a:close/>
                      <a:moveTo>
                        <a:pt x="0" y="0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2840E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31" name="Freeform 319"/>
                <p:cNvSpPr>
                  <a:spLocks/>
                </p:cNvSpPr>
                <p:nvPr/>
              </p:nvSpPr>
              <p:spPr bwMode="auto">
                <a:xfrm>
                  <a:off x="6578601" y="3289301"/>
                  <a:ext cx="46038" cy="95250"/>
                </a:xfrm>
                <a:custGeom>
                  <a:avLst/>
                  <a:gdLst>
                    <a:gd name="T0" fmla="*/ 14 w 29"/>
                    <a:gd name="T1" fmla="*/ 0 h 60"/>
                    <a:gd name="T2" fmla="*/ 16 w 29"/>
                    <a:gd name="T3" fmla="*/ 0 h 60"/>
                    <a:gd name="T4" fmla="*/ 17 w 29"/>
                    <a:gd name="T5" fmla="*/ 0 h 60"/>
                    <a:gd name="T6" fmla="*/ 24 w 29"/>
                    <a:gd name="T7" fmla="*/ 6 h 60"/>
                    <a:gd name="T8" fmla="*/ 27 w 29"/>
                    <a:gd name="T9" fmla="*/ 16 h 60"/>
                    <a:gd name="T10" fmla="*/ 29 w 29"/>
                    <a:gd name="T11" fmla="*/ 29 h 60"/>
                    <a:gd name="T12" fmla="*/ 27 w 29"/>
                    <a:gd name="T13" fmla="*/ 44 h 60"/>
                    <a:gd name="T14" fmla="*/ 22 w 29"/>
                    <a:gd name="T15" fmla="*/ 55 h 60"/>
                    <a:gd name="T16" fmla="*/ 14 w 29"/>
                    <a:gd name="T17" fmla="*/ 60 h 60"/>
                    <a:gd name="T18" fmla="*/ 7 w 29"/>
                    <a:gd name="T19" fmla="*/ 55 h 60"/>
                    <a:gd name="T20" fmla="*/ 1 w 29"/>
                    <a:gd name="T21" fmla="*/ 44 h 60"/>
                    <a:gd name="T22" fmla="*/ 0 w 29"/>
                    <a:gd name="T23" fmla="*/ 29 h 60"/>
                    <a:gd name="T24" fmla="*/ 1 w 29"/>
                    <a:gd name="T25" fmla="*/ 14 h 60"/>
                    <a:gd name="T26" fmla="*/ 7 w 29"/>
                    <a:gd name="T27" fmla="*/ 4 h 60"/>
                    <a:gd name="T28" fmla="*/ 14 w 29"/>
                    <a:gd name="T29" fmla="*/ 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9" h="60">
                      <a:moveTo>
                        <a:pt x="14" y="0"/>
                      </a:moveTo>
                      <a:lnTo>
                        <a:pt x="16" y="0"/>
                      </a:lnTo>
                      <a:lnTo>
                        <a:pt x="17" y="0"/>
                      </a:lnTo>
                      <a:lnTo>
                        <a:pt x="24" y="6"/>
                      </a:lnTo>
                      <a:lnTo>
                        <a:pt x="27" y="16"/>
                      </a:lnTo>
                      <a:lnTo>
                        <a:pt x="29" y="29"/>
                      </a:lnTo>
                      <a:lnTo>
                        <a:pt x="27" y="44"/>
                      </a:lnTo>
                      <a:lnTo>
                        <a:pt x="22" y="55"/>
                      </a:lnTo>
                      <a:lnTo>
                        <a:pt x="14" y="60"/>
                      </a:lnTo>
                      <a:lnTo>
                        <a:pt x="7" y="55"/>
                      </a:lnTo>
                      <a:lnTo>
                        <a:pt x="1" y="44"/>
                      </a:lnTo>
                      <a:lnTo>
                        <a:pt x="0" y="29"/>
                      </a:lnTo>
                      <a:lnTo>
                        <a:pt x="1" y="14"/>
                      </a:lnTo>
                      <a:lnTo>
                        <a:pt x="7" y="4"/>
                      </a:lnTo>
                      <a:lnTo>
                        <a:pt x="14" y="0"/>
                      </a:lnTo>
                      <a:close/>
                    </a:path>
                  </a:pathLst>
                </a:custGeom>
                <a:solidFill>
                  <a:srgbClr val="F2D2B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32" name="Freeform 320"/>
                <p:cNvSpPr>
                  <a:spLocks/>
                </p:cNvSpPr>
                <p:nvPr/>
              </p:nvSpPr>
              <p:spPr bwMode="auto">
                <a:xfrm>
                  <a:off x="6578601" y="3289301"/>
                  <a:ext cx="46038" cy="95250"/>
                </a:xfrm>
                <a:custGeom>
                  <a:avLst/>
                  <a:gdLst>
                    <a:gd name="T0" fmla="*/ 14 w 29"/>
                    <a:gd name="T1" fmla="*/ 0 h 60"/>
                    <a:gd name="T2" fmla="*/ 16 w 29"/>
                    <a:gd name="T3" fmla="*/ 0 h 60"/>
                    <a:gd name="T4" fmla="*/ 17 w 29"/>
                    <a:gd name="T5" fmla="*/ 0 h 60"/>
                    <a:gd name="T6" fmla="*/ 24 w 29"/>
                    <a:gd name="T7" fmla="*/ 6 h 60"/>
                    <a:gd name="T8" fmla="*/ 27 w 29"/>
                    <a:gd name="T9" fmla="*/ 16 h 60"/>
                    <a:gd name="T10" fmla="*/ 29 w 29"/>
                    <a:gd name="T11" fmla="*/ 29 h 60"/>
                    <a:gd name="T12" fmla="*/ 27 w 29"/>
                    <a:gd name="T13" fmla="*/ 44 h 60"/>
                    <a:gd name="T14" fmla="*/ 22 w 29"/>
                    <a:gd name="T15" fmla="*/ 55 h 60"/>
                    <a:gd name="T16" fmla="*/ 14 w 29"/>
                    <a:gd name="T17" fmla="*/ 60 h 60"/>
                    <a:gd name="T18" fmla="*/ 7 w 29"/>
                    <a:gd name="T19" fmla="*/ 55 h 60"/>
                    <a:gd name="T20" fmla="*/ 1 w 29"/>
                    <a:gd name="T21" fmla="*/ 44 h 60"/>
                    <a:gd name="T22" fmla="*/ 0 w 29"/>
                    <a:gd name="T23" fmla="*/ 29 h 60"/>
                    <a:gd name="T24" fmla="*/ 1 w 29"/>
                    <a:gd name="T25" fmla="*/ 14 h 60"/>
                    <a:gd name="T26" fmla="*/ 7 w 29"/>
                    <a:gd name="T27" fmla="*/ 4 h 60"/>
                    <a:gd name="T28" fmla="*/ 14 w 29"/>
                    <a:gd name="T29" fmla="*/ 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9" h="60">
                      <a:moveTo>
                        <a:pt x="14" y="0"/>
                      </a:moveTo>
                      <a:lnTo>
                        <a:pt x="16" y="0"/>
                      </a:lnTo>
                      <a:lnTo>
                        <a:pt x="17" y="0"/>
                      </a:lnTo>
                      <a:lnTo>
                        <a:pt x="24" y="6"/>
                      </a:lnTo>
                      <a:lnTo>
                        <a:pt x="27" y="16"/>
                      </a:lnTo>
                      <a:lnTo>
                        <a:pt x="29" y="29"/>
                      </a:lnTo>
                      <a:lnTo>
                        <a:pt x="27" y="44"/>
                      </a:lnTo>
                      <a:lnTo>
                        <a:pt x="22" y="55"/>
                      </a:lnTo>
                      <a:lnTo>
                        <a:pt x="14" y="60"/>
                      </a:lnTo>
                      <a:lnTo>
                        <a:pt x="7" y="55"/>
                      </a:lnTo>
                      <a:lnTo>
                        <a:pt x="1" y="44"/>
                      </a:lnTo>
                      <a:lnTo>
                        <a:pt x="0" y="29"/>
                      </a:lnTo>
                      <a:lnTo>
                        <a:pt x="1" y="14"/>
                      </a:lnTo>
                      <a:lnTo>
                        <a:pt x="7" y="4"/>
                      </a:lnTo>
                      <a:lnTo>
                        <a:pt x="14" y="0"/>
                      </a:lnTo>
                      <a:close/>
                    </a:path>
                  </a:pathLst>
                </a:custGeom>
                <a:solidFill>
                  <a:srgbClr val="E6AD7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33" name="Freeform 321"/>
                <p:cNvSpPr>
                  <a:spLocks/>
                </p:cNvSpPr>
                <p:nvPr/>
              </p:nvSpPr>
              <p:spPr bwMode="auto">
                <a:xfrm>
                  <a:off x="5538789" y="4540251"/>
                  <a:ext cx="481013" cy="835025"/>
                </a:xfrm>
                <a:custGeom>
                  <a:avLst/>
                  <a:gdLst>
                    <a:gd name="T0" fmla="*/ 243 w 303"/>
                    <a:gd name="T1" fmla="*/ 0 h 526"/>
                    <a:gd name="T2" fmla="*/ 262 w 303"/>
                    <a:gd name="T3" fmla="*/ 1 h 526"/>
                    <a:gd name="T4" fmla="*/ 279 w 303"/>
                    <a:gd name="T5" fmla="*/ 11 h 526"/>
                    <a:gd name="T6" fmla="*/ 284 w 303"/>
                    <a:gd name="T7" fmla="*/ 19 h 526"/>
                    <a:gd name="T8" fmla="*/ 294 w 303"/>
                    <a:gd name="T9" fmla="*/ 30 h 526"/>
                    <a:gd name="T10" fmla="*/ 300 w 303"/>
                    <a:gd name="T11" fmla="*/ 45 h 526"/>
                    <a:gd name="T12" fmla="*/ 303 w 303"/>
                    <a:gd name="T13" fmla="*/ 65 h 526"/>
                    <a:gd name="T14" fmla="*/ 303 w 303"/>
                    <a:gd name="T15" fmla="*/ 86 h 526"/>
                    <a:gd name="T16" fmla="*/ 300 w 303"/>
                    <a:gd name="T17" fmla="*/ 106 h 526"/>
                    <a:gd name="T18" fmla="*/ 295 w 303"/>
                    <a:gd name="T19" fmla="*/ 126 h 526"/>
                    <a:gd name="T20" fmla="*/ 290 w 303"/>
                    <a:gd name="T21" fmla="*/ 145 h 526"/>
                    <a:gd name="T22" fmla="*/ 281 w 303"/>
                    <a:gd name="T23" fmla="*/ 158 h 526"/>
                    <a:gd name="T24" fmla="*/ 109 w 303"/>
                    <a:gd name="T25" fmla="*/ 461 h 526"/>
                    <a:gd name="T26" fmla="*/ 102 w 303"/>
                    <a:gd name="T27" fmla="*/ 474 h 526"/>
                    <a:gd name="T28" fmla="*/ 95 w 303"/>
                    <a:gd name="T29" fmla="*/ 487 h 526"/>
                    <a:gd name="T30" fmla="*/ 89 w 303"/>
                    <a:gd name="T31" fmla="*/ 500 h 526"/>
                    <a:gd name="T32" fmla="*/ 83 w 303"/>
                    <a:gd name="T33" fmla="*/ 510 h 526"/>
                    <a:gd name="T34" fmla="*/ 76 w 303"/>
                    <a:gd name="T35" fmla="*/ 520 h 526"/>
                    <a:gd name="T36" fmla="*/ 69 w 303"/>
                    <a:gd name="T37" fmla="*/ 525 h 526"/>
                    <a:gd name="T38" fmla="*/ 61 w 303"/>
                    <a:gd name="T39" fmla="*/ 526 h 526"/>
                    <a:gd name="T40" fmla="*/ 50 w 303"/>
                    <a:gd name="T41" fmla="*/ 520 h 526"/>
                    <a:gd name="T42" fmla="*/ 32 w 303"/>
                    <a:gd name="T43" fmla="*/ 510 h 526"/>
                    <a:gd name="T44" fmla="*/ 19 w 303"/>
                    <a:gd name="T45" fmla="*/ 503 h 526"/>
                    <a:gd name="T46" fmla="*/ 9 w 303"/>
                    <a:gd name="T47" fmla="*/ 501 h 526"/>
                    <a:gd name="T48" fmla="*/ 3 w 303"/>
                    <a:gd name="T49" fmla="*/ 503 h 526"/>
                    <a:gd name="T50" fmla="*/ 2 w 303"/>
                    <a:gd name="T51" fmla="*/ 503 h 526"/>
                    <a:gd name="T52" fmla="*/ 0 w 303"/>
                    <a:gd name="T53" fmla="*/ 503 h 526"/>
                    <a:gd name="T54" fmla="*/ 0 w 303"/>
                    <a:gd name="T55" fmla="*/ 503 h 526"/>
                    <a:gd name="T56" fmla="*/ 2 w 303"/>
                    <a:gd name="T57" fmla="*/ 503 h 526"/>
                    <a:gd name="T58" fmla="*/ 3 w 303"/>
                    <a:gd name="T59" fmla="*/ 501 h 526"/>
                    <a:gd name="T60" fmla="*/ 6 w 303"/>
                    <a:gd name="T61" fmla="*/ 498 h 526"/>
                    <a:gd name="T62" fmla="*/ 9 w 303"/>
                    <a:gd name="T63" fmla="*/ 494 h 526"/>
                    <a:gd name="T64" fmla="*/ 13 w 303"/>
                    <a:gd name="T65" fmla="*/ 490 h 526"/>
                    <a:gd name="T66" fmla="*/ 197 w 303"/>
                    <a:gd name="T67" fmla="*/ 32 h 526"/>
                    <a:gd name="T68" fmla="*/ 211 w 303"/>
                    <a:gd name="T69" fmla="*/ 16 h 526"/>
                    <a:gd name="T70" fmla="*/ 227 w 303"/>
                    <a:gd name="T71" fmla="*/ 4 h 526"/>
                    <a:gd name="T72" fmla="*/ 243 w 303"/>
                    <a:gd name="T73" fmla="*/ 0 h 5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303" h="526">
                      <a:moveTo>
                        <a:pt x="243" y="0"/>
                      </a:moveTo>
                      <a:lnTo>
                        <a:pt x="262" y="1"/>
                      </a:lnTo>
                      <a:lnTo>
                        <a:pt x="279" y="11"/>
                      </a:lnTo>
                      <a:lnTo>
                        <a:pt x="284" y="19"/>
                      </a:lnTo>
                      <a:lnTo>
                        <a:pt x="294" y="30"/>
                      </a:lnTo>
                      <a:lnTo>
                        <a:pt x="300" y="45"/>
                      </a:lnTo>
                      <a:lnTo>
                        <a:pt x="303" y="65"/>
                      </a:lnTo>
                      <a:lnTo>
                        <a:pt x="303" y="86"/>
                      </a:lnTo>
                      <a:lnTo>
                        <a:pt x="300" y="106"/>
                      </a:lnTo>
                      <a:lnTo>
                        <a:pt x="295" y="126"/>
                      </a:lnTo>
                      <a:lnTo>
                        <a:pt x="290" y="145"/>
                      </a:lnTo>
                      <a:lnTo>
                        <a:pt x="281" y="158"/>
                      </a:lnTo>
                      <a:lnTo>
                        <a:pt x="109" y="461"/>
                      </a:lnTo>
                      <a:lnTo>
                        <a:pt x="102" y="474"/>
                      </a:lnTo>
                      <a:lnTo>
                        <a:pt x="95" y="487"/>
                      </a:lnTo>
                      <a:lnTo>
                        <a:pt x="89" y="500"/>
                      </a:lnTo>
                      <a:lnTo>
                        <a:pt x="83" y="510"/>
                      </a:lnTo>
                      <a:lnTo>
                        <a:pt x="76" y="520"/>
                      </a:lnTo>
                      <a:lnTo>
                        <a:pt x="69" y="525"/>
                      </a:lnTo>
                      <a:lnTo>
                        <a:pt x="61" y="526"/>
                      </a:lnTo>
                      <a:lnTo>
                        <a:pt x="50" y="520"/>
                      </a:lnTo>
                      <a:lnTo>
                        <a:pt x="32" y="510"/>
                      </a:lnTo>
                      <a:lnTo>
                        <a:pt x="19" y="503"/>
                      </a:lnTo>
                      <a:lnTo>
                        <a:pt x="9" y="501"/>
                      </a:lnTo>
                      <a:lnTo>
                        <a:pt x="3" y="503"/>
                      </a:lnTo>
                      <a:lnTo>
                        <a:pt x="2" y="503"/>
                      </a:lnTo>
                      <a:lnTo>
                        <a:pt x="0" y="503"/>
                      </a:lnTo>
                      <a:lnTo>
                        <a:pt x="0" y="503"/>
                      </a:lnTo>
                      <a:lnTo>
                        <a:pt x="2" y="503"/>
                      </a:lnTo>
                      <a:lnTo>
                        <a:pt x="3" y="501"/>
                      </a:lnTo>
                      <a:lnTo>
                        <a:pt x="6" y="498"/>
                      </a:lnTo>
                      <a:lnTo>
                        <a:pt x="9" y="494"/>
                      </a:lnTo>
                      <a:lnTo>
                        <a:pt x="13" y="490"/>
                      </a:lnTo>
                      <a:lnTo>
                        <a:pt x="197" y="32"/>
                      </a:lnTo>
                      <a:lnTo>
                        <a:pt x="211" y="16"/>
                      </a:lnTo>
                      <a:lnTo>
                        <a:pt x="227" y="4"/>
                      </a:lnTo>
                      <a:lnTo>
                        <a:pt x="243" y="0"/>
                      </a:lnTo>
                      <a:close/>
                    </a:path>
                  </a:pathLst>
                </a:custGeom>
                <a:solidFill>
                  <a:srgbClr val="5FDDFE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34" name="Freeform 322"/>
                <p:cNvSpPr>
                  <a:spLocks/>
                </p:cNvSpPr>
                <p:nvPr/>
              </p:nvSpPr>
              <p:spPr bwMode="auto">
                <a:xfrm>
                  <a:off x="5795964" y="4845051"/>
                  <a:ext cx="158750" cy="279400"/>
                </a:xfrm>
                <a:custGeom>
                  <a:avLst/>
                  <a:gdLst>
                    <a:gd name="T0" fmla="*/ 100 w 100"/>
                    <a:gd name="T1" fmla="*/ 0 h 176"/>
                    <a:gd name="T2" fmla="*/ 100 w 100"/>
                    <a:gd name="T3" fmla="*/ 0 h 176"/>
                    <a:gd name="T4" fmla="*/ 0 w 100"/>
                    <a:gd name="T5" fmla="*/ 176 h 176"/>
                    <a:gd name="T6" fmla="*/ 0 w 100"/>
                    <a:gd name="T7" fmla="*/ 176 h 176"/>
                    <a:gd name="T8" fmla="*/ 100 w 100"/>
                    <a:gd name="T9" fmla="*/ 0 h 1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0" h="176">
                      <a:moveTo>
                        <a:pt x="100" y="0"/>
                      </a:moveTo>
                      <a:lnTo>
                        <a:pt x="100" y="0"/>
                      </a:lnTo>
                      <a:lnTo>
                        <a:pt x="0" y="176"/>
                      </a:lnTo>
                      <a:lnTo>
                        <a:pt x="0" y="176"/>
                      </a:lnTo>
                      <a:lnTo>
                        <a:pt x="100" y="0"/>
                      </a:lnTo>
                      <a:close/>
                    </a:path>
                  </a:pathLst>
                </a:custGeom>
                <a:solidFill>
                  <a:srgbClr val="5FDDFE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35" name="Freeform 323"/>
                <p:cNvSpPr>
                  <a:spLocks/>
                </p:cNvSpPr>
                <p:nvPr/>
              </p:nvSpPr>
              <p:spPr bwMode="auto">
                <a:xfrm>
                  <a:off x="5707064" y="5124451"/>
                  <a:ext cx="88900" cy="153988"/>
                </a:xfrm>
                <a:custGeom>
                  <a:avLst/>
                  <a:gdLst>
                    <a:gd name="T0" fmla="*/ 56 w 56"/>
                    <a:gd name="T1" fmla="*/ 0 h 97"/>
                    <a:gd name="T2" fmla="*/ 56 w 56"/>
                    <a:gd name="T3" fmla="*/ 0 h 97"/>
                    <a:gd name="T4" fmla="*/ 3 w 56"/>
                    <a:gd name="T5" fmla="*/ 93 h 97"/>
                    <a:gd name="T6" fmla="*/ 0 w 56"/>
                    <a:gd name="T7" fmla="*/ 97 h 97"/>
                    <a:gd name="T8" fmla="*/ 0 w 56"/>
                    <a:gd name="T9" fmla="*/ 97 h 97"/>
                    <a:gd name="T10" fmla="*/ 3 w 56"/>
                    <a:gd name="T11" fmla="*/ 93 h 97"/>
                    <a:gd name="T12" fmla="*/ 56 w 56"/>
                    <a:gd name="T13" fmla="*/ 0 h 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6" h="97">
                      <a:moveTo>
                        <a:pt x="56" y="0"/>
                      </a:moveTo>
                      <a:lnTo>
                        <a:pt x="56" y="0"/>
                      </a:lnTo>
                      <a:lnTo>
                        <a:pt x="3" y="93"/>
                      </a:lnTo>
                      <a:lnTo>
                        <a:pt x="0" y="97"/>
                      </a:lnTo>
                      <a:lnTo>
                        <a:pt x="0" y="97"/>
                      </a:lnTo>
                      <a:lnTo>
                        <a:pt x="3" y="93"/>
                      </a:lnTo>
                      <a:lnTo>
                        <a:pt x="56" y="0"/>
                      </a:lnTo>
                      <a:close/>
                    </a:path>
                  </a:pathLst>
                </a:custGeom>
                <a:solidFill>
                  <a:srgbClr val="52BAD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36" name="Freeform 324"/>
                <p:cNvSpPr>
                  <a:spLocks/>
                </p:cNvSpPr>
                <p:nvPr/>
              </p:nvSpPr>
              <p:spPr bwMode="auto">
                <a:xfrm>
                  <a:off x="5868989" y="4495801"/>
                  <a:ext cx="261938" cy="74613"/>
                </a:xfrm>
                <a:custGeom>
                  <a:avLst/>
                  <a:gdLst>
                    <a:gd name="T0" fmla="*/ 165 w 165"/>
                    <a:gd name="T1" fmla="*/ 0 h 47"/>
                    <a:gd name="T2" fmla="*/ 165 w 165"/>
                    <a:gd name="T3" fmla="*/ 0 h 47"/>
                    <a:gd name="T4" fmla="*/ 32 w 165"/>
                    <a:gd name="T5" fmla="*/ 28 h 47"/>
                    <a:gd name="T6" fmla="*/ 25 w 165"/>
                    <a:gd name="T7" fmla="*/ 29 h 47"/>
                    <a:gd name="T8" fmla="*/ 18 w 165"/>
                    <a:gd name="T9" fmla="*/ 32 h 47"/>
                    <a:gd name="T10" fmla="*/ 12 w 165"/>
                    <a:gd name="T11" fmla="*/ 37 h 47"/>
                    <a:gd name="T12" fmla="*/ 6 w 165"/>
                    <a:gd name="T13" fmla="*/ 41 h 47"/>
                    <a:gd name="T14" fmla="*/ 0 w 165"/>
                    <a:gd name="T15" fmla="*/ 47 h 47"/>
                    <a:gd name="T16" fmla="*/ 6 w 165"/>
                    <a:gd name="T17" fmla="*/ 41 h 47"/>
                    <a:gd name="T18" fmla="*/ 12 w 165"/>
                    <a:gd name="T19" fmla="*/ 37 h 47"/>
                    <a:gd name="T20" fmla="*/ 18 w 165"/>
                    <a:gd name="T21" fmla="*/ 32 h 47"/>
                    <a:gd name="T22" fmla="*/ 25 w 165"/>
                    <a:gd name="T23" fmla="*/ 29 h 47"/>
                    <a:gd name="T24" fmla="*/ 32 w 165"/>
                    <a:gd name="T25" fmla="*/ 28 h 47"/>
                    <a:gd name="T26" fmla="*/ 165 w 165"/>
                    <a:gd name="T27" fmla="*/ 0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65" h="47">
                      <a:moveTo>
                        <a:pt x="165" y="0"/>
                      </a:moveTo>
                      <a:lnTo>
                        <a:pt x="165" y="0"/>
                      </a:lnTo>
                      <a:lnTo>
                        <a:pt x="32" y="28"/>
                      </a:lnTo>
                      <a:lnTo>
                        <a:pt x="25" y="29"/>
                      </a:lnTo>
                      <a:lnTo>
                        <a:pt x="18" y="32"/>
                      </a:lnTo>
                      <a:lnTo>
                        <a:pt x="12" y="37"/>
                      </a:lnTo>
                      <a:lnTo>
                        <a:pt x="6" y="41"/>
                      </a:lnTo>
                      <a:lnTo>
                        <a:pt x="0" y="47"/>
                      </a:lnTo>
                      <a:lnTo>
                        <a:pt x="6" y="41"/>
                      </a:lnTo>
                      <a:lnTo>
                        <a:pt x="12" y="37"/>
                      </a:lnTo>
                      <a:lnTo>
                        <a:pt x="18" y="32"/>
                      </a:lnTo>
                      <a:lnTo>
                        <a:pt x="25" y="29"/>
                      </a:lnTo>
                      <a:lnTo>
                        <a:pt x="32" y="28"/>
                      </a:lnTo>
                      <a:lnTo>
                        <a:pt x="165" y="0"/>
                      </a:lnTo>
                      <a:close/>
                    </a:path>
                  </a:pathLst>
                </a:custGeom>
                <a:solidFill>
                  <a:srgbClr val="5FDDFE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37" name="Freeform 325"/>
                <p:cNvSpPr>
                  <a:spLocks/>
                </p:cNvSpPr>
                <p:nvPr/>
              </p:nvSpPr>
              <p:spPr bwMode="auto">
                <a:xfrm>
                  <a:off x="5699126" y="5278438"/>
                  <a:ext cx="7938" cy="15875"/>
                </a:xfrm>
                <a:custGeom>
                  <a:avLst/>
                  <a:gdLst>
                    <a:gd name="T0" fmla="*/ 5 w 5"/>
                    <a:gd name="T1" fmla="*/ 0 h 10"/>
                    <a:gd name="T2" fmla="*/ 5 w 5"/>
                    <a:gd name="T3" fmla="*/ 0 h 10"/>
                    <a:gd name="T4" fmla="*/ 0 w 5"/>
                    <a:gd name="T5" fmla="*/ 10 h 10"/>
                    <a:gd name="T6" fmla="*/ 0 w 5"/>
                    <a:gd name="T7" fmla="*/ 10 h 10"/>
                    <a:gd name="T8" fmla="*/ 5 w 5"/>
                    <a:gd name="T9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10">
                      <a:moveTo>
                        <a:pt x="5" y="0"/>
                      </a:moveTo>
                      <a:lnTo>
                        <a:pt x="5" y="0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489DB6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38" name="Rectangle 326"/>
                <p:cNvSpPr>
                  <a:spLocks noChangeArrowheads="1"/>
                </p:cNvSpPr>
                <p:nvPr/>
              </p:nvSpPr>
              <p:spPr bwMode="auto">
                <a:xfrm>
                  <a:off x="6130926" y="4495801"/>
                  <a:ext cx="1588" cy="1588"/>
                </a:xfrm>
                <a:prstGeom prst="rect">
                  <a:avLst/>
                </a:prstGeom>
                <a:solidFill>
                  <a:srgbClr val="13292C"/>
                </a:soli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39" name="Freeform 327"/>
                <p:cNvSpPr>
                  <a:spLocks/>
                </p:cNvSpPr>
                <p:nvPr/>
              </p:nvSpPr>
              <p:spPr bwMode="auto">
                <a:xfrm>
                  <a:off x="5954714" y="4733926"/>
                  <a:ext cx="55563" cy="111125"/>
                </a:xfrm>
                <a:custGeom>
                  <a:avLst/>
                  <a:gdLst>
                    <a:gd name="T0" fmla="*/ 35 w 35"/>
                    <a:gd name="T1" fmla="*/ 0 h 70"/>
                    <a:gd name="T2" fmla="*/ 28 w 35"/>
                    <a:gd name="T3" fmla="*/ 20 h 70"/>
                    <a:gd name="T4" fmla="*/ 19 w 35"/>
                    <a:gd name="T5" fmla="*/ 36 h 70"/>
                    <a:gd name="T6" fmla="*/ 0 w 35"/>
                    <a:gd name="T7" fmla="*/ 70 h 70"/>
                    <a:gd name="T8" fmla="*/ 0 w 35"/>
                    <a:gd name="T9" fmla="*/ 70 h 70"/>
                    <a:gd name="T10" fmla="*/ 19 w 35"/>
                    <a:gd name="T11" fmla="*/ 36 h 70"/>
                    <a:gd name="T12" fmla="*/ 28 w 35"/>
                    <a:gd name="T13" fmla="*/ 20 h 70"/>
                    <a:gd name="T14" fmla="*/ 35 w 35"/>
                    <a:gd name="T15" fmla="*/ 0 h 70"/>
                    <a:gd name="T16" fmla="*/ 35 w 35"/>
                    <a:gd name="T17" fmla="*/ 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5" h="70">
                      <a:moveTo>
                        <a:pt x="35" y="0"/>
                      </a:moveTo>
                      <a:lnTo>
                        <a:pt x="28" y="20"/>
                      </a:lnTo>
                      <a:lnTo>
                        <a:pt x="19" y="36"/>
                      </a:lnTo>
                      <a:lnTo>
                        <a:pt x="0" y="70"/>
                      </a:lnTo>
                      <a:lnTo>
                        <a:pt x="0" y="70"/>
                      </a:lnTo>
                      <a:lnTo>
                        <a:pt x="19" y="36"/>
                      </a:lnTo>
                      <a:lnTo>
                        <a:pt x="28" y="20"/>
                      </a:lnTo>
                      <a:lnTo>
                        <a:pt x="35" y="0"/>
                      </a:lnTo>
                      <a:lnTo>
                        <a:pt x="35" y="0"/>
                      </a:lnTo>
                      <a:close/>
                    </a:path>
                  </a:pathLst>
                </a:custGeom>
                <a:solidFill>
                  <a:srgbClr val="13292C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40" name="Freeform 328"/>
                <p:cNvSpPr>
                  <a:spLocks/>
                </p:cNvSpPr>
                <p:nvPr/>
              </p:nvSpPr>
              <p:spPr bwMode="auto">
                <a:xfrm>
                  <a:off x="5888039" y="4495801"/>
                  <a:ext cx="244475" cy="238125"/>
                </a:xfrm>
                <a:custGeom>
                  <a:avLst/>
                  <a:gdLst>
                    <a:gd name="T0" fmla="*/ 154 w 154"/>
                    <a:gd name="T1" fmla="*/ 0 h 150"/>
                    <a:gd name="T2" fmla="*/ 150 w 154"/>
                    <a:gd name="T3" fmla="*/ 19 h 150"/>
                    <a:gd name="T4" fmla="*/ 145 w 154"/>
                    <a:gd name="T5" fmla="*/ 39 h 150"/>
                    <a:gd name="T6" fmla="*/ 145 w 154"/>
                    <a:gd name="T7" fmla="*/ 44 h 150"/>
                    <a:gd name="T8" fmla="*/ 145 w 154"/>
                    <a:gd name="T9" fmla="*/ 44 h 150"/>
                    <a:gd name="T10" fmla="*/ 145 w 154"/>
                    <a:gd name="T11" fmla="*/ 44 h 150"/>
                    <a:gd name="T12" fmla="*/ 144 w 154"/>
                    <a:gd name="T13" fmla="*/ 71 h 150"/>
                    <a:gd name="T14" fmla="*/ 144 w 154"/>
                    <a:gd name="T15" fmla="*/ 83 h 150"/>
                    <a:gd name="T16" fmla="*/ 144 w 154"/>
                    <a:gd name="T17" fmla="*/ 90 h 150"/>
                    <a:gd name="T18" fmla="*/ 145 w 154"/>
                    <a:gd name="T19" fmla="*/ 98 h 150"/>
                    <a:gd name="T20" fmla="*/ 144 w 154"/>
                    <a:gd name="T21" fmla="*/ 137 h 150"/>
                    <a:gd name="T22" fmla="*/ 77 w 154"/>
                    <a:gd name="T23" fmla="*/ 150 h 150"/>
                    <a:gd name="T24" fmla="*/ 77 w 154"/>
                    <a:gd name="T25" fmla="*/ 150 h 150"/>
                    <a:gd name="T26" fmla="*/ 77 w 154"/>
                    <a:gd name="T27" fmla="*/ 150 h 150"/>
                    <a:gd name="T28" fmla="*/ 81 w 154"/>
                    <a:gd name="T29" fmla="*/ 131 h 150"/>
                    <a:gd name="T30" fmla="*/ 83 w 154"/>
                    <a:gd name="T31" fmla="*/ 109 h 150"/>
                    <a:gd name="T32" fmla="*/ 83 w 154"/>
                    <a:gd name="T33" fmla="*/ 90 h 150"/>
                    <a:gd name="T34" fmla="*/ 80 w 154"/>
                    <a:gd name="T35" fmla="*/ 71 h 150"/>
                    <a:gd name="T36" fmla="*/ 74 w 154"/>
                    <a:gd name="T37" fmla="*/ 57 h 150"/>
                    <a:gd name="T38" fmla="*/ 64 w 154"/>
                    <a:gd name="T39" fmla="*/ 47 h 150"/>
                    <a:gd name="T40" fmla="*/ 59 w 154"/>
                    <a:gd name="T41" fmla="*/ 39 h 150"/>
                    <a:gd name="T42" fmla="*/ 43 w 154"/>
                    <a:gd name="T43" fmla="*/ 31 h 150"/>
                    <a:gd name="T44" fmla="*/ 27 w 154"/>
                    <a:gd name="T45" fmla="*/ 28 h 150"/>
                    <a:gd name="T46" fmla="*/ 13 w 154"/>
                    <a:gd name="T47" fmla="*/ 29 h 150"/>
                    <a:gd name="T48" fmla="*/ 0 w 154"/>
                    <a:gd name="T49" fmla="*/ 37 h 150"/>
                    <a:gd name="T50" fmla="*/ 6 w 154"/>
                    <a:gd name="T51" fmla="*/ 32 h 150"/>
                    <a:gd name="T52" fmla="*/ 13 w 154"/>
                    <a:gd name="T53" fmla="*/ 29 h 150"/>
                    <a:gd name="T54" fmla="*/ 20 w 154"/>
                    <a:gd name="T55" fmla="*/ 28 h 150"/>
                    <a:gd name="T56" fmla="*/ 153 w 154"/>
                    <a:gd name="T57" fmla="*/ 0 h 150"/>
                    <a:gd name="T58" fmla="*/ 154 w 154"/>
                    <a:gd name="T59" fmla="*/ 0 h 1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154" h="150">
                      <a:moveTo>
                        <a:pt x="154" y="0"/>
                      </a:moveTo>
                      <a:lnTo>
                        <a:pt x="150" y="19"/>
                      </a:lnTo>
                      <a:lnTo>
                        <a:pt x="145" y="39"/>
                      </a:lnTo>
                      <a:lnTo>
                        <a:pt x="145" y="44"/>
                      </a:lnTo>
                      <a:lnTo>
                        <a:pt x="145" y="44"/>
                      </a:lnTo>
                      <a:lnTo>
                        <a:pt x="145" y="44"/>
                      </a:lnTo>
                      <a:lnTo>
                        <a:pt x="144" y="71"/>
                      </a:lnTo>
                      <a:lnTo>
                        <a:pt x="144" y="83"/>
                      </a:lnTo>
                      <a:lnTo>
                        <a:pt x="144" y="90"/>
                      </a:lnTo>
                      <a:lnTo>
                        <a:pt x="145" y="98"/>
                      </a:lnTo>
                      <a:lnTo>
                        <a:pt x="144" y="137"/>
                      </a:lnTo>
                      <a:lnTo>
                        <a:pt x="77" y="150"/>
                      </a:lnTo>
                      <a:lnTo>
                        <a:pt x="77" y="150"/>
                      </a:lnTo>
                      <a:lnTo>
                        <a:pt x="77" y="150"/>
                      </a:lnTo>
                      <a:lnTo>
                        <a:pt x="81" y="131"/>
                      </a:lnTo>
                      <a:lnTo>
                        <a:pt x="83" y="109"/>
                      </a:lnTo>
                      <a:lnTo>
                        <a:pt x="83" y="90"/>
                      </a:lnTo>
                      <a:lnTo>
                        <a:pt x="80" y="71"/>
                      </a:lnTo>
                      <a:lnTo>
                        <a:pt x="74" y="57"/>
                      </a:lnTo>
                      <a:lnTo>
                        <a:pt x="64" y="47"/>
                      </a:lnTo>
                      <a:lnTo>
                        <a:pt x="59" y="39"/>
                      </a:lnTo>
                      <a:lnTo>
                        <a:pt x="43" y="31"/>
                      </a:lnTo>
                      <a:lnTo>
                        <a:pt x="27" y="28"/>
                      </a:lnTo>
                      <a:lnTo>
                        <a:pt x="13" y="29"/>
                      </a:lnTo>
                      <a:lnTo>
                        <a:pt x="0" y="37"/>
                      </a:lnTo>
                      <a:lnTo>
                        <a:pt x="6" y="32"/>
                      </a:lnTo>
                      <a:lnTo>
                        <a:pt x="13" y="29"/>
                      </a:lnTo>
                      <a:lnTo>
                        <a:pt x="20" y="28"/>
                      </a:lnTo>
                      <a:lnTo>
                        <a:pt x="153" y="0"/>
                      </a:lnTo>
                      <a:lnTo>
                        <a:pt x="154" y="0"/>
                      </a:lnTo>
                      <a:close/>
                    </a:path>
                  </a:pathLst>
                </a:custGeom>
                <a:solidFill>
                  <a:srgbClr val="23C0FD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41" name="Freeform 329"/>
                <p:cNvSpPr>
                  <a:spLocks/>
                </p:cNvSpPr>
                <p:nvPr/>
              </p:nvSpPr>
              <p:spPr bwMode="auto">
                <a:xfrm>
                  <a:off x="5645151" y="4540251"/>
                  <a:ext cx="374650" cy="754063"/>
                </a:xfrm>
                <a:custGeom>
                  <a:avLst/>
                  <a:gdLst>
                    <a:gd name="T0" fmla="*/ 180 w 236"/>
                    <a:gd name="T1" fmla="*/ 0 h 475"/>
                    <a:gd name="T2" fmla="*/ 196 w 236"/>
                    <a:gd name="T3" fmla="*/ 3 h 475"/>
                    <a:gd name="T4" fmla="*/ 212 w 236"/>
                    <a:gd name="T5" fmla="*/ 11 h 475"/>
                    <a:gd name="T6" fmla="*/ 217 w 236"/>
                    <a:gd name="T7" fmla="*/ 19 h 475"/>
                    <a:gd name="T8" fmla="*/ 227 w 236"/>
                    <a:gd name="T9" fmla="*/ 29 h 475"/>
                    <a:gd name="T10" fmla="*/ 233 w 236"/>
                    <a:gd name="T11" fmla="*/ 43 h 475"/>
                    <a:gd name="T12" fmla="*/ 236 w 236"/>
                    <a:gd name="T13" fmla="*/ 62 h 475"/>
                    <a:gd name="T14" fmla="*/ 236 w 236"/>
                    <a:gd name="T15" fmla="*/ 81 h 475"/>
                    <a:gd name="T16" fmla="*/ 234 w 236"/>
                    <a:gd name="T17" fmla="*/ 103 h 475"/>
                    <a:gd name="T18" fmla="*/ 230 w 236"/>
                    <a:gd name="T19" fmla="*/ 122 h 475"/>
                    <a:gd name="T20" fmla="*/ 223 w 236"/>
                    <a:gd name="T21" fmla="*/ 142 h 475"/>
                    <a:gd name="T22" fmla="*/ 214 w 236"/>
                    <a:gd name="T23" fmla="*/ 158 h 475"/>
                    <a:gd name="T24" fmla="*/ 195 w 236"/>
                    <a:gd name="T25" fmla="*/ 192 h 475"/>
                    <a:gd name="T26" fmla="*/ 95 w 236"/>
                    <a:gd name="T27" fmla="*/ 368 h 475"/>
                    <a:gd name="T28" fmla="*/ 42 w 236"/>
                    <a:gd name="T29" fmla="*/ 461 h 475"/>
                    <a:gd name="T30" fmla="*/ 39 w 236"/>
                    <a:gd name="T31" fmla="*/ 465 h 475"/>
                    <a:gd name="T32" fmla="*/ 34 w 236"/>
                    <a:gd name="T33" fmla="*/ 475 h 475"/>
                    <a:gd name="T34" fmla="*/ 32 w 236"/>
                    <a:gd name="T35" fmla="*/ 472 h 475"/>
                    <a:gd name="T36" fmla="*/ 31 w 236"/>
                    <a:gd name="T37" fmla="*/ 469 h 475"/>
                    <a:gd name="T38" fmla="*/ 29 w 236"/>
                    <a:gd name="T39" fmla="*/ 468 h 475"/>
                    <a:gd name="T40" fmla="*/ 28 w 236"/>
                    <a:gd name="T41" fmla="*/ 466 h 475"/>
                    <a:gd name="T42" fmla="*/ 25 w 236"/>
                    <a:gd name="T43" fmla="*/ 466 h 475"/>
                    <a:gd name="T44" fmla="*/ 23 w 236"/>
                    <a:gd name="T45" fmla="*/ 466 h 475"/>
                    <a:gd name="T46" fmla="*/ 23 w 236"/>
                    <a:gd name="T47" fmla="*/ 466 h 475"/>
                    <a:gd name="T48" fmla="*/ 22 w 236"/>
                    <a:gd name="T49" fmla="*/ 466 h 475"/>
                    <a:gd name="T50" fmla="*/ 18 w 236"/>
                    <a:gd name="T51" fmla="*/ 466 h 475"/>
                    <a:gd name="T52" fmla="*/ 13 w 236"/>
                    <a:gd name="T53" fmla="*/ 465 h 475"/>
                    <a:gd name="T54" fmla="*/ 7 w 236"/>
                    <a:gd name="T55" fmla="*/ 465 h 475"/>
                    <a:gd name="T56" fmla="*/ 0 w 236"/>
                    <a:gd name="T57" fmla="*/ 464 h 475"/>
                    <a:gd name="T58" fmla="*/ 0 w 236"/>
                    <a:gd name="T59" fmla="*/ 464 h 475"/>
                    <a:gd name="T60" fmla="*/ 25 w 236"/>
                    <a:gd name="T61" fmla="*/ 442 h 475"/>
                    <a:gd name="T62" fmla="*/ 44 w 236"/>
                    <a:gd name="T63" fmla="*/ 417 h 475"/>
                    <a:gd name="T64" fmla="*/ 61 w 236"/>
                    <a:gd name="T65" fmla="*/ 391 h 475"/>
                    <a:gd name="T66" fmla="*/ 77 w 236"/>
                    <a:gd name="T67" fmla="*/ 362 h 475"/>
                    <a:gd name="T68" fmla="*/ 92 w 236"/>
                    <a:gd name="T69" fmla="*/ 333 h 475"/>
                    <a:gd name="T70" fmla="*/ 116 w 236"/>
                    <a:gd name="T71" fmla="*/ 277 h 475"/>
                    <a:gd name="T72" fmla="*/ 138 w 236"/>
                    <a:gd name="T73" fmla="*/ 219 h 475"/>
                    <a:gd name="T74" fmla="*/ 153 w 236"/>
                    <a:gd name="T75" fmla="*/ 161 h 475"/>
                    <a:gd name="T76" fmla="*/ 153 w 236"/>
                    <a:gd name="T77" fmla="*/ 139 h 475"/>
                    <a:gd name="T78" fmla="*/ 150 w 236"/>
                    <a:gd name="T79" fmla="*/ 120 h 475"/>
                    <a:gd name="T80" fmla="*/ 141 w 236"/>
                    <a:gd name="T81" fmla="*/ 103 h 475"/>
                    <a:gd name="T82" fmla="*/ 128 w 236"/>
                    <a:gd name="T83" fmla="*/ 88 h 475"/>
                    <a:gd name="T84" fmla="*/ 112 w 236"/>
                    <a:gd name="T85" fmla="*/ 77 h 475"/>
                    <a:gd name="T86" fmla="*/ 130 w 236"/>
                    <a:gd name="T87" fmla="*/ 32 h 475"/>
                    <a:gd name="T88" fmla="*/ 135 w 236"/>
                    <a:gd name="T89" fmla="*/ 25 h 475"/>
                    <a:gd name="T90" fmla="*/ 141 w 236"/>
                    <a:gd name="T91" fmla="*/ 19 h 475"/>
                    <a:gd name="T92" fmla="*/ 147 w 236"/>
                    <a:gd name="T93" fmla="*/ 13 h 475"/>
                    <a:gd name="T94" fmla="*/ 153 w 236"/>
                    <a:gd name="T95" fmla="*/ 9 h 475"/>
                    <a:gd name="T96" fmla="*/ 166 w 236"/>
                    <a:gd name="T97" fmla="*/ 1 h 475"/>
                    <a:gd name="T98" fmla="*/ 180 w 236"/>
                    <a:gd name="T99" fmla="*/ 0 h 4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236" h="475">
                      <a:moveTo>
                        <a:pt x="180" y="0"/>
                      </a:moveTo>
                      <a:lnTo>
                        <a:pt x="196" y="3"/>
                      </a:lnTo>
                      <a:lnTo>
                        <a:pt x="212" y="11"/>
                      </a:lnTo>
                      <a:lnTo>
                        <a:pt x="217" y="19"/>
                      </a:lnTo>
                      <a:lnTo>
                        <a:pt x="227" y="29"/>
                      </a:lnTo>
                      <a:lnTo>
                        <a:pt x="233" y="43"/>
                      </a:lnTo>
                      <a:lnTo>
                        <a:pt x="236" y="62"/>
                      </a:lnTo>
                      <a:lnTo>
                        <a:pt x="236" y="81"/>
                      </a:lnTo>
                      <a:lnTo>
                        <a:pt x="234" y="103"/>
                      </a:lnTo>
                      <a:lnTo>
                        <a:pt x="230" y="122"/>
                      </a:lnTo>
                      <a:lnTo>
                        <a:pt x="223" y="142"/>
                      </a:lnTo>
                      <a:lnTo>
                        <a:pt x="214" y="158"/>
                      </a:lnTo>
                      <a:lnTo>
                        <a:pt x="195" y="192"/>
                      </a:lnTo>
                      <a:lnTo>
                        <a:pt x="95" y="368"/>
                      </a:lnTo>
                      <a:lnTo>
                        <a:pt x="42" y="461"/>
                      </a:lnTo>
                      <a:lnTo>
                        <a:pt x="39" y="465"/>
                      </a:lnTo>
                      <a:lnTo>
                        <a:pt x="34" y="475"/>
                      </a:lnTo>
                      <a:lnTo>
                        <a:pt x="32" y="472"/>
                      </a:lnTo>
                      <a:lnTo>
                        <a:pt x="31" y="469"/>
                      </a:lnTo>
                      <a:lnTo>
                        <a:pt x="29" y="468"/>
                      </a:lnTo>
                      <a:lnTo>
                        <a:pt x="28" y="466"/>
                      </a:lnTo>
                      <a:lnTo>
                        <a:pt x="25" y="466"/>
                      </a:lnTo>
                      <a:lnTo>
                        <a:pt x="23" y="466"/>
                      </a:lnTo>
                      <a:lnTo>
                        <a:pt x="23" y="466"/>
                      </a:lnTo>
                      <a:lnTo>
                        <a:pt x="22" y="466"/>
                      </a:lnTo>
                      <a:lnTo>
                        <a:pt x="18" y="466"/>
                      </a:lnTo>
                      <a:lnTo>
                        <a:pt x="13" y="465"/>
                      </a:lnTo>
                      <a:lnTo>
                        <a:pt x="7" y="465"/>
                      </a:lnTo>
                      <a:lnTo>
                        <a:pt x="0" y="464"/>
                      </a:lnTo>
                      <a:lnTo>
                        <a:pt x="0" y="464"/>
                      </a:lnTo>
                      <a:lnTo>
                        <a:pt x="25" y="442"/>
                      </a:lnTo>
                      <a:lnTo>
                        <a:pt x="44" y="417"/>
                      </a:lnTo>
                      <a:lnTo>
                        <a:pt x="61" y="391"/>
                      </a:lnTo>
                      <a:lnTo>
                        <a:pt x="77" y="362"/>
                      </a:lnTo>
                      <a:lnTo>
                        <a:pt x="92" y="333"/>
                      </a:lnTo>
                      <a:lnTo>
                        <a:pt x="116" y="277"/>
                      </a:lnTo>
                      <a:lnTo>
                        <a:pt x="138" y="219"/>
                      </a:lnTo>
                      <a:lnTo>
                        <a:pt x="153" y="161"/>
                      </a:lnTo>
                      <a:lnTo>
                        <a:pt x="153" y="139"/>
                      </a:lnTo>
                      <a:lnTo>
                        <a:pt x="150" y="120"/>
                      </a:lnTo>
                      <a:lnTo>
                        <a:pt x="141" y="103"/>
                      </a:lnTo>
                      <a:lnTo>
                        <a:pt x="128" y="88"/>
                      </a:lnTo>
                      <a:lnTo>
                        <a:pt x="112" y="77"/>
                      </a:lnTo>
                      <a:lnTo>
                        <a:pt x="130" y="32"/>
                      </a:lnTo>
                      <a:lnTo>
                        <a:pt x="135" y="25"/>
                      </a:lnTo>
                      <a:lnTo>
                        <a:pt x="141" y="19"/>
                      </a:lnTo>
                      <a:lnTo>
                        <a:pt x="147" y="13"/>
                      </a:lnTo>
                      <a:lnTo>
                        <a:pt x="153" y="9"/>
                      </a:lnTo>
                      <a:lnTo>
                        <a:pt x="166" y="1"/>
                      </a:lnTo>
                      <a:lnTo>
                        <a:pt x="180" y="0"/>
                      </a:lnTo>
                      <a:close/>
                    </a:path>
                  </a:pathLst>
                </a:custGeom>
                <a:solidFill>
                  <a:srgbClr val="23C0FD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42" name="Freeform 330"/>
                <p:cNvSpPr>
                  <a:spLocks/>
                </p:cNvSpPr>
                <p:nvPr/>
              </p:nvSpPr>
              <p:spPr bwMode="auto">
                <a:xfrm>
                  <a:off x="6116639" y="4460876"/>
                  <a:ext cx="569913" cy="236538"/>
                </a:xfrm>
                <a:custGeom>
                  <a:avLst/>
                  <a:gdLst>
                    <a:gd name="T0" fmla="*/ 43 w 359"/>
                    <a:gd name="T1" fmla="*/ 0 h 149"/>
                    <a:gd name="T2" fmla="*/ 62 w 359"/>
                    <a:gd name="T3" fmla="*/ 0 h 149"/>
                    <a:gd name="T4" fmla="*/ 112 w 359"/>
                    <a:gd name="T5" fmla="*/ 8 h 149"/>
                    <a:gd name="T6" fmla="*/ 155 w 359"/>
                    <a:gd name="T7" fmla="*/ 12 h 149"/>
                    <a:gd name="T8" fmla="*/ 193 w 359"/>
                    <a:gd name="T9" fmla="*/ 16 h 149"/>
                    <a:gd name="T10" fmla="*/ 224 w 359"/>
                    <a:gd name="T11" fmla="*/ 19 h 149"/>
                    <a:gd name="T12" fmla="*/ 247 w 359"/>
                    <a:gd name="T13" fmla="*/ 19 h 149"/>
                    <a:gd name="T14" fmla="*/ 266 w 359"/>
                    <a:gd name="T15" fmla="*/ 21 h 149"/>
                    <a:gd name="T16" fmla="*/ 279 w 359"/>
                    <a:gd name="T17" fmla="*/ 21 h 149"/>
                    <a:gd name="T18" fmla="*/ 286 w 359"/>
                    <a:gd name="T19" fmla="*/ 21 h 149"/>
                    <a:gd name="T20" fmla="*/ 288 w 359"/>
                    <a:gd name="T21" fmla="*/ 21 h 149"/>
                    <a:gd name="T22" fmla="*/ 311 w 359"/>
                    <a:gd name="T23" fmla="*/ 19 h 149"/>
                    <a:gd name="T24" fmla="*/ 330 w 359"/>
                    <a:gd name="T25" fmla="*/ 18 h 149"/>
                    <a:gd name="T26" fmla="*/ 345 w 359"/>
                    <a:gd name="T27" fmla="*/ 16 h 149"/>
                    <a:gd name="T28" fmla="*/ 353 w 359"/>
                    <a:gd name="T29" fmla="*/ 15 h 149"/>
                    <a:gd name="T30" fmla="*/ 356 w 359"/>
                    <a:gd name="T31" fmla="*/ 15 h 149"/>
                    <a:gd name="T32" fmla="*/ 358 w 359"/>
                    <a:gd name="T33" fmla="*/ 28 h 149"/>
                    <a:gd name="T34" fmla="*/ 358 w 359"/>
                    <a:gd name="T35" fmla="*/ 44 h 149"/>
                    <a:gd name="T36" fmla="*/ 359 w 359"/>
                    <a:gd name="T37" fmla="*/ 61 h 149"/>
                    <a:gd name="T38" fmla="*/ 359 w 359"/>
                    <a:gd name="T39" fmla="*/ 79 h 149"/>
                    <a:gd name="T40" fmla="*/ 359 w 359"/>
                    <a:gd name="T41" fmla="*/ 96 h 149"/>
                    <a:gd name="T42" fmla="*/ 356 w 359"/>
                    <a:gd name="T43" fmla="*/ 112 h 149"/>
                    <a:gd name="T44" fmla="*/ 352 w 359"/>
                    <a:gd name="T45" fmla="*/ 127 h 149"/>
                    <a:gd name="T46" fmla="*/ 345 w 359"/>
                    <a:gd name="T47" fmla="*/ 138 h 149"/>
                    <a:gd name="T48" fmla="*/ 334 w 359"/>
                    <a:gd name="T49" fmla="*/ 146 h 149"/>
                    <a:gd name="T50" fmla="*/ 320 w 359"/>
                    <a:gd name="T51" fmla="*/ 149 h 149"/>
                    <a:gd name="T52" fmla="*/ 39 w 359"/>
                    <a:gd name="T53" fmla="*/ 149 h 149"/>
                    <a:gd name="T54" fmla="*/ 22 w 359"/>
                    <a:gd name="T55" fmla="*/ 147 h 149"/>
                    <a:gd name="T56" fmla="*/ 11 w 359"/>
                    <a:gd name="T57" fmla="*/ 143 h 149"/>
                    <a:gd name="T58" fmla="*/ 4 w 359"/>
                    <a:gd name="T59" fmla="*/ 136 h 149"/>
                    <a:gd name="T60" fmla="*/ 1 w 359"/>
                    <a:gd name="T61" fmla="*/ 125 h 149"/>
                    <a:gd name="T62" fmla="*/ 0 w 359"/>
                    <a:gd name="T63" fmla="*/ 112 h 149"/>
                    <a:gd name="T64" fmla="*/ 0 w 359"/>
                    <a:gd name="T65" fmla="*/ 93 h 149"/>
                    <a:gd name="T66" fmla="*/ 1 w 359"/>
                    <a:gd name="T67" fmla="*/ 77 h 149"/>
                    <a:gd name="T68" fmla="*/ 3 w 359"/>
                    <a:gd name="T69" fmla="*/ 60 h 149"/>
                    <a:gd name="T70" fmla="*/ 6 w 359"/>
                    <a:gd name="T71" fmla="*/ 44 h 149"/>
                    <a:gd name="T72" fmla="*/ 10 w 359"/>
                    <a:gd name="T73" fmla="*/ 28 h 149"/>
                    <a:gd name="T74" fmla="*/ 17 w 359"/>
                    <a:gd name="T75" fmla="*/ 15 h 149"/>
                    <a:gd name="T76" fmla="*/ 29 w 359"/>
                    <a:gd name="T77" fmla="*/ 5 h 149"/>
                    <a:gd name="T78" fmla="*/ 43 w 359"/>
                    <a:gd name="T79" fmla="*/ 0 h 1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359" h="149">
                      <a:moveTo>
                        <a:pt x="43" y="0"/>
                      </a:moveTo>
                      <a:lnTo>
                        <a:pt x="62" y="0"/>
                      </a:lnTo>
                      <a:lnTo>
                        <a:pt x="112" y="8"/>
                      </a:lnTo>
                      <a:lnTo>
                        <a:pt x="155" y="12"/>
                      </a:lnTo>
                      <a:lnTo>
                        <a:pt x="193" y="16"/>
                      </a:lnTo>
                      <a:lnTo>
                        <a:pt x="224" y="19"/>
                      </a:lnTo>
                      <a:lnTo>
                        <a:pt x="247" y="19"/>
                      </a:lnTo>
                      <a:lnTo>
                        <a:pt x="266" y="21"/>
                      </a:lnTo>
                      <a:lnTo>
                        <a:pt x="279" y="21"/>
                      </a:lnTo>
                      <a:lnTo>
                        <a:pt x="286" y="21"/>
                      </a:lnTo>
                      <a:lnTo>
                        <a:pt x="288" y="21"/>
                      </a:lnTo>
                      <a:lnTo>
                        <a:pt x="311" y="19"/>
                      </a:lnTo>
                      <a:lnTo>
                        <a:pt x="330" y="18"/>
                      </a:lnTo>
                      <a:lnTo>
                        <a:pt x="345" y="16"/>
                      </a:lnTo>
                      <a:lnTo>
                        <a:pt x="353" y="15"/>
                      </a:lnTo>
                      <a:lnTo>
                        <a:pt x="356" y="15"/>
                      </a:lnTo>
                      <a:lnTo>
                        <a:pt x="358" y="28"/>
                      </a:lnTo>
                      <a:lnTo>
                        <a:pt x="358" y="44"/>
                      </a:lnTo>
                      <a:lnTo>
                        <a:pt x="359" y="61"/>
                      </a:lnTo>
                      <a:lnTo>
                        <a:pt x="359" y="79"/>
                      </a:lnTo>
                      <a:lnTo>
                        <a:pt x="359" y="96"/>
                      </a:lnTo>
                      <a:lnTo>
                        <a:pt x="356" y="112"/>
                      </a:lnTo>
                      <a:lnTo>
                        <a:pt x="352" y="127"/>
                      </a:lnTo>
                      <a:lnTo>
                        <a:pt x="345" y="138"/>
                      </a:lnTo>
                      <a:lnTo>
                        <a:pt x="334" y="146"/>
                      </a:lnTo>
                      <a:lnTo>
                        <a:pt x="320" y="149"/>
                      </a:lnTo>
                      <a:lnTo>
                        <a:pt x="39" y="149"/>
                      </a:lnTo>
                      <a:lnTo>
                        <a:pt x="22" y="147"/>
                      </a:lnTo>
                      <a:lnTo>
                        <a:pt x="11" y="143"/>
                      </a:lnTo>
                      <a:lnTo>
                        <a:pt x="4" y="136"/>
                      </a:lnTo>
                      <a:lnTo>
                        <a:pt x="1" y="125"/>
                      </a:lnTo>
                      <a:lnTo>
                        <a:pt x="0" y="112"/>
                      </a:lnTo>
                      <a:lnTo>
                        <a:pt x="0" y="93"/>
                      </a:lnTo>
                      <a:lnTo>
                        <a:pt x="1" y="77"/>
                      </a:lnTo>
                      <a:lnTo>
                        <a:pt x="3" y="60"/>
                      </a:lnTo>
                      <a:lnTo>
                        <a:pt x="6" y="44"/>
                      </a:lnTo>
                      <a:lnTo>
                        <a:pt x="10" y="28"/>
                      </a:lnTo>
                      <a:lnTo>
                        <a:pt x="17" y="15"/>
                      </a:lnTo>
                      <a:lnTo>
                        <a:pt x="29" y="5"/>
                      </a:lnTo>
                      <a:lnTo>
                        <a:pt x="43" y="0"/>
                      </a:lnTo>
                      <a:close/>
                    </a:path>
                  </a:pathLst>
                </a:custGeom>
                <a:solidFill>
                  <a:srgbClr val="4FC1E9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43" name="Freeform 331"/>
                <p:cNvSpPr>
                  <a:spLocks/>
                </p:cNvSpPr>
                <p:nvPr/>
              </p:nvSpPr>
              <p:spPr bwMode="auto">
                <a:xfrm>
                  <a:off x="6116639" y="4460876"/>
                  <a:ext cx="569913" cy="236538"/>
                </a:xfrm>
                <a:custGeom>
                  <a:avLst/>
                  <a:gdLst>
                    <a:gd name="T0" fmla="*/ 43 w 359"/>
                    <a:gd name="T1" fmla="*/ 0 h 149"/>
                    <a:gd name="T2" fmla="*/ 62 w 359"/>
                    <a:gd name="T3" fmla="*/ 0 h 149"/>
                    <a:gd name="T4" fmla="*/ 112 w 359"/>
                    <a:gd name="T5" fmla="*/ 8 h 149"/>
                    <a:gd name="T6" fmla="*/ 155 w 359"/>
                    <a:gd name="T7" fmla="*/ 12 h 149"/>
                    <a:gd name="T8" fmla="*/ 193 w 359"/>
                    <a:gd name="T9" fmla="*/ 16 h 149"/>
                    <a:gd name="T10" fmla="*/ 224 w 359"/>
                    <a:gd name="T11" fmla="*/ 19 h 149"/>
                    <a:gd name="T12" fmla="*/ 247 w 359"/>
                    <a:gd name="T13" fmla="*/ 19 h 149"/>
                    <a:gd name="T14" fmla="*/ 266 w 359"/>
                    <a:gd name="T15" fmla="*/ 21 h 149"/>
                    <a:gd name="T16" fmla="*/ 279 w 359"/>
                    <a:gd name="T17" fmla="*/ 21 h 149"/>
                    <a:gd name="T18" fmla="*/ 286 w 359"/>
                    <a:gd name="T19" fmla="*/ 21 h 149"/>
                    <a:gd name="T20" fmla="*/ 288 w 359"/>
                    <a:gd name="T21" fmla="*/ 21 h 149"/>
                    <a:gd name="T22" fmla="*/ 311 w 359"/>
                    <a:gd name="T23" fmla="*/ 19 h 149"/>
                    <a:gd name="T24" fmla="*/ 330 w 359"/>
                    <a:gd name="T25" fmla="*/ 18 h 149"/>
                    <a:gd name="T26" fmla="*/ 345 w 359"/>
                    <a:gd name="T27" fmla="*/ 16 h 149"/>
                    <a:gd name="T28" fmla="*/ 353 w 359"/>
                    <a:gd name="T29" fmla="*/ 15 h 149"/>
                    <a:gd name="T30" fmla="*/ 356 w 359"/>
                    <a:gd name="T31" fmla="*/ 15 h 149"/>
                    <a:gd name="T32" fmla="*/ 358 w 359"/>
                    <a:gd name="T33" fmla="*/ 28 h 149"/>
                    <a:gd name="T34" fmla="*/ 358 w 359"/>
                    <a:gd name="T35" fmla="*/ 44 h 149"/>
                    <a:gd name="T36" fmla="*/ 359 w 359"/>
                    <a:gd name="T37" fmla="*/ 61 h 149"/>
                    <a:gd name="T38" fmla="*/ 359 w 359"/>
                    <a:gd name="T39" fmla="*/ 79 h 149"/>
                    <a:gd name="T40" fmla="*/ 359 w 359"/>
                    <a:gd name="T41" fmla="*/ 96 h 149"/>
                    <a:gd name="T42" fmla="*/ 356 w 359"/>
                    <a:gd name="T43" fmla="*/ 112 h 149"/>
                    <a:gd name="T44" fmla="*/ 352 w 359"/>
                    <a:gd name="T45" fmla="*/ 127 h 149"/>
                    <a:gd name="T46" fmla="*/ 345 w 359"/>
                    <a:gd name="T47" fmla="*/ 138 h 149"/>
                    <a:gd name="T48" fmla="*/ 334 w 359"/>
                    <a:gd name="T49" fmla="*/ 146 h 149"/>
                    <a:gd name="T50" fmla="*/ 320 w 359"/>
                    <a:gd name="T51" fmla="*/ 149 h 149"/>
                    <a:gd name="T52" fmla="*/ 39 w 359"/>
                    <a:gd name="T53" fmla="*/ 149 h 149"/>
                    <a:gd name="T54" fmla="*/ 22 w 359"/>
                    <a:gd name="T55" fmla="*/ 147 h 149"/>
                    <a:gd name="T56" fmla="*/ 11 w 359"/>
                    <a:gd name="T57" fmla="*/ 143 h 149"/>
                    <a:gd name="T58" fmla="*/ 4 w 359"/>
                    <a:gd name="T59" fmla="*/ 136 h 149"/>
                    <a:gd name="T60" fmla="*/ 1 w 359"/>
                    <a:gd name="T61" fmla="*/ 125 h 149"/>
                    <a:gd name="T62" fmla="*/ 0 w 359"/>
                    <a:gd name="T63" fmla="*/ 112 h 149"/>
                    <a:gd name="T64" fmla="*/ 0 w 359"/>
                    <a:gd name="T65" fmla="*/ 93 h 149"/>
                    <a:gd name="T66" fmla="*/ 1 w 359"/>
                    <a:gd name="T67" fmla="*/ 77 h 149"/>
                    <a:gd name="T68" fmla="*/ 3 w 359"/>
                    <a:gd name="T69" fmla="*/ 60 h 149"/>
                    <a:gd name="T70" fmla="*/ 6 w 359"/>
                    <a:gd name="T71" fmla="*/ 44 h 149"/>
                    <a:gd name="T72" fmla="*/ 10 w 359"/>
                    <a:gd name="T73" fmla="*/ 28 h 149"/>
                    <a:gd name="T74" fmla="*/ 17 w 359"/>
                    <a:gd name="T75" fmla="*/ 15 h 149"/>
                    <a:gd name="T76" fmla="*/ 29 w 359"/>
                    <a:gd name="T77" fmla="*/ 5 h 149"/>
                    <a:gd name="T78" fmla="*/ 43 w 359"/>
                    <a:gd name="T79" fmla="*/ 0 h 1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359" h="149">
                      <a:moveTo>
                        <a:pt x="43" y="0"/>
                      </a:moveTo>
                      <a:lnTo>
                        <a:pt x="62" y="0"/>
                      </a:lnTo>
                      <a:lnTo>
                        <a:pt x="112" y="8"/>
                      </a:lnTo>
                      <a:lnTo>
                        <a:pt x="155" y="12"/>
                      </a:lnTo>
                      <a:lnTo>
                        <a:pt x="193" y="16"/>
                      </a:lnTo>
                      <a:lnTo>
                        <a:pt x="224" y="19"/>
                      </a:lnTo>
                      <a:lnTo>
                        <a:pt x="247" y="19"/>
                      </a:lnTo>
                      <a:lnTo>
                        <a:pt x="266" y="21"/>
                      </a:lnTo>
                      <a:lnTo>
                        <a:pt x="279" y="21"/>
                      </a:lnTo>
                      <a:lnTo>
                        <a:pt x="286" y="21"/>
                      </a:lnTo>
                      <a:lnTo>
                        <a:pt x="288" y="21"/>
                      </a:lnTo>
                      <a:lnTo>
                        <a:pt x="311" y="19"/>
                      </a:lnTo>
                      <a:lnTo>
                        <a:pt x="330" y="18"/>
                      </a:lnTo>
                      <a:lnTo>
                        <a:pt x="345" y="16"/>
                      </a:lnTo>
                      <a:lnTo>
                        <a:pt x="353" y="15"/>
                      </a:lnTo>
                      <a:lnTo>
                        <a:pt x="356" y="15"/>
                      </a:lnTo>
                      <a:lnTo>
                        <a:pt x="358" y="28"/>
                      </a:lnTo>
                      <a:lnTo>
                        <a:pt x="358" y="44"/>
                      </a:lnTo>
                      <a:lnTo>
                        <a:pt x="359" y="61"/>
                      </a:lnTo>
                      <a:lnTo>
                        <a:pt x="359" y="79"/>
                      </a:lnTo>
                      <a:lnTo>
                        <a:pt x="359" y="96"/>
                      </a:lnTo>
                      <a:lnTo>
                        <a:pt x="356" y="112"/>
                      </a:lnTo>
                      <a:lnTo>
                        <a:pt x="352" y="127"/>
                      </a:lnTo>
                      <a:lnTo>
                        <a:pt x="345" y="138"/>
                      </a:lnTo>
                      <a:lnTo>
                        <a:pt x="334" y="146"/>
                      </a:lnTo>
                      <a:lnTo>
                        <a:pt x="320" y="149"/>
                      </a:lnTo>
                      <a:lnTo>
                        <a:pt x="39" y="149"/>
                      </a:lnTo>
                      <a:lnTo>
                        <a:pt x="22" y="147"/>
                      </a:lnTo>
                      <a:lnTo>
                        <a:pt x="11" y="143"/>
                      </a:lnTo>
                      <a:lnTo>
                        <a:pt x="4" y="136"/>
                      </a:lnTo>
                      <a:lnTo>
                        <a:pt x="1" y="125"/>
                      </a:lnTo>
                      <a:lnTo>
                        <a:pt x="0" y="112"/>
                      </a:lnTo>
                      <a:lnTo>
                        <a:pt x="0" y="93"/>
                      </a:lnTo>
                      <a:lnTo>
                        <a:pt x="1" y="77"/>
                      </a:lnTo>
                      <a:lnTo>
                        <a:pt x="3" y="60"/>
                      </a:lnTo>
                      <a:lnTo>
                        <a:pt x="6" y="44"/>
                      </a:lnTo>
                      <a:lnTo>
                        <a:pt x="10" y="28"/>
                      </a:lnTo>
                      <a:lnTo>
                        <a:pt x="17" y="15"/>
                      </a:lnTo>
                      <a:lnTo>
                        <a:pt x="29" y="5"/>
                      </a:lnTo>
                      <a:lnTo>
                        <a:pt x="43" y="0"/>
                      </a:lnTo>
                      <a:close/>
                    </a:path>
                  </a:pathLst>
                </a:custGeom>
                <a:solidFill>
                  <a:srgbClr val="5FDDFE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44" name="Freeform 332"/>
                <p:cNvSpPr>
                  <a:spLocks/>
                </p:cNvSpPr>
                <p:nvPr/>
              </p:nvSpPr>
              <p:spPr bwMode="auto">
                <a:xfrm>
                  <a:off x="6096001" y="4459288"/>
                  <a:ext cx="220663" cy="850900"/>
                </a:xfrm>
                <a:custGeom>
                  <a:avLst/>
                  <a:gdLst>
                    <a:gd name="T0" fmla="*/ 64 w 139"/>
                    <a:gd name="T1" fmla="*/ 0 h 536"/>
                    <a:gd name="T2" fmla="*/ 84 w 139"/>
                    <a:gd name="T3" fmla="*/ 4 h 536"/>
                    <a:gd name="T4" fmla="*/ 86 w 139"/>
                    <a:gd name="T5" fmla="*/ 4 h 536"/>
                    <a:gd name="T6" fmla="*/ 91 w 139"/>
                    <a:gd name="T7" fmla="*/ 6 h 536"/>
                    <a:gd name="T8" fmla="*/ 97 w 139"/>
                    <a:gd name="T9" fmla="*/ 10 h 536"/>
                    <a:gd name="T10" fmla="*/ 106 w 139"/>
                    <a:gd name="T11" fmla="*/ 17 h 536"/>
                    <a:gd name="T12" fmla="*/ 115 w 139"/>
                    <a:gd name="T13" fmla="*/ 28 h 536"/>
                    <a:gd name="T14" fmla="*/ 123 w 139"/>
                    <a:gd name="T15" fmla="*/ 41 h 536"/>
                    <a:gd name="T16" fmla="*/ 131 w 139"/>
                    <a:gd name="T17" fmla="*/ 58 h 536"/>
                    <a:gd name="T18" fmla="*/ 136 w 139"/>
                    <a:gd name="T19" fmla="*/ 80 h 536"/>
                    <a:gd name="T20" fmla="*/ 139 w 139"/>
                    <a:gd name="T21" fmla="*/ 108 h 536"/>
                    <a:gd name="T22" fmla="*/ 139 w 139"/>
                    <a:gd name="T23" fmla="*/ 141 h 536"/>
                    <a:gd name="T24" fmla="*/ 87 w 139"/>
                    <a:gd name="T25" fmla="*/ 484 h 536"/>
                    <a:gd name="T26" fmla="*/ 83 w 139"/>
                    <a:gd name="T27" fmla="*/ 500 h 536"/>
                    <a:gd name="T28" fmla="*/ 81 w 139"/>
                    <a:gd name="T29" fmla="*/ 512 h 536"/>
                    <a:gd name="T30" fmla="*/ 78 w 139"/>
                    <a:gd name="T31" fmla="*/ 522 h 536"/>
                    <a:gd name="T32" fmla="*/ 74 w 139"/>
                    <a:gd name="T33" fmla="*/ 531 h 536"/>
                    <a:gd name="T34" fmla="*/ 68 w 139"/>
                    <a:gd name="T35" fmla="*/ 535 h 536"/>
                    <a:gd name="T36" fmla="*/ 59 w 139"/>
                    <a:gd name="T37" fmla="*/ 536 h 536"/>
                    <a:gd name="T38" fmla="*/ 46 w 139"/>
                    <a:gd name="T39" fmla="*/ 533 h 536"/>
                    <a:gd name="T40" fmla="*/ 27 w 139"/>
                    <a:gd name="T41" fmla="*/ 532 h 536"/>
                    <a:gd name="T42" fmla="*/ 10 w 139"/>
                    <a:gd name="T43" fmla="*/ 525 h 536"/>
                    <a:gd name="T44" fmla="*/ 1 w 139"/>
                    <a:gd name="T45" fmla="*/ 517 h 536"/>
                    <a:gd name="T46" fmla="*/ 0 w 139"/>
                    <a:gd name="T47" fmla="*/ 507 h 536"/>
                    <a:gd name="T48" fmla="*/ 3 w 139"/>
                    <a:gd name="T49" fmla="*/ 493 h 536"/>
                    <a:gd name="T50" fmla="*/ 8 w 139"/>
                    <a:gd name="T51" fmla="*/ 472 h 536"/>
                    <a:gd name="T52" fmla="*/ 14 w 139"/>
                    <a:gd name="T53" fmla="*/ 67 h 536"/>
                    <a:gd name="T54" fmla="*/ 16 w 139"/>
                    <a:gd name="T55" fmla="*/ 54 h 536"/>
                    <a:gd name="T56" fmla="*/ 19 w 139"/>
                    <a:gd name="T57" fmla="*/ 39 h 536"/>
                    <a:gd name="T58" fmla="*/ 22 w 139"/>
                    <a:gd name="T59" fmla="*/ 26 h 536"/>
                    <a:gd name="T60" fmla="*/ 27 w 139"/>
                    <a:gd name="T61" fmla="*/ 16 h 536"/>
                    <a:gd name="T62" fmla="*/ 36 w 139"/>
                    <a:gd name="T63" fmla="*/ 7 h 536"/>
                    <a:gd name="T64" fmla="*/ 48 w 139"/>
                    <a:gd name="T65" fmla="*/ 1 h 536"/>
                    <a:gd name="T66" fmla="*/ 64 w 139"/>
                    <a:gd name="T67" fmla="*/ 0 h 5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39" h="536">
                      <a:moveTo>
                        <a:pt x="64" y="0"/>
                      </a:moveTo>
                      <a:lnTo>
                        <a:pt x="84" y="4"/>
                      </a:lnTo>
                      <a:lnTo>
                        <a:pt x="86" y="4"/>
                      </a:lnTo>
                      <a:lnTo>
                        <a:pt x="91" y="6"/>
                      </a:lnTo>
                      <a:lnTo>
                        <a:pt x="97" y="10"/>
                      </a:lnTo>
                      <a:lnTo>
                        <a:pt x="106" y="17"/>
                      </a:lnTo>
                      <a:lnTo>
                        <a:pt x="115" y="28"/>
                      </a:lnTo>
                      <a:lnTo>
                        <a:pt x="123" y="41"/>
                      </a:lnTo>
                      <a:lnTo>
                        <a:pt x="131" y="58"/>
                      </a:lnTo>
                      <a:lnTo>
                        <a:pt x="136" y="80"/>
                      </a:lnTo>
                      <a:lnTo>
                        <a:pt x="139" y="108"/>
                      </a:lnTo>
                      <a:lnTo>
                        <a:pt x="139" y="141"/>
                      </a:lnTo>
                      <a:lnTo>
                        <a:pt x="87" y="484"/>
                      </a:lnTo>
                      <a:lnTo>
                        <a:pt x="83" y="500"/>
                      </a:lnTo>
                      <a:lnTo>
                        <a:pt x="81" y="512"/>
                      </a:lnTo>
                      <a:lnTo>
                        <a:pt x="78" y="522"/>
                      </a:lnTo>
                      <a:lnTo>
                        <a:pt x="74" y="531"/>
                      </a:lnTo>
                      <a:lnTo>
                        <a:pt x="68" y="535"/>
                      </a:lnTo>
                      <a:lnTo>
                        <a:pt x="59" y="536"/>
                      </a:lnTo>
                      <a:lnTo>
                        <a:pt x="46" y="533"/>
                      </a:lnTo>
                      <a:lnTo>
                        <a:pt x="27" y="532"/>
                      </a:lnTo>
                      <a:lnTo>
                        <a:pt x="10" y="525"/>
                      </a:lnTo>
                      <a:lnTo>
                        <a:pt x="1" y="517"/>
                      </a:lnTo>
                      <a:lnTo>
                        <a:pt x="0" y="507"/>
                      </a:lnTo>
                      <a:lnTo>
                        <a:pt x="3" y="493"/>
                      </a:lnTo>
                      <a:lnTo>
                        <a:pt x="8" y="472"/>
                      </a:lnTo>
                      <a:lnTo>
                        <a:pt x="14" y="67"/>
                      </a:lnTo>
                      <a:lnTo>
                        <a:pt x="16" y="54"/>
                      </a:lnTo>
                      <a:lnTo>
                        <a:pt x="19" y="39"/>
                      </a:lnTo>
                      <a:lnTo>
                        <a:pt x="22" y="26"/>
                      </a:lnTo>
                      <a:lnTo>
                        <a:pt x="27" y="16"/>
                      </a:lnTo>
                      <a:lnTo>
                        <a:pt x="36" y="7"/>
                      </a:lnTo>
                      <a:lnTo>
                        <a:pt x="48" y="1"/>
                      </a:lnTo>
                      <a:lnTo>
                        <a:pt x="64" y="0"/>
                      </a:lnTo>
                      <a:close/>
                    </a:path>
                  </a:pathLst>
                </a:custGeom>
                <a:solidFill>
                  <a:srgbClr val="5FDDFE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45" name="Freeform 333"/>
                <p:cNvSpPr>
                  <a:spLocks noEditPoints="1"/>
                </p:cNvSpPr>
                <p:nvPr/>
              </p:nvSpPr>
              <p:spPr bwMode="auto">
                <a:xfrm>
                  <a:off x="6575426" y="4484688"/>
                  <a:ext cx="111125" cy="103188"/>
                </a:xfrm>
                <a:custGeom>
                  <a:avLst/>
                  <a:gdLst>
                    <a:gd name="T0" fmla="*/ 67 w 70"/>
                    <a:gd name="T1" fmla="*/ 0 h 65"/>
                    <a:gd name="T2" fmla="*/ 69 w 70"/>
                    <a:gd name="T3" fmla="*/ 19 h 65"/>
                    <a:gd name="T4" fmla="*/ 70 w 70"/>
                    <a:gd name="T5" fmla="*/ 42 h 65"/>
                    <a:gd name="T6" fmla="*/ 70 w 70"/>
                    <a:gd name="T7" fmla="*/ 65 h 65"/>
                    <a:gd name="T8" fmla="*/ 70 w 70"/>
                    <a:gd name="T9" fmla="*/ 42 h 65"/>
                    <a:gd name="T10" fmla="*/ 69 w 70"/>
                    <a:gd name="T11" fmla="*/ 19 h 65"/>
                    <a:gd name="T12" fmla="*/ 67 w 70"/>
                    <a:gd name="T13" fmla="*/ 0 h 65"/>
                    <a:gd name="T14" fmla="*/ 67 w 70"/>
                    <a:gd name="T15" fmla="*/ 0 h 65"/>
                    <a:gd name="T16" fmla="*/ 67 w 70"/>
                    <a:gd name="T17" fmla="*/ 0 h 65"/>
                    <a:gd name="T18" fmla="*/ 64 w 70"/>
                    <a:gd name="T19" fmla="*/ 0 h 65"/>
                    <a:gd name="T20" fmla="*/ 56 w 70"/>
                    <a:gd name="T21" fmla="*/ 1 h 65"/>
                    <a:gd name="T22" fmla="*/ 41 w 70"/>
                    <a:gd name="T23" fmla="*/ 3 h 65"/>
                    <a:gd name="T24" fmla="*/ 22 w 70"/>
                    <a:gd name="T25" fmla="*/ 4 h 65"/>
                    <a:gd name="T26" fmla="*/ 0 w 70"/>
                    <a:gd name="T27" fmla="*/ 6 h 65"/>
                    <a:gd name="T28" fmla="*/ 22 w 70"/>
                    <a:gd name="T29" fmla="*/ 4 h 65"/>
                    <a:gd name="T30" fmla="*/ 41 w 70"/>
                    <a:gd name="T31" fmla="*/ 3 h 65"/>
                    <a:gd name="T32" fmla="*/ 56 w 70"/>
                    <a:gd name="T33" fmla="*/ 1 h 65"/>
                    <a:gd name="T34" fmla="*/ 64 w 70"/>
                    <a:gd name="T35" fmla="*/ 0 h 65"/>
                    <a:gd name="T36" fmla="*/ 67 w 70"/>
                    <a:gd name="T37" fmla="*/ 0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70" h="65">
                      <a:moveTo>
                        <a:pt x="67" y="0"/>
                      </a:moveTo>
                      <a:lnTo>
                        <a:pt x="69" y="19"/>
                      </a:lnTo>
                      <a:lnTo>
                        <a:pt x="70" y="42"/>
                      </a:lnTo>
                      <a:lnTo>
                        <a:pt x="70" y="65"/>
                      </a:lnTo>
                      <a:lnTo>
                        <a:pt x="70" y="42"/>
                      </a:lnTo>
                      <a:lnTo>
                        <a:pt x="69" y="19"/>
                      </a:lnTo>
                      <a:lnTo>
                        <a:pt x="67" y="0"/>
                      </a:lnTo>
                      <a:close/>
                      <a:moveTo>
                        <a:pt x="67" y="0"/>
                      </a:moveTo>
                      <a:lnTo>
                        <a:pt x="67" y="0"/>
                      </a:lnTo>
                      <a:lnTo>
                        <a:pt x="64" y="0"/>
                      </a:lnTo>
                      <a:lnTo>
                        <a:pt x="56" y="1"/>
                      </a:lnTo>
                      <a:lnTo>
                        <a:pt x="41" y="3"/>
                      </a:lnTo>
                      <a:lnTo>
                        <a:pt x="22" y="4"/>
                      </a:lnTo>
                      <a:lnTo>
                        <a:pt x="0" y="6"/>
                      </a:lnTo>
                      <a:lnTo>
                        <a:pt x="22" y="4"/>
                      </a:lnTo>
                      <a:lnTo>
                        <a:pt x="41" y="3"/>
                      </a:lnTo>
                      <a:lnTo>
                        <a:pt x="56" y="1"/>
                      </a:lnTo>
                      <a:lnTo>
                        <a:pt x="64" y="0"/>
                      </a:lnTo>
                      <a:lnTo>
                        <a:pt x="67" y="0"/>
                      </a:lnTo>
                      <a:close/>
                    </a:path>
                  </a:pathLst>
                </a:custGeom>
                <a:solidFill>
                  <a:srgbClr val="02040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46" name="Freeform 334"/>
                <p:cNvSpPr>
                  <a:spLocks noEditPoints="1"/>
                </p:cNvSpPr>
                <p:nvPr/>
              </p:nvSpPr>
              <p:spPr bwMode="auto">
                <a:xfrm>
                  <a:off x="6197601" y="4459288"/>
                  <a:ext cx="488950" cy="238125"/>
                </a:xfrm>
                <a:custGeom>
                  <a:avLst/>
                  <a:gdLst>
                    <a:gd name="T0" fmla="*/ 74 w 308"/>
                    <a:gd name="T1" fmla="*/ 150 h 150"/>
                    <a:gd name="T2" fmla="*/ 74 w 308"/>
                    <a:gd name="T3" fmla="*/ 150 h 150"/>
                    <a:gd name="T4" fmla="*/ 74 w 308"/>
                    <a:gd name="T5" fmla="*/ 150 h 150"/>
                    <a:gd name="T6" fmla="*/ 74 w 308"/>
                    <a:gd name="T7" fmla="*/ 150 h 150"/>
                    <a:gd name="T8" fmla="*/ 0 w 308"/>
                    <a:gd name="T9" fmla="*/ 0 h 150"/>
                    <a:gd name="T10" fmla="*/ 1 w 308"/>
                    <a:gd name="T11" fmla="*/ 0 h 150"/>
                    <a:gd name="T12" fmla="*/ 6 w 308"/>
                    <a:gd name="T13" fmla="*/ 0 h 150"/>
                    <a:gd name="T14" fmla="*/ 11 w 308"/>
                    <a:gd name="T15" fmla="*/ 1 h 150"/>
                    <a:gd name="T16" fmla="*/ 59 w 308"/>
                    <a:gd name="T17" fmla="*/ 9 h 150"/>
                    <a:gd name="T18" fmla="*/ 102 w 308"/>
                    <a:gd name="T19" fmla="*/ 13 h 150"/>
                    <a:gd name="T20" fmla="*/ 136 w 308"/>
                    <a:gd name="T21" fmla="*/ 17 h 150"/>
                    <a:gd name="T22" fmla="*/ 167 w 308"/>
                    <a:gd name="T23" fmla="*/ 19 h 150"/>
                    <a:gd name="T24" fmla="*/ 190 w 308"/>
                    <a:gd name="T25" fmla="*/ 20 h 150"/>
                    <a:gd name="T26" fmla="*/ 209 w 308"/>
                    <a:gd name="T27" fmla="*/ 22 h 150"/>
                    <a:gd name="T28" fmla="*/ 224 w 308"/>
                    <a:gd name="T29" fmla="*/ 22 h 150"/>
                    <a:gd name="T30" fmla="*/ 230 w 308"/>
                    <a:gd name="T31" fmla="*/ 22 h 150"/>
                    <a:gd name="T32" fmla="*/ 234 w 308"/>
                    <a:gd name="T33" fmla="*/ 22 h 150"/>
                    <a:gd name="T34" fmla="*/ 237 w 308"/>
                    <a:gd name="T35" fmla="*/ 22 h 150"/>
                    <a:gd name="T36" fmla="*/ 237 w 308"/>
                    <a:gd name="T37" fmla="*/ 22 h 150"/>
                    <a:gd name="T38" fmla="*/ 238 w 308"/>
                    <a:gd name="T39" fmla="*/ 22 h 150"/>
                    <a:gd name="T40" fmla="*/ 260 w 308"/>
                    <a:gd name="T41" fmla="*/ 20 h 150"/>
                    <a:gd name="T42" fmla="*/ 279 w 308"/>
                    <a:gd name="T43" fmla="*/ 19 h 150"/>
                    <a:gd name="T44" fmla="*/ 294 w 308"/>
                    <a:gd name="T45" fmla="*/ 17 h 150"/>
                    <a:gd name="T46" fmla="*/ 302 w 308"/>
                    <a:gd name="T47" fmla="*/ 16 h 150"/>
                    <a:gd name="T48" fmla="*/ 305 w 308"/>
                    <a:gd name="T49" fmla="*/ 16 h 150"/>
                    <a:gd name="T50" fmla="*/ 307 w 308"/>
                    <a:gd name="T51" fmla="*/ 35 h 150"/>
                    <a:gd name="T52" fmla="*/ 308 w 308"/>
                    <a:gd name="T53" fmla="*/ 58 h 150"/>
                    <a:gd name="T54" fmla="*/ 308 w 308"/>
                    <a:gd name="T55" fmla="*/ 81 h 150"/>
                    <a:gd name="T56" fmla="*/ 308 w 308"/>
                    <a:gd name="T57" fmla="*/ 99 h 150"/>
                    <a:gd name="T58" fmla="*/ 305 w 308"/>
                    <a:gd name="T59" fmla="*/ 115 h 150"/>
                    <a:gd name="T60" fmla="*/ 301 w 308"/>
                    <a:gd name="T61" fmla="*/ 128 h 150"/>
                    <a:gd name="T62" fmla="*/ 294 w 308"/>
                    <a:gd name="T63" fmla="*/ 139 h 150"/>
                    <a:gd name="T64" fmla="*/ 283 w 308"/>
                    <a:gd name="T65" fmla="*/ 147 h 150"/>
                    <a:gd name="T66" fmla="*/ 269 w 308"/>
                    <a:gd name="T67" fmla="*/ 150 h 150"/>
                    <a:gd name="T68" fmla="*/ 74 w 308"/>
                    <a:gd name="T69" fmla="*/ 150 h 150"/>
                    <a:gd name="T70" fmla="*/ 75 w 308"/>
                    <a:gd name="T71" fmla="*/ 141 h 150"/>
                    <a:gd name="T72" fmla="*/ 75 w 308"/>
                    <a:gd name="T73" fmla="*/ 108 h 150"/>
                    <a:gd name="T74" fmla="*/ 72 w 308"/>
                    <a:gd name="T75" fmla="*/ 80 h 150"/>
                    <a:gd name="T76" fmla="*/ 67 w 308"/>
                    <a:gd name="T77" fmla="*/ 58 h 150"/>
                    <a:gd name="T78" fmla="*/ 59 w 308"/>
                    <a:gd name="T79" fmla="*/ 41 h 150"/>
                    <a:gd name="T80" fmla="*/ 51 w 308"/>
                    <a:gd name="T81" fmla="*/ 28 h 150"/>
                    <a:gd name="T82" fmla="*/ 42 w 308"/>
                    <a:gd name="T83" fmla="*/ 17 h 150"/>
                    <a:gd name="T84" fmla="*/ 33 w 308"/>
                    <a:gd name="T85" fmla="*/ 10 h 150"/>
                    <a:gd name="T86" fmla="*/ 27 w 308"/>
                    <a:gd name="T87" fmla="*/ 6 h 150"/>
                    <a:gd name="T88" fmla="*/ 22 w 308"/>
                    <a:gd name="T89" fmla="*/ 4 h 150"/>
                    <a:gd name="T90" fmla="*/ 20 w 308"/>
                    <a:gd name="T91" fmla="*/ 4 h 150"/>
                    <a:gd name="T92" fmla="*/ 10 w 308"/>
                    <a:gd name="T93" fmla="*/ 1 h 150"/>
                    <a:gd name="T94" fmla="*/ 0 w 308"/>
                    <a:gd name="T95" fmla="*/ 0 h 1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308" h="150">
                      <a:moveTo>
                        <a:pt x="74" y="150"/>
                      </a:moveTo>
                      <a:lnTo>
                        <a:pt x="74" y="150"/>
                      </a:lnTo>
                      <a:lnTo>
                        <a:pt x="74" y="150"/>
                      </a:lnTo>
                      <a:lnTo>
                        <a:pt x="74" y="150"/>
                      </a:lnTo>
                      <a:close/>
                      <a:moveTo>
                        <a:pt x="0" y="0"/>
                      </a:moveTo>
                      <a:lnTo>
                        <a:pt x="1" y="0"/>
                      </a:lnTo>
                      <a:lnTo>
                        <a:pt x="6" y="0"/>
                      </a:lnTo>
                      <a:lnTo>
                        <a:pt x="11" y="1"/>
                      </a:lnTo>
                      <a:lnTo>
                        <a:pt x="59" y="9"/>
                      </a:lnTo>
                      <a:lnTo>
                        <a:pt x="102" y="13"/>
                      </a:lnTo>
                      <a:lnTo>
                        <a:pt x="136" y="17"/>
                      </a:lnTo>
                      <a:lnTo>
                        <a:pt x="167" y="19"/>
                      </a:lnTo>
                      <a:lnTo>
                        <a:pt x="190" y="20"/>
                      </a:lnTo>
                      <a:lnTo>
                        <a:pt x="209" y="22"/>
                      </a:lnTo>
                      <a:lnTo>
                        <a:pt x="224" y="22"/>
                      </a:lnTo>
                      <a:lnTo>
                        <a:pt x="230" y="22"/>
                      </a:lnTo>
                      <a:lnTo>
                        <a:pt x="234" y="22"/>
                      </a:lnTo>
                      <a:lnTo>
                        <a:pt x="237" y="22"/>
                      </a:lnTo>
                      <a:lnTo>
                        <a:pt x="237" y="22"/>
                      </a:lnTo>
                      <a:lnTo>
                        <a:pt x="238" y="22"/>
                      </a:lnTo>
                      <a:lnTo>
                        <a:pt x="260" y="20"/>
                      </a:lnTo>
                      <a:lnTo>
                        <a:pt x="279" y="19"/>
                      </a:lnTo>
                      <a:lnTo>
                        <a:pt x="294" y="17"/>
                      </a:lnTo>
                      <a:lnTo>
                        <a:pt x="302" y="16"/>
                      </a:lnTo>
                      <a:lnTo>
                        <a:pt x="305" y="16"/>
                      </a:lnTo>
                      <a:lnTo>
                        <a:pt x="307" y="35"/>
                      </a:lnTo>
                      <a:lnTo>
                        <a:pt x="308" y="58"/>
                      </a:lnTo>
                      <a:lnTo>
                        <a:pt x="308" y="81"/>
                      </a:lnTo>
                      <a:lnTo>
                        <a:pt x="308" y="99"/>
                      </a:lnTo>
                      <a:lnTo>
                        <a:pt x="305" y="115"/>
                      </a:lnTo>
                      <a:lnTo>
                        <a:pt x="301" y="128"/>
                      </a:lnTo>
                      <a:lnTo>
                        <a:pt x="294" y="139"/>
                      </a:lnTo>
                      <a:lnTo>
                        <a:pt x="283" y="147"/>
                      </a:lnTo>
                      <a:lnTo>
                        <a:pt x="269" y="150"/>
                      </a:lnTo>
                      <a:lnTo>
                        <a:pt x="74" y="150"/>
                      </a:lnTo>
                      <a:lnTo>
                        <a:pt x="75" y="141"/>
                      </a:lnTo>
                      <a:lnTo>
                        <a:pt x="75" y="108"/>
                      </a:lnTo>
                      <a:lnTo>
                        <a:pt x="72" y="80"/>
                      </a:lnTo>
                      <a:lnTo>
                        <a:pt x="67" y="58"/>
                      </a:lnTo>
                      <a:lnTo>
                        <a:pt x="59" y="41"/>
                      </a:lnTo>
                      <a:lnTo>
                        <a:pt x="51" y="28"/>
                      </a:lnTo>
                      <a:lnTo>
                        <a:pt x="42" y="17"/>
                      </a:lnTo>
                      <a:lnTo>
                        <a:pt x="33" y="10"/>
                      </a:lnTo>
                      <a:lnTo>
                        <a:pt x="27" y="6"/>
                      </a:lnTo>
                      <a:lnTo>
                        <a:pt x="22" y="4"/>
                      </a:lnTo>
                      <a:lnTo>
                        <a:pt x="20" y="4"/>
                      </a:lnTo>
                      <a:lnTo>
                        <a:pt x="10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1DA7E8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47" name="Freeform 335"/>
                <p:cNvSpPr>
                  <a:spLocks/>
                </p:cNvSpPr>
                <p:nvPr/>
              </p:nvSpPr>
              <p:spPr bwMode="auto">
                <a:xfrm>
                  <a:off x="6189664" y="4459288"/>
                  <a:ext cx="3175" cy="0"/>
                </a:xfrm>
                <a:custGeom>
                  <a:avLst/>
                  <a:gdLst>
                    <a:gd name="T0" fmla="*/ 2 w 2"/>
                    <a:gd name="T1" fmla="*/ 2 w 2"/>
                    <a:gd name="T2" fmla="*/ 0 w 2"/>
                    <a:gd name="T3" fmla="*/ 2 w 2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102428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48" name="Freeform 336"/>
                <p:cNvSpPr>
                  <a:spLocks/>
                </p:cNvSpPr>
                <p:nvPr/>
              </p:nvSpPr>
              <p:spPr bwMode="auto">
                <a:xfrm>
                  <a:off x="6148389" y="4459288"/>
                  <a:ext cx="168275" cy="835025"/>
                </a:xfrm>
                <a:custGeom>
                  <a:avLst/>
                  <a:gdLst>
                    <a:gd name="T0" fmla="*/ 28 w 106"/>
                    <a:gd name="T1" fmla="*/ 0 h 526"/>
                    <a:gd name="T2" fmla="*/ 29 w 106"/>
                    <a:gd name="T3" fmla="*/ 0 h 526"/>
                    <a:gd name="T4" fmla="*/ 29 w 106"/>
                    <a:gd name="T5" fmla="*/ 0 h 526"/>
                    <a:gd name="T6" fmla="*/ 29 w 106"/>
                    <a:gd name="T7" fmla="*/ 0 h 526"/>
                    <a:gd name="T8" fmla="*/ 31 w 106"/>
                    <a:gd name="T9" fmla="*/ 0 h 526"/>
                    <a:gd name="T10" fmla="*/ 31 w 106"/>
                    <a:gd name="T11" fmla="*/ 0 h 526"/>
                    <a:gd name="T12" fmla="*/ 41 w 106"/>
                    <a:gd name="T13" fmla="*/ 1 h 526"/>
                    <a:gd name="T14" fmla="*/ 51 w 106"/>
                    <a:gd name="T15" fmla="*/ 4 h 526"/>
                    <a:gd name="T16" fmla="*/ 53 w 106"/>
                    <a:gd name="T17" fmla="*/ 4 h 526"/>
                    <a:gd name="T18" fmla="*/ 58 w 106"/>
                    <a:gd name="T19" fmla="*/ 6 h 526"/>
                    <a:gd name="T20" fmla="*/ 64 w 106"/>
                    <a:gd name="T21" fmla="*/ 10 h 526"/>
                    <a:gd name="T22" fmla="*/ 73 w 106"/>
                    <a:gd name="T23" fmla="*/ 17 h 526"/>
                    <a:gd name="T24" fmla="*/ 82 w 106"/>
                    <a:gd name="T25" fmla="*/ 28 h 526"/>
                    <a:gd name="T26" fmla="*/ 90 w 106"/>
                    <a:gd name="T27" fmla="*/ 41 h 526"/>
                    <a:gd name="T28" fmla="*/ 98 w 106"/>
                    <a:gd name="T29" fmla="*/ 58 h 526"/>
                    <a:gd name="T30" fmla="*/ 103 w 106"/>
                    <a:gd name="T31" fmla="*/ 80 h 526"/>
                    <a:gd name="T32" fmla="*/ 106 w 106"/>
                    <a:gd name="T33" fmla="*/ 108 h 526"/>
                    <a:gd name="T34" fmla="*/ 106 w 106"/>
                    <a:gd name="T35" fmla="*/ 141 h 526"/>
                    <a:gd name="T36" fmla="*/ 105 w 106"/>
                    <a:gd name="T37" fmla="*/ 150 h 526"/>
                    <a:gd name="T38" fmla="*/ 102 w 106"/>
                    <a:gd name="T39" fmla="*/ 163 h 526"/>
                    <a:gd name="T40" fmla="*/ 87 w 106"/>
                    <a:gd name="T41" fmla="*/ 256 h 526"/>
                    <a:gd name="T42" fmla="*/ 71 w 106"/>
                    <a:gd name="T43" fmla="*/ 371 h 526"/>
                    <a:gd name="T44" fmla="*/ 54 w 106"/>
                    <a:gd name="T45" fmla="*/ 484 h 526"/>
                    <a:gd name="T46" fmla="*/ 50 w 106"/>
                    <a:gd name="T47" fmla="*/ 501 h 526"/>
                    <a:gd name="T48" fmla="*/ 47 w 106"/>
                    <a:gd name="T49" fmla="*/ 516 h 526"/>
                    <a:gd name="T50" fmla="*/ 44 w 106"/>
                    <a:gd name="T51" fmla="*/ 526 h 526"/>
                    <a:gd name="T52" fmla="*/ 42 w 106"/>
                    <a:gd name="T53" fmla="*/ 525 h 526"/>
                    <a:gd name="T54" fmla="*/ 39 w 106"/>
                    <a:gd name="T55" fmla="*/ 523 h 526"/>
                    <a:gd name="T56" fmla="*/ 37 w 106"/>
                    <a:gd name="T57" fmla="*/ 523 h 526"/>
                    <a:gd name="T58" fmla="*/ 35 w 106"/>
                    <a:gd name="T59" fmla="*/ 523 h 526"/>
                    <a:gd name="T60" fmla="*/ 35 w 106"/>
                    <a:gd name="T61" fmla="*/ 523 h 526"/>
                    <a:gd name="T62" fmla="*/ 34 w 106"/>
                    <a:gd name="T63" fmla="*/ 523 h 526"/>
                    <a:gd name="T64" fmla="*/ 29 w 106"/>
                    <a:gd name="T65" fmla="*/ 522 h 526"/>
                    <a:gd name="T66" fmla="*/ 37 w 106"/>
                    <a:gd name="T67" fmla="*/ 509 h 526"/>
                    <a:gd name="T68" fmla="*/ 41 w 106"/>
                    <a:gd name="T69" fmla="*/ 491 h 526"/>
                    <a:gd name="T70" fmla="*/ 57 w 106"/>
                    <a:gd name="T71" fmla="*/ 362 h 526"/>
                    <a:gd name="T72" fmla="*/ 74 w 106"/>
                    <a:gd name="T73" fmla="*/ 231 h 526"/>
                    <a:gd name="T74" fmla="*/ 89 w 106"/>
                    <a:gd name="T75" fmla="*/ 100 h 526"/>
                    <a:gd name="T76" fmla="*/ 90 w 106"/>
                    <a:gd name="T77" fmla="*/ 80 h 526"/>
                    <a:gd name="T78" fmla="*/ 87 w 106"/>
                    <a:gd name="T79" fmla="*/ 61 h 526"/>
                    <a:gd name="T80" fmla="*/ 79 w 106"/>
                    <a:gd name="T81" fmla="*/ 44 h 526"/>
                    <a:gd name="T82" fmla="*/ 66 w 106"/>
                    <a:gd name="T83" fmla="*/ 28 h 526"/>
                    <a:gd name="T84" fmla="*/ 48 w 106"/>
                    <a:gd name="T85" fmla="*/ 16 h 526"/>
                    <a:gd name="T86" fmla="*/ 29 w 106"/>
                    <a:gd name="T87" fmla="*/ 10 h 526"/>
                    <a:gd name="T88" fmla="*/ 23 w 106"/>
                    <a:gd name="T89" fmla="*/ 9 h 526"/>
                    <a:gd name="T90" fmla="*/ 16 w 106"/>
                    <a:gd name="T91" fmla="*/ 9 h 526"/>
                    <a:gd name="T92" fmla="*/ 7 w 106"/>
                    <a:gd name="T93" fmla="*/ 9 h 526"/>
                    <a:gd name="T94" fmla="*/ 0 w 106"/>
                    <a:gd name="T95" fmla="*/ 10 h 526"/>
                    <a:gd name="T96" fmla="*/ 10 w 106"/>
                    <a:gd name="T97" fmla="*/ 3 h 526"/>
                    <a:gd name="T98" fmla="*/ 26 w 106"/>
                    <a:gd name="T99" fmla="*/ 0 h 526"/>
                    <a:gd name="T100" fmla="*/ 26 w 106"/>
                    <a:gd name="T101" fmla="*/ 0 h 526"/>
                    <a:gd name="T102" fmla="*/ 26 w 106"/>
                    <a:gd name="T103" fmla="*/ 0 h 526"/>
                    <a:gd name="T104" fmla="*/ 26 w 106"/>
                    <a:gd name="T105" fmla="*/ 0 h 526"/>
                    <a:gd name="T106" fmla="*/ 28 w 106"/>
                    <a:gd name="T107" fmla="*/ 0 h 5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06" h="526">
                      <a:moveTo>
                        <a:pt x="28" y="0"/>
                      </a:moveTo>
                      <a:lnTo>
                        <a:pt x="29" y="0"/>
                      </a:lnTo>
                      <a:lnTo>
                        <a:pt x="29" y="0"/>
                      </a:lnTo>
                      <a:lnTo>
                        <a:pt x="29" y="0"/>
                      </a:lnTo>
                      <a:lnTo>
                        <a:pt x="31" y="0"/>
                      </a:lnTo>
                      <a:lnTo>
                        <a:pt x="31" y="0"/>
                      </a:lnTo>
                      <a:lnTo>
                        <a:pt x="41" y="1"/>
                      </a:lnTo>
                      <a:lnTo>
                        <a:pt x="51" y="4"/>
                      </a:lnTo>
                      <a:lnTo>
                        <a:pt x="53" y="4"/>
                      </a:lnTo>
                      <a:lnTo>
                        <a:pt x="58" y="6"/>
                      </a:lnTo>
                      <a:lnTo>
                        <a:pt x="64" y="10"/>
                      </a:lnTo>
                      <a:lnTo>
                        <a:pt x="73" y="17"/>
                      </a:lnTo>
                      <a:lnTo>
                        <a:pt x="82" y="28"/>
                      </a:lnTo>
                      <a:lnTo>
                        <a:pt x="90" y="41"/>
                      </a:lnTo>
                      <a:lnTo>
                        <a:pt x="98" y="58"/>
                      </a:lnTo>
                      <a:lnTo>
                        <a:pt x="103" y="80"/>
                      </a:lnTo>
                      <a:lnTo>
                        <a:pt x="106" y="108"/>
                      </a:lnTo>
                      <a:lnTo>
                        <a:pt x="106" y="141"/>
                      </a:lnTo>
                      <a:lnTo>
                        <a:pt x="105" y="150"/>
                      </a:lnTo>
                      <a:lnTo>
                        <a:pt x="102" y="163"/>
                      </a:lnTo>
                      <a:lnTo>
                        <a:pt x="87" y="256"/>
                      </a:lnTo>
                      <a:lnTo>
                        <a:pt x="71" y="371"/>
                      </a:lnTo>
                      <a:lnTo>
                        <a:pt x="54" y="484"/>
                      </a:lnTo>
                      <a:lnTo>
                        <a:pt x="50" y="501"/>
                      </a:lnTo>
                      <a:lnTo>
                        <a:pt x="47" y="516"/>
                      </a:lnTo>
                      <a:lnTo>
                        <a:pt x="44" y="526"/>
                      </a:lnTo>
                      <a:lnTo>
                        <a:pt x="42" y="525"/>
                      </a:lnTo>
                      <a:lnTo>
                        <a:pt x="39" y="523"/>
                      </a:lnTo>
                      <a:lnTo>
                        <a:pt x="37" y="523"/>
                      </a:lnTo>
                      <a:lnTo>
                        <a:pt x="35" y="523"/>
                      </a:lnTo>
                      <a:lnTo>
                        <a:pt x="35" y="523"/>
                      </a:lnTo>
                      <a:lnTo>
                        <a:pt x="34" y="523"/>
                      </a:lnTo>
                      <a:lnTo>
                        <a:pt x="29" y="522"/>
                      </a:lnTo>
                      <a:lnTo>
                        <a:pt x="37" y="509"/>
                      </a:lnTo>
                      <a:lnTo>
                        <a:pt x="41" y="491"/>
                      </a:lnTo>
                      <a:lnTo>
                        <a:pt x="57" y="362"/>
                      </a:lnTo>
                      <a:lnTo>
                        <a:pt x="74" y="231"/>
                      </a:lnTo>
                      <a:lnTo>
                        <a:pt x="89" y="100"/>
                      </a:lnTo>
                      <a:lnTo>
                        <a:pt x="90" y="80"/>
                      </a:lnTo>
                      <a:lnTo>
                        <a:pt x="87" y="61"/>
                      </a:lnTo>
                      <a:lnTo>
                        <a:pt x="79" y="44"/>
                      </a:lnTo>
                      <a:lnTo>
                        <a:pt x="66" y="28"/>
                      </a:lnTo>
                      <a:lnTo>
                        <a:pt x="48" y="16"/>
                      </a:lnTo>
                      <a:lnTo>
                        <a:pt x="29" y="10"/>
                      </a:lnTo>
                      <a:lnTo>
                        <a:pt x="23" y="9"/>
                      </a:lnTo>
                      <a:lnTo>
                        <a:pt x="16" y="9"/>
                      </a:lnTo>
                      <a:lnTo>
                        <a:pt x="7" y="9"/>
                      </a:lnTo>
                      <a:lnTo>
                        <a:pt x="0" y="10"/>
                      </a:lnTo>
                      <a:lnTo>
                        <a:pt x="10" y="3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28" y="0"/>
                      </a:lnTo>
                      <a:close/>
                    </a:path>
                  </a:pathLst>
                </a:custGeom>
                <a:solidFill>
                  <a:srgbClr val="1DA7E8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49" name="Freeform 337"/>
                <p:cNvSpPr>
                  <a:spLocks/>
                </p:cNvSpPr>
                <p:nvPr/>
              </p:nvSpPr>
              <p:spPr bwMode="auto">
                <a:xfrm>
                  <a:off x="5335589" y="5314951"/>
                  <a:ext cx="354013" cy="101600"/>
                </a:xfrm>
                <a:custGeom>
                  <a:avLst/>
                  <a:gdLst>
                    <a:gd name="T0" fmla="*/ 98 w 223"/>
                    <a:gd name="T1" fmla="*/ 0 h 64"/>
                    <a:gd name="T2" fmla="*/ 101 w 223"/>
                    <a:gd name="T3" fmla="*/ 0 h 64"/>
                    <a:gd name="T4" fmla="*/ 102 w 223"/>
                    <a:gd name="T5" fmla="*/ 2 h 64"/>
                    <a:gd name="T6" fmla="*/ 102 w 223"/>
                    <a:gd name="T7" fmla="*/ 3 h 64"/>
                    <a:gd name="T8" fmla="*/ 102 w 223"/>
                    <a:gd name="T9" fmla="*/ 5 h 64"/>
                    <a:gd name="T10" fmla="*/ 103 w 223"/>
                    <a:gd name="T11" fmla="*/ 6 h 64"/>
                    <a:gd name="T12" fmla="*/ 105 w 223"/>
                    <a:gd name="T13" fmla="*/ 6 h 64"/>
                    <a:gd name="T14" fmla="*/ 106 w 223"/>
                    <a:gd name="T15" fmla="*/ 7 h 64"/>
                    <a:gd name="T16" fmla="*/ 111 w 223"/>
                    <a:gd name="T17" fmla="*/ 7 h 64"/>
                    <a:gd name="T18" fmla="*/ 140 w 223"/>
                    <a:gd name="T19" fmla="*/ 7 h 64"/>
                    <a:gd name="T20" fmla="*/ 166 w 223"/>
                    <a:gd name="T21" fmla="*/ 10 h 64"/>
                    <a:gd name="T22" fmla="*/ 189 w 223"/>
                    <a:gd name="T23" fmla="*/ 15 h 64"/>
                    <a:gd name="T24" fmla="*/ 207 w 223"/>
                    <a:gd name="T25" fmla="*/ 22 h 64"/>
                    <a:gd name="T26" fmla="*/ 218 w 223"/>
                    <a:gd name="T27" fmla="*/ 31 h 64"/>
                    <a:gd name="T28" fmla="*/ 223 w 223"/>
                    <a:gd name="T29" fmla="*/ 39 h 64"/>
                    <a:gd name="T30" fmla="*/ 223 w 223"/>
                    <a:gd name="T31" fmla="*/ 48 h 64"/>
                    <a:gd name="T32" fmla="*/ 221 w 223"/>
                    <a:gd name="T33" fmla="*/ 54 h 64"/>
                    <a:gd name="T34" fmla="*/ 215 w 223"/>
                    <a:gd name="T35" fmla="*/ 58 h 64"/>
                    <a:gd name="T36" fmla="*/ 205 w 223"/>
                    <a:gd name="T37" fmla="*/ 61 h 64"/>
                    <a:gd name="T38" fmla="*/ 188 w 223"/>
                    <a:gd name="T39" fmla="*/ 63 h 64"/>
                    <a:gd name="T40" fmla="*/ 163 w 223"/>
                    <a:gd name="T41" fmla="*/ 64 h 64"/>
                    <a:gd name="T42" fmla="*/ 141 w 223"/>
                    <a:gd name="T43" fmla="*/ 64 h 64"/>
                    <a:gd name="T44" fmla="*/ 115 w 223"/>
                    <a:gd name="T45" fmla="*/ 64 h 64"/>
                    <a:gd name="T46" fmla="*/ 85 w 223"/>
                    <a:gd name="T47" fmla="*/ 64 h 64"/>
                    <a:gd name="T48" fmla="*/ 54 w 223"/>
                    <a:gd name="T49" fmla="*/ 63 h 64"/>
                    <a:gd name="T50" fmla="*/ 26 w 223"/>
                    <a:gd name="T51" fmla="*/ 60 h 64"/>
                    <a:gd name="T52" fmla="*/ 3 w 223"/>
                    <a:gd name="T53" fmla="*/ 54 h 64"/>
                    <a:gd name="T54" fmla="*/ 2 w 223"/>
                    <a:gd name="T55" fmla="*/ 53 h 64"/>
                    <a:gd name="T56" fmla="*/ 0 w 223"/>
                    <a:gd name="T57" fmla="*/ 50 h 64"/>
                    <a:gd name="T58" fmla="*/ 2 w 223"/>
                    <a:gd name="T59" fmla="*/ 45 h 64"/>
                    <a:gd name="T60" fmla="*/ 5 w 223"/>
                    <a:gd name="T61" fmla="*/ 39 h 64"/>
                    <a:gd name="T62" fmla="*/ 12 w 223"/>
                    <a:gd name="T63" fmla="*/ 32 h 64"/>
                    <a:gd name="T64" fmla="*/ 25 w 223"/>
                    <a:gd name="T65" fmla="*/ 23 h 64"/>
                    <a:gd name="T66" fmla="*/ 48 w 223"/>
                    <a:gd name="T67" fmla="*/ 15 h 64"/>
                    <a:gd name="T68" fmla="*/ 69 w 223"/>
                    <a:gd name="T69" fmla="*/ 7 h 64"/>
                    <a:gd name="T70" fmla="*/ 83 w 223"/>
                    <a:gd name="T71" fmla="*/ 3 h 64"/>
                    <a:gd name="T72" fmla="*/ 92 w 223"/>
                    <a:gd name="T73" fmla="*/ 0 h 64"/>
                    <a:gd name="T74" fmla="*/ 98 w 223"/>
                    <a:gd name="T75" fmla="*/ 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223" h="64">
                      <a:moveTo>
                        <a:pt x="98" y="0"/>
                      </a:moveTo>
                      <a:lnTo>
                        <a:pt x="101" y="0"/>
                      </a:lnTo>
                      <a:lnTo>
                        <a:pt x="102" y="2"/>
                      </a:lnTo>
                      <a:lnTo>
                        <a:pt x="102" y="3"/>
                      </a:lnTo>
                      <a:lnTo>
                        <a:pt x="102" y="5"/>
                      </a:lnTo>
                      <a:lnTo>
                        <a:pt x="103" y="6"/>
                      </a:lnTo>
                      <a:lnTo>
                        <a:pt x="105" y="6"/>
                      </a:lnTo>
                      <a:lnTo>
                        <a:pt x="106" y="7"/>
                      </a:lnTo>
                      <a:lnTo>
                        <a:pt x="111" y="7"/>
                      </a:lnTo>
                      <a:lnTo>
                        <a:pt x="140" y="7"/>
                      </a:lnTo>
                      <a:lnTo>
                        <a:pt x="166" y="10"/>
                      </a:lnTo>
                      <a:lnTo>
                        <a:pt x="189" y="15"/>
                      </a:lnTo>
                      <a:lnTo>
                        <a:pt x="207" y="22"/>
                      </a:lnTo>
                      <a:lnTo>
                        <a:pt x="218" y="31"/>
                      </a:lnTo>
                      <a:lnTo>
                        <a:pt x="223" y="39"/>
                      </a:lnTo>
                      <a:lnTo>
                        <a:pt x="223" y="48"/>
                      </a:lnTo>
                      <a:lnTo>
                        <a:pt x="221" y="54"/>
                      </a:lnTo>
                      <a:lnTo>
                        <a:pt x="215" y="58"/>
                      </a:lnTo>
                      <a:lnTo>
                        <a:pt x="205" y="61"/>
                      </a:lnTo>
                      <a:lnTo>
                        <a:pt x="188" y="63"/>
                      </a:lnTo>
                      <a:lnTo>
                        <a:pt x="163" y="64"/>
                      </a:lnTo>
                      <a:lnTo>
                        <a:pt x="141" y="64"/>
                      </a:lnTo>
                      <a:lnTo>
                        <a:pt x="115" y="64"/>
                      </a:lnTo>
                      <a:lnTo>
                        <a:pt x="85" y="64"/>
                      </a:lnTo>
                      <a:lnTo>
                        <a:pt x="54" y="63"/>
                      </a:lnTo>
                      <a:lnTo>
                        <a:pt x="26" y="60"/>
                      </a:lnTo>
                      <a:lnTo>
                        <a:pt x="3" y="54"/>
                      </a:lnTo>
                      <a:lnTo>
                        <a:pt x="2" y="53"/>
                      </a:lnTo>
                      <a:lnTo>
                        <a:pt x="0" y="50"/>
                      </a:lnTo>
                      <a:lnTo>
                        <a:pt x="2" y="45"/>
                      </a:lnTo>
                      <a:lnTo>
                        <a:pt x="5" y="39"/>
                      </a:lnTo>
                      <a:lnTo>
                        <a:pt x="12" y="32"/>
                      </a:lnTo>
                      <a:lnTo>
                        <a:pt x="25" y="23"/>
                      </a:lnTo>
                      <a:lnTo>
                        <a:pt x="48" y="15"/>
                      </a:lnTo>
                      <a:lnTo>
                        <a:pt x="69" y="7"/>
                      </a:lnTo>
                      <a:lnTo>
                        <a:pt x="83" y="3"/>
                      </a:lnTo>
                      <a:lnTo>
                        <a:pt x="92" y="0"/>
                      </a:lnTo>
                      <a:lnTo>
                        <a:pt x="98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50" name="Freeform 338"/>
                <p:cNvSpPr>
                  <a:spLocks noEditPoints="1"/>
                </p:cNvSpPr>
                <p:nvPr/>
              </p:nvSpPr>
              <p:spPr bwMode="auto">
                <a:xfrm>
                  <a:off x="5635626" y="5399088"/>
                  <a:ext cx="53975" cy="15875"/>
                </a:xfrm>
                <a:custGeom>
                  <a:avLst/>
                  <a:gdLst>
                    <a:gd name="T0" fmla="*/ 26 w 34"/>
                    <a:gd name="T1" fmla="*/ 5 h 10"/>
                    <a:gd name="T2" fmla="*/ 18 w 34"/>
                    <a:gd name="T3" fmla="*/ 8 h 10"/>
                    <a:gd name="T4" fmla="*/ 0 w 34"/>
                    <a:gd name="T5" fmla="*/ 10 h 10"/>
                    <a:gd name="T6" fmla="*/ 18 w 34"/>
                    <a:gd name="T7" fmla="*/ 8 h 10"/>
                    <a:gd name="T8" fmla="*/ 26 w 34"/>
                    <a:gd name="T9" fmla="*/ 5 h 10"/>
                    <a:gd name="T10" fmla="*/ 34 w 34"/>
                    <a:gd name="T11" fmla="*/ 0 h 10"/>
                    <a:gd name="T12" fmla="*/ 28 w 34"/>
                    <a:gd name="T13" fmla="*/ 5 h 10"/>
                    <a:gd name="T14" fmla="*/ 26 w 34"/>
                    <a:gd name="T15" fmla="*/ 5 h 10"/>
                    <a:gd name="T16" fmla="*/ 28 w 34"/>
                    <a:gd name="T17" fmla="*/ 5 h 10"/>
                    <a:gd name="T18" fmla="*/ 34 w 34"/>
                    <a:gd name="T19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4" h="10">
                      <a:moveTo>
                        <a:pt x="26" y="5"/>
                      </a:moveTo>
                      <a:lnTo>
                        <a:pt x="18" y="8"/>
                      </a:lnTo>
                      <a:lnTo>
                        <a:pt x="0" y="10"/>
                      </a:lnTo>
                      <a:lnTo>
                        <a:pt x="18" y="8"/>
                      </a:lnTo>
                      <a:lnTo>
                        <a:pt x="26" y="5"/>
                      </a:lnTo>
                      <a:close/>
                      <a:moveTo>
                        <a:pt x="34" y="0"/>
                      </a:moveTo>
                      <a:lnTo>
                        <a:pt x="28" y="5"/>
                      </a:lnTo>
                      <a:lnTo>
                        <a:pt x="26" y="5"/>
                      </a:lnTo>
                      <a:lnTo>
                        <a:pt x="28" y="5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solidFill>
                  <a:srgbClr val="DDAA3C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51" name="Freeform 339"/>
                <p:cNvSpPr>
                  <a:spLocks/>
                </p:cNvSpPr>
                <p:nvPr/>
              </p:nvSpPr>
              <p:spPr bwMode="auto">
                <a:xfrm>
                  <a:off x="5411789" y="5373688"/>
                  <a:ext cx="277813" cy="42863"/>
                </a:xfrm>
                <a:custGeom>
                  <a:avLst/>
                  <a:gdLst>
                    <a:gd name="T0" fmla="*/ 175 w 175"/>
                    <a:gd name="T1" fmla="*/ 0 h 27"/>
                    <a:gd name="T2" fmla="*/ 175 w 175"/>
                    <a:gd name="T3" fmla="*/ 0 h 27"/>
                    <a:gd name="T4" fmla="*/ 175 w 175"/>
                    <a:gd name="T5" fmla="*/ 2 h 27"/>
                    <a:gd name="T6" fmla="*/ 175 w 175"/>
                    <a:gd name="T7" fmla="*/ 8 h 27"/>
                    <a:gd name="T8" fmla="*/ 175 w 175"/>
                    <a:gd name="T9" fmla="*/ 16 h 27"/>
                    <a:gd name="T10" fmla="*/ 169 w 175"/>
                    <a:gd name="T11" fmla="*/ 21 h 27"/>
                    <a:gd name="T12" fmla="*/ 159 w 175"/>
                    <a:gd name="T13" fmla="*/ 24 h 27"/>
                    <a:gd name="T14" fmla="*/ 141 w 175"/>
                    <a:gd name="T15" fmla="*/ 26 h 27"/>
                    <a:gd name="T16" fmla="*/ 115 w 175"/>
                    <a:gd name="T17" fmla="*/ 27 h 27"/>
                    <a:gd name="T18" fmla="*/ 114 w 175"/>
                    <a:gd name="T19" fmla="*/ 27 h 27"/>
                    <a:gd name="T20" fmla="*/ 69 w 175"/>
                    <a:gd name="T21" fmla="*/ 27 h 27"/>
                    <a:gd name="T22" fmla="*/ 32 w 175"/>
                    <a:gd name="T23" fmla="*/ 27 h 27"/>
                    <a:gd name="T24" fmla="*/ 0 w 175"/>
                    <a:gd name="T25" fmla="*/ 24 h 27"/>
                    <a:gd name="T26" fmla="*/ 0 w 175"/>
                    <a:gd name="T27" fmla="*/ 23 h 27"/>
                    <a:gd name="T28" fmla="*/ 10 w 175"/>
                    <a:gd name="T29" fmla="*/ 23 h 27"/>
                    <a:gd name="T30" fmla="*/ 22 w 175"/>
                    <a:gd name="T31" fmla="*/ 23 h 27"/>
                    <a:gd name="T32" fmla="*/ 53 w 175"/>
                    <a:gd name="T33" fmla="*/ 20 h 27"/>
                    <a:gd name="T34" fmla="*/ 82 w 175"/>
                    <a:gd name="T35" fmla="*/ 16 h 27"/>
                    <a:gd name="T36" fmla="*/ 99 w 175"/>
                    <a:gd name="T37" fmla="*/ 13 h 27"/>
                    <a:gd name="T38" fmla="*/ 115 w 175"/>
                    <a:gd name="T39" fmla="*/ 13 h 27"/>
                    <a:gd name="T40" fmla="*/ 138 w 175"/>
                    <a:gd name="T41" fmla="*/ 11 h 27"/>
                    <a:gd name="T42" fmla="*/ 154 w 175"/>
                    <a:gd name="T43" fmla="*/ 10 h 27"/>
                    <a:gd name="T44" fmla="*/ 166 w 175"/>
                    <a:gd name="T45" fmla="*/ 8 h 27"/>
                    <a:gd name="T46" fmla="*/ 172 w 175"/>
                    <a:gd name="T47" fmla="*/ 4 h 27"/>
                    <a:gd name="T48" fmla="*/ 175 w 175"/>
                    <a:gd name="T49" fmla="*/ 0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75" h="27">
                      <a:moveTo>
                        <a:pt x="175" y="0"/>
                      </a:moveTo>
                      <a:lnTo>
                        <a:pt x="175" y="0"/>
                      </a:lnTo>
                      <a:lnTo>
                        <a:pt x="175" y="2"/>
                      </a:lnTo>
                      <a:lnTo>
                        <a:pt x="175" y="8"/>
                      </a:lnTo>
                      <a:lnTo>
                        <a:pt x="175" y="16"/>
                      </a:lnTo>
                      <a:lnTo>
                        <a:pt x="169" y="21"/>
                      </a:lnTo>
                      <a:lnTo>
                        <a:pt x="159" y="24"/>
                      </a:lnTo>
                      <a:lnTo>
                        <a:pt x="141" y="26"/>
                      </a:lnTo>
                      <a:lnTo>
                        <a:pt x="115" y="27"/>
                      </a:lnTo>
                      <a:lnTo>
                        <a:pt x="114" y="27"/>
                      </a:lnTo>
                      <a:lnTo>
                        <a:pt x="69" y="27"/>
                      </a:lnTo>
                      <a:lnTo>
                        <a:pt x="32" y="27"/>
                      </a:lnTo>
                      <a:lnTo>
                        <a:pt x="0" y="24"/>
                      </a:lnTo>
                      <a:lnTo>
                        <a:pt x="0" y="23"/>
                      </a:lnTo>
                      <a:lnTo>
                        <a:pt x="10" y="23"/>
                      </a:lnTo>
                      <a:lnTo>
                        <a:pt x="22" y="23"/>
                      </a:lnTo>
                      <a:lnTo>
                        <a:pt x="53" y="20"/>
                      </a:lnTo>
                      <a:lnTo>
                        <a:pt x="82" y="16"/>
                      </a:lnTo>
                      <a:lnTo>
                        <a:pt x="99" y="13"/>
                      </a:lnTo>
                      <a:lnTo>
                        <a:pt x="115" y="13"/>
                      </a:lnTo>
                      <a:lnTo>
                        <a:pt x="138" y="11"/>
                      </a:lnTo>
                      <a:lnTo>
                        <a:pt x="154" y="10"/>
                      </a:lnTo>
                      <a:lnTo>
                        <a:pt x="166" y="8"/>
                      </a:lnTo>
                      <a:lnTo>
                        <a:pt x="172" y="4"/>
                      </a:lnTo>
                      <a:lnTo>
                        <a:pt x="175" y="0"/>
                      </a:lnTo>
                      <a:close/>
                    </a:path>
                  </a:pathLst>
                </a:custGeom>
                <a:solidFill>
                  <a:srgbClr val="FFA01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52" name="Freeform 340"/>
                <p:cNvSpPr>
                  <a:spLocks/>
                </p:cNvSpPr>
                <p:nvPr/>
              </p:nvSpPr>
              <p:spPr bwMode="auto">
                <a:xfrm>
                  <a:off x="5356226" y="5251451"/>
                  <a:ext cx="342900" cy="142875"/>
                </a:xfrm>
                <a:custGeom>
                  <a:avLst/>
                  <a:gdLst>
                    <a:gd name="T0" fmla="*/ 138 w 216"/>
                    <a:gd name="T1" fmla="*/ 0 h 90"/>
                    <a:gd name="T2" fmla="*/ 144 w 216"/>
                    <a:gd name="T3" fmla="*/ 1 h 90"/>
                    <a:gd name="T4" fmla="*/ 153 w 216"/>
                    <a:gd name="T5" fmla="*/ 4 h 90"/>
                    <a:gd name="T6" fmla="*/ 165 w 216"/>
                    <a:gd name="T7" fmla="*/ 8 h 90"/>
                    <a:gd name="T8" fmla="*/ 184 w 216"/>
                    <a:gd name="T9" fmla="*/ 16 h 90"/>
                    <a:gd name="T10" fmla="*/ 205 w 216"/>
                    <a:gd name="T11" fmla="*/ 18 h 90"/>
                    <a:gd name="T12" fmla="*/ 211 w 216"/>
                    <a:gd name="T13" fmla="*/ 20 h 90"/>
                    <a:gd name="T14" fmla="*/ 214 w 216"/>
                    <a:gd name="T15" fmla="*/ 26 h 90"/>
                    <a:gd name="T16" fmla="*/ 216 w 216"/>
                    <a:gd name="T17" fmla="*/ 34 h 90"/>
                    <a:gd name="T18" fmla="*/ 214 w 216"/>
                    <a:gd name="T19" fmla="*/ 43 h 90"/>
                    <a:gd name="T20" fmla="*/ 213 w 216"/>
                    <a:gd name="T21" fmla="*/ 52 h 90"/>
                    <a:gd name="T22" fmla="*/ 210 w 216"/>
                    <a:gd name="T23" fmla="*/ 59 h 90"/>
                    <a:gd name="T24" fmla="*/ 210 w 216"/>
                    <a:gd name="T25" fmla="*/ 62 h 90"/>
                    <a:gd name="T26" fmla="*/ 210 w 216"/>
                    <a:gd name="T27" fmla="*/ 72 h 90"/>
                    <a:gd name="T28" fmla="*/ 208 w 216"/>
                    <a:gd name="T29" fmla="*/ 79 h 90"/>
                    <a:gd name="T30" fmla="*/ 202 w 216"/>
                    <a:gd name="T31" fmla="*/ 84 h 90"/>
                    <a:gd name="T32" fmla="*/ 192 w 216"/>
                    <a:gd name="T33" fmla="*/ 87 h 90"/>
                    <a:gd name="T34" fmla="*/ 176 w 216"/>
                    <a:gd name="T35" fmla="*/ 88 h 90"/>
                    <a:gd name="T36" fmla="*/ 150 w 216"/>
                    <a:gd name="T37" fmla="*/ 90 h 90"/>
                    <a:gd name="T38" fmla="*/ 133 w 216"/>
                    <a:gd name="T39" fmla="*/ 90 h 90"/>
                    <a:gd name="T40" fmla="*/ 109 w 216"/>
                    <a:gd name="T41" fmla="*/ 90 h 90"/>
                    <a:gd name="T42" fmla="*/ 85 w 216"/>
                    <a:gd name="T43" fmla="*/ 90 h 90"/>
                    <a:gd name="T44" fmla="*/ 58 w 216"/>
                    <a:gd name="T45" fmla="*/ 90 h 90"/>
                    <a:gd name="T46" fmla="*/ 35 w 216"/>
                    <a:gd name="T47" fmla="*/ 88 h 90"/>
                    <a:gd name="T48" fmla="*/ 18 w 216"/>
                    <a:gd name="T49" fmla="*/ 87 h 90"/>
                    <a:gd name="T50" fmla="*/ 6 w 216"/>
                    <a:gd name="T51" fmla="*/ 84 h 90"/>
                    <a:gd name="T52" fmla="*/ 0 w 216"/>
                    <a:gd name="T53" fmla="*/ 78 h 90"/>
                    <a:gd name="T54" fmla="*/ 0 w 216"/>
                    <a:gd name="T55" fmla="*/ 71 h 90"/>
                    <a:gd name="T56" fmla="*/ 3 w 216"/>
                    <a:gd name="T57" fmla="*/ 61 h 90"/>
                    <a:gd name="T58" fmla="*/ 10 w 216"/>
                    <a:gd name="T59" fmla="*/ 50 h 90"/>
                    <a:gd name="T60" fmla="*/ 21 w 216"/>
                    <a:gd name="T61" fmla="*/ 42 h 90"/>
                    <a:gd name="T62" fmla="*/ 35 w 216"/>
                    <a:gd name="T63" fmla="*/ 36 h 90"/>
                    <a:gd name="T64" fmla="*/ 53 w 216"/>
                    <a:gd name="T65" fmla="*/ 32 h 90"/>
                    <a:gd name="T66" fmla="*/ 70 w 216"/>
                    <a:gd name="T67" fmla="*/ 29 h 90"/>
                    <a:gd name="T68" fmla="*/ 88 w 216"/>
                    <a:gd name="T69" fmla="*/ 26 h 90"/>
                    <a:gd name="T70" fmla="*/ 88 w 216"/>
                    <a:gd name="T71" fmla="*/ 26 h 90"/>
                    <a:gd name="T72" fmla="*/ 101 w 216"/>
                    <a:gd name="T73" fmla="*/ 26 h 90"/>
                    <a:gd name="T74" fmla="*/ 112 w 216"/>
                    <a:gd name="T75" fmla="*/ 26 h 90"/>
                    <a:gd name="T76" fmla="*/ 121 w 216"/>
                    <a:gd name="T77" fmla="*/ 23 h 90"/>
                    <a:gd name="T78" fmla="*/ 128 w 216"/>
                    <a:gd name="T79" fmla="*/ 16 h 90"/>
                    <a:gd name="T80" fmla="*/ 136 w 216"/>
                    <a:gd name="T81" fmla="*/ 1 h 90"/>
                    <a:gd name="T82" fmla="*/ 138 w 216"/>
                    <a:gd name="T83" fmla="*/ 0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216" h="90">
                      <a:moveTo>
                        <a:pt x="138" y="0"/>
                      </a:moveTo>
                      <a:lnTo>
                        <a:pt x="144" y="1"/>
                      </a:lnTo>
                      <a:lnTo>
                        <a:pt x="153" y="4"/>
                      </a:lnTo>
                      <a:lnTo>
                        <a:pt x="165" y="8"/>
                      </a:lnTo>
                      <a:lnTo>
                        <a:pt x="184" y="16"/>
                      </a:lnTo>
                      <a:lnTo>
                        <a:pt x="205" y="18"/>
                      </a:lnTo>
                      <a:lnTo>
                        <a:pt x="211" y="20"/>
                      </a:lnTo>
                      <a:lnTo>
                        <a:pt x="214" y="26"/>
                      </a:lnTo>
                      <a:lnTo>
                        <a:pt x="216" y="34"/>
                      </a:lnTo>
                      <a:lnTo>
                        <a:pt x="214" y="43"/>
                      </a:lnTo>
                      <a:lnTo>
                        <a:pt x="213" y="52"/>
                      </a:lnTo>
                      <a:lnTo>
                        <a:pt x="210" y="59"/>
                      </a:lnTo>
                      <a:lnTo>
                        <a:pt x="210" y="62"/>
                      </a:lnTo>
                      <a:lnTo>
                        <a:pt x="210" y="72"/>
                      </a:lnTo>
                      <a:lnTo>
                        <a:pt x="208" y="79"/>
                      </a:lnTo>
                      <a:lnTo>
                        <a:pt x="202" y="84"/>
                      </a:lnTo>
                      <a:lnTo>
                        <a:pt x="192" y="87"/>
                      </a:lnTo>
                      <a:lnTo>
                        <a:pt x="176" y="88"/>
                      </a:lnTo>
                      <a:lnTo>
                        <a:pt x="150" y="90"/>
                      </a:lnTo>
                      <a:lnTo>
                        <a:pt x="133" y="90"/>
                      </a:lnTo>
                      <a:lnTo>
                        <a:pt x="109" y="90"/>
                      </a:lnTo>
                      <a:lnTo>
                        <a:pt x="85" y="90"/>
                      </a:lnTo>
                      <a:lnTo>
                        <a:pt x="58" y="90"/>
                      </a:lnTo>
                      <a:lnTo>
                        <a:pt x="35" y="88"/>
                      </a:lnTo>
                      <a:lnTo>
                        <a:pt x="18" y="87"/>
                      </a:lnTo>
                      <a:lnTo>
                        <a:pt x="6" y="84"/>
                      </a:lnTo>
                      <a:lnTo>
                        <a:pt x="0" y="78"/>
                      </a:lnTo>
                      <a:lnTo>
                        <a:pt x="0" y="71"/>
                      </a:lnTo>
                      <a:lnTo>
                        <a:pt x="3" y="61"/>
                      </a:lnTo>
                      <a:lnTo>
                        <a:pt x="10" y="50"/>
                      </a:lnTo>
                      <a:lnTo>
                        <a:pt x="21" y="42"/>
                      </a:lnTo>
                      <a:lnTo>
                        <a:pt x="35" y="36"/>
                      </a:lnTo>
                      <a:lnTo>
                        <a:pt x="53" y="32"/>
                      </a:lnTo>
                      <a:lnTo>
                        <a:pt x="70" y="29"/>
                      </a:lnTo>
                      <a:lnTo>
                        <a:pt x="88" y="26"/>
                      </a:lnTo>
                      <a:lnTo>
                        <a:pt x="88" y="26"/>
                      </a:lnTo>
                      <a:lnTo>
                        <a:pt x="101" y="26"/>
                      </a:lnTo>
                      <a:lnTo>
                        <a:pt x="112" y="26"/>
                      </a:lnTo>
                      <a:lnTo>
                        <a:pt x="121" y="23"/>
                      </a:lnTo>
                      <a:lnTo>
                        <a:pt x="128" y="16"/>
                      </a:lnTo>
                      <a:lnTo>
                        <a:pt x="136" y="1"/>
                      </a:lnTo>
                      <a:lnTo>
                        <a:pt x="138" y="0"/>
                      </a:lnTo>
                      <a:close/>
                    </a:path>
                  </a:pathLst>
                </a:custGeom>
                <a:solidFill>
                  <a:srgbClr val="FFF0D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53" name="Freeform 341"/>
                <p:cNvSpPr>
                  <a:spLocks/>
                </p:cNvSpPr>
                <p:nvPr/>
              </p:nvSpPr>
              <p:spPr bwMode="auto">
                <a:xfrm>
                  <a:off x="5689601" y="5335588"/>
                  <a:ext cx="4763" cy="14288"/>
                </a:xfrm>
                <a:custGeom>
                  <a:avLst/>
                  <a:gdLst>
                    <a:gd name="T0" fmla="*/ 3 w 3"/>
                    <a:gd name="T1" fmla="*/ 0 h 9"/>
                    <a:gd name="T2" fmla="*/ 1 w 3"/>
                    <a:gd name="T3" fmla="*/ 3 h 9"/>
                    <a:gd name="T4" fmla="*/ 0 w 3"/>
                    <a:gd name="T5" fmla="*/ 6 h 9"/>
                    <a:gd name="T6" fmla="*/ 0 w 3"/>
                    <a:gd name="T7" fmla="*/ 9 h 9"/>
                    <a:gd name="T8" fmla="*/ 0 w 3"/>
                    <a:gd name="T9" fmla="*/ 9 h 9"/>
                    <a:gd name="T10" fmla="*/ 0 w 3"/>
                    <a:gd name="T11" fmla="*/ 8 h 9"/>
                    <a:gd name="T12" fmla="*/ 1 w 3"/>
                    <a:gd name="T13" fmla="*/ 5 h 9"/>
                    <a:gd name="T14" fmla="*/ 3 w 3"/>
                    <a:gd name="T15" fmla="*/ 0 h 9"/>
                    <a:gd name="T16" fmla="*/ 3 w 3"/>
                    <a:gd name="T17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" h="9">
                      <a:moveTo>
                        <a:pt x="3" y="0"/>
                      </a:moveTo>
                      <a:lnTo>
                        <a:pt x="1" y="3"/>
                      </a:lnTo>
                      <a:lnTo>
                        <a:pt x="0" y="6"/>
                      </a:lnTo>
                      <a:lnTo>
                        <a:pt x="0" y="9"/>
                      </a:lnTo>
                      <a:lnTo>
                        <a:pt x="0" y="9"/>
                      </a:lnTo>
                      <a:lnTo>
                        <a:pt x="0" y="8"/>
                      </a:lnTo>
                      <a:lnTo>
                        <a:pt x="1" y="5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DDCAB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54" name="Freeform 342"/>
                <p:cNvSpPr>
                  <a:spLocks/>
                </p:cNvSpPr>
                <p:nvPr/>
              </p:nvSpPr>
              <p:spPr bwMode="auto">
                <a:xfrm>
                  <a:off x="5694364" y="5294313"/>
                  <a:ext cx="4763" cy="41275"/>
                </a:xfrm>
                <a:custGeom>
                  <a:avLst/>
                  <a:gdLst>
                    <a:gd name="T0" fmla="*/ 3 w 3"/>
                    <a:gd name="T1" fmla="*/ 0 h 26"/>
                    <a:gd name="T2" fmla="*/ 3 w 3"/>
                    <a:gd name="T3" fmla="*/ 13 h 26"/>
                    <a:gd name="T4" fmla="*/ 0 w 3"/>
                    <a:gd name="T5" fmla="*/ 26 h 26"/>
                    <a:gd name="T6" fmla="*/ 0 w 3"/>
                    <a:gd name="T7" fmla="*/ 26 h 26"/>
                    <a:gd name="T8" fmla="*/ 1 w 3"/>
                    <a:gd name="T9" fmla="*/ 13 h 26"/>
                    <a:gd name="T10" fmla="*/ 3 w 3"/>
                    <a:gd name="T11" fmla="*/ 2 h 26"/>
                    <a:gd name="T12" fmla="*/ 3 w 3"/>
                    <a:gd name="T13" fmla="*/ 0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" h="26">
                      <a:moveTo>
                        <a:pt x="3" y="0"/>
                      </a:moveTo>
                      <a:lnTo>
                        <a:pt x="3" y="13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1" y="13"/>
                      </a:lnTo>
                      <a:lnTo>
                        <a:pt x="3" y="2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C0AA9A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55" name="Freeform 343"/>
                <p:cNvSpPr>
                  <a:spLocks/>
                </p:cNvSpPr>
                <p:nvPr/>
              </p:nvSpPr>
              <p:spPr bwMode="auto">
                <a:xfrm>
                  <a:off x="5699126" y="5294313"/>
                  <a:ext cx="0" cy="3175"/>
                </a:xfrm>
                <a:custGeom>
                  <a:avLst/>
                  <a:gdLst>
                    <a:gd name="T0" fmla="*/ 0 h 2"/>
                    <a:gd name="T1" fmla="*/ 0 h 2"/>
                    <a:gd name="T2" fmla="*/ 2 h 2"/>
                    <a:gd name="T3" fmla="*/ 0 h 2"/>
                    <a:gd name="T4" fmla="*/ 0 h 2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</a:cxnLst>
                  <a:rect l="0" t="0" r="r" b="b"/>
                  <a:pathLst>
                    <a:path h="2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89399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56" name="Freeform 344"/>
                <p:cNvSpPr>
                  <a:spLocks noEditPoints="1"/>
                </p:cNvSpPr>
                <p:nvPr/>
              </p:nvSpPr>
              <p:spPr bwMode="auto">
                <a:xfrm>
                  <a:off x="5645151" y="5276851"/>
                  <a:ext cx="53975" cy="17463"/>
                </a:xfrm>
                <a:custGeom>
                  <a:avLst/>
                  <a:gdLst>
                    <a:gd name="T0" fmla="*/ 31 w 34"/>
                    <a:gd name="T1" fmla="*/ 5 h 11"/>
                    <a:gd name="T2" fmla="*/ 32 w 34"/>
                    <a:gd name="T3" fmla="*/ 8 h 11"/>
                    <a:gd name="T4" fmla="*/ 34 w 34"/>
                    <a:gd name="T5" fmla="*/ 11 h 11"/>
                    <a:gd name="T6" fmla="*/ 34 w 34"/>
                    <a:gd name="T7" fmla="*/ 11 h 11"/>
                    <a:gd name="T8" fmla="*/ 32 w 34"/>
                    <a:gd name="T9" fmla="*/ 8 h 11"/>
                    <a:gd name="T10" fmla="*/ 31 w 34"/>
                    <a:gd name="T11" fmla="*/ 5 h 11"/>
                    <a:gd name="T12" fmla="*/ 22 w 34"/>
                    <a:gd name="T13" fmla="*/ 2 h 11"/>
                    <a:gd name="T14" fmla="*/ 23 w 34"/>
                    <a:gd name="T15" fmla="*/ 2 h 11"/>
                    <a:gd name="T16" fmla="*/ 23 w 34"/>
                    <a:gd name="T17" fmla="*/ 2 h 11"/>
                    <a:gd name="T18" fmla="*/ 22 w 34"/>
                    <a:gd name="T19" fmla="*/ 2 h 11"/>
                    <a:gd name="T20" fmla="*/ 22 w 34"/>
                    <a:gd name="T21" fmla="*/ 2 h 11"/>
                    <a:gd name="T22" fmla="*/ 15 w 34"/>
                    <a:gd name="T23" fmla="*/ 2 h 11"/>
                    <a:gd name="T24" fmla="*/ 22 w 34"/>
                    <a:gd name="T25" fmla="*/ 2 h 11"/>
                    <a:gd name="T26" fmla="*/ 22 w 34"/>
                    <a:gd name="T27" fmla="*/ 2 h 11"/>
                    <a:gd name="T28" fmla="*/ 18 w 34"/>
                    <a:gd name="T29" fmla="*/ 2 h 11"/>
                    <a:gd name="T30" fmla="*/ 15 w 34"/>
                    <a:gd name="T31" fmla="*/ 2 h 11"/>
                    <a:gd name="T32" fmla="*/ 9 w 34"/>
                    <a:gd name="T33" fmla="*/ 1 h 11"/>
                    <a:gd name="T34" fmla="*/ 13 w 34"/>
                    <a:gd name="T35" fmla="*/ 1 h 11"/>
                    <a:gd name="T36" fmla="*/ 15 w 34"/>
                    <a:gd name="T37" fmla="*/ 2 h 11"/>
                    <a:gd name="T38" fmla="*/ 12 w 34"/>
                    <a:gd name="T39" fmla="*/ 1 h 11"/>
                    <a:gd name="T40" fmla="*/ 9 w 34"/>
                    <a:gd name="T41" fmla="*/ 1 h 11"/>
                    <a:gd name="T42" fmla="*/ 0 w 34"/>
                    <a:gd name="T43" fmla="*/ 0 h 11"/>
                    <a:gd name="T44" fmla="*/ 9 w 34"/>
                    <a:gd name="T45" fmla="*/ 1 h 11"/>
                    <a:gd name="T46" fmla="*/ 7 w 34"/>
                    <a:gd name="T47" fmla="*/ 1 h 11"/>
                    <a:gd name="T48" fmla="*/ 0 w 34"/>
                    <a:gd name="T49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34" h="11">
                      <a:moveTo>
                        <a:pt x="31" y="5"/>
                      </a:moveTo>
                      <a:lnTo>
                        <a:pt x="32" y="8"/>
                      </a:lnTo>
                      <a:lnTo>
                        <a:pt x="34" y="11"/>
                      </a:lnTo>
                      <a:lnTo>
                        <a:pt x="34" y="11"/>
                      </a:lnTo>
                      <a:lnTo>
                        <a:pt x="32" y="8"/>
                      </a:lnTo>
                      <a:lnTo>
                        <a:pt x="31" y="5"/>
                      </a:lnTo>
                      <a:close/>
                      <a:moveTo>
                        <a:pt x="22" y="2"/>
                      </a:moveTo>
                      <a:lnTo>
                        <a:pt x="23" y="2"/>
                      </a:lnTo>
                      <a:lnTo>
                        <a:pt x="23" y="2"/>
                      </a:lnTo>
                      <a:lnTo>
                        <a:pt x="22" y="2"/>
                      </a:lnTo>
                      <a:lnTo>
                        <a:pt x="22" y="2"/>
                      </a:lnTo>
                      <a:close/>
                      <a:moveTo>
                        <a:pt x="15" y="2"/>
                      </a:moveTo>
                      <a:lnTo>
                        <a:pt x="22" y="2"/>
                      </a:lnTo>
                      <a:lnTo>
                        <a:pt x="22" y="2"/>
                      </a:lnTo>
                      <a:lnTo>
                        <a:pt x="18" y="2"/>
                      </a:lnTo>
                      <a:lnTo>
                        <a:pt x="15" y="2"/>
                      </a:lnTo>
                      <a:close/>
                      <a:moveTo>
                        <a:pt x="9" y="1"/>
                      </a:moveTo>
                      <a:lnTo>
                        <a:pt x="13" y="1"/>
                      </a:lnTo>
                      <a:lnTo>
                        <a:pt x="15" y="2"/>
                      </a:lnTo>
                      <a:lnTo>
                        <a:pt x="12" y="1"/>
                      </a:lnTo>
                      <a:lnTo>
                        <a:pt x="9" y="1"/>
                      </a:lnTo>
                      <a:close/>
                      <a:moveTo>
                        <a:pt x="0" y="0"/>
                      </a:moveTo>
                      <a:lnTo>
                        <a:pt x="9" y="1"/>
                      </a:lnTo>
                      <a:lnTo>
                        <a:pt x="7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3B4D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57" name="Rectangle 345"/>
                <p:cNvSpPr>
                  <a:spLocks noChangeArrowheads="1"/>
                </p:cNvSpPr>
                <p:nvPr/>
              </p:nvSpPr>
              <p:spPr bwMode="auto">
                <a:xfrm>
                  <a:off x="5634039" y="5272088"/>
                  <a:ext cx="1588" cy="1588"/>
                </a:xfrm>
                <a:prstGeom prst="rect">
                  <a:avLst/>
                </a:prstGeom>
                <a:solidFill>
                  <a:srgbClr val="5FCFD5"/>
                </a:soli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58" name="Freeform 346"/>
                <p:cNvSpPr>
                  <a:spLocks/>
                </p:cNvSpPr>
                <p:nvPr/>
              </p:nvSpPr>
              <p:spPr bwMode="auto">
                <a:xfrm>
                  <a:off x="5491164" y="5394326"/>
                  <a:ext cx="77788" cy="0"/>
                </a:xfrm>
                <a:custGeom>
                  <a:avLst/>
                  <a:gdLst>
                    <a:gd name="T0" fmla="*/ 49 w 49"/>
                    <a:gd name="T1" fmla="*/ 49 w 49"/>
                    <a:gd name="T2" fmla="*/ 21 w 49"/>
                    <a:gd name="T3" fmla="*/ 0 w 49"/>
                    <a:gd name="T4" fmla="*/ 20 w 49"/>
                    <a:gd name="T5" fmla="*/ 49 w 49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</a:cxnLst>
                  <a:rect l="0" t="0" r="r" b="b"/>
                  <a:pathLst>
                    <a:path w="49">
                      <a:moveTo>
                        <a:pt x="49" y="0"/>
                      </a:moveTo>
                      <a:lnTo>
                        <a:pt x="49" y="0"/>
                      </a:lnTo>
                      <a:lnTo>
                        <a:pt x="21" y="0"/>
                      </a:lnTo>
                      <a:lnTo>
                        <a:pt x="0" y="0"/>
                      </a:lnTo>
                      <a:lnTo>
                        <a:pt x="20" y="0"/>
                      </a:lnTo>
                      <a:lnTo>
                        <a:pt x="49" y="0"/>
                      </a:lnTo>
                      <a:close/>
                    </a:path>
                  </a:pathLst>
                </a:custGeom>
                <a:solidFill>
                  <a:srgbClr val="FFBD3C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59" name="Freeform 347"/>
                <p:cNvSpPr>
                  <a:spLocks noEditPoints="1"/>
                </p:cNvSpPr>
                <p:nvPr/>
              </p:nvSpPr>
              <p:spPr bwMode="auto">
                <a:xfrm>
                  <a:off x="5568951" y="5373688"/>
                  <a:ext cx="120650" cy="20638"/>
                </a:xfrm>
                <a:custGeom>
                  <a:avLst/>
                  <a:gdLst>
                    <a:gd name="T0" fmla="*/ 9 w 76"/>
                    <a:gd name="T1" fmla="*/ 13 h 13"/>
                    <a:gd name="T2" fmla="*/ 0 w 76"/>
                    <a:gd name="T3" fmla="*/ 13 h 13"/>
                    <a:gd name="T4" fmla="*/ 0 w 76"/>
                    <a:gd name="T5" fmla="*/ 13 h 13"/>
                    <a:gd name="T6" fmla="*/ 9 w 76"/>
                    <a:gd name="T7" fmla="*/ 13 h 13"/>
                    <a:gd name="T8" fmla="*/ 16 w 76"/>
                    <a:gd name="T9" fmla="*/ 13 h 13"/>
                    <a:gd name="T10" fmla="*/ 9 w 76"/>
                    <a:gd name="T11" fmla="*/ 13 h 13"/>
                    <a:gd name="T12" fmla="*/ 9 w 76"/>
                    <a:gd name="T13" fmla="*/ 13 h 13"/>
                    <a:gd name="T14" fmla="*/ 16 w 76"/>
                    <a:gd name="T15" fmla="*/ 13 h 13"/>
                    <a:gd name="T16" fmla="*/ 67 w 76"/>
                    <a:gd name="T17" fmla="*/ 8 h 13"/>
                    <a:gd name="T18" fmla="*/ 55 w 76"/>
                    <a:gd name="T19" fmla="*/ 10 h 13"/>
                    <a:gd name="T20" fmla="*/ 39 w 76"/>
                    <a:gd name="T21" fmla="*/ 11 h 13"/>
                    <a:gd name="T22" fmla="*/ 55 w 76"/>
                    <a:gd name="T23" fmla="*/ 10 h 13"/>
                    <a:gd name="T24" fmla="*/ 67 w 76"/>
                    <a:gd name="T25" fmla="*/ 8 h 13"/>
                    <a:gd name="T26" fmla="*/ 76 w 76"/>
                    <a:gd name="T27" fmla="*/ 0 h 13"/>
                    <a:gd name="T28" fmla="*/ 73 w 76"/>
                    <a:gd name="T29" fmla="*/ 4 h 13"/>
                    <a:gd name="T30" fmla="*/ 67 w 76"/>
                    <a:gd name="T31" fmla="*/ 8 h 13"/>
                    <a:gd name="T32" fmla="*/ 73 w 76"/>
                    <a:gd name="T33" fmla="*/ 4 h 13"/>
                    <a:gd name="T34" fmla="*/ 76 w 76"/>
                    <a:gd name="T35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6" h="13">
                      <a:moveTo>
                        <a:pt x="9" y="13"/>
                      </a:moveTo>
                      <a:lnTo>
                        <a:pt x="0" y="13"/>
                      </a:lnTo>
                      <a:lnTo>
                        <a:pt x="0" y="13"/>
                      </a:lnTo>
                      <a:lnTo>
                        <a:pt x="9" y="13"/>
                      </a:lnTo>
                      <a:close/>
                      <a:moveTo>
                        <a:pt x="16" y="13"/>
                      </a:moveTo>
                      <a:lnTo>
                        <a:pt x="9" y="13"/>
                      </a:lnTo>
                      <a:lnTo>
                        <a:pt x="9" y="13"/>
                      </a:lnTo>
                      <a:lnTo>
                        <a:pt x="16" y="13"/>
                      </a:lnTo>
                      <a:close/>
                      <a:moveTo>
                        <a:pt x="67" y="8"/>
                      </a:moveTo>
                      <a:lnTo>
                        <a:pt x="55" y="10"/>
                      </a:lnTo>
                      <a:lnTo>
                        <a:pt x="39" y="11"/>
                      </a:lnTo>
                      <a:lnTo>
                        <a:pt x="55" y="10"/>
                      </a:lnTo>
                      <a:lnTo>
                        <a:pt x="67" y="8"/>
                      </a:lnTo>
                      <a:close/>
                      <a:moveTo>
                        <a:pt x="76" y="0"/>
                      </a:moveTo>
                      <a:lnTo>
                        <a:pt x="73" y="4"/>
                      </a:lnTo>
                      <a:lnTo>
                        <a:pt x="67" y="8"/>
                      </a:lnTo>
                      <a:lnTo>
                        <a:pt x="73" y="4"/>
                      </a:lnTo>
                      <a:lnTo>
                        <a:pt x="76" y="0"/>
                      </a:lnTo>
                      <a:close/>
                    </a:path>
                  </a:pathLst>
                </a:custGeom>
                <a:solidFill>
                  <a:srgbClr val="FF961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60" name="Freeform 348"/>
                <p:cNvSpPr>
                  <a:spLocks/>
                </p:cNvSpPr>
                <p:nvPr/>
              </p:nvSpPr>
              <p:spPr bwMode="auto">
                <a:xfrm>
                  <a:off x="5451476" y="5272088"/>
                  <a:ext cx="247650" cy="122238"/>
                </a:xfrm>
                <a:custGeom>
                  <a:avLst/>
                  <a:gdLst>
                    <a:gd name="T0" fmla="*/ 113 w 156"/>
                    <a:gd name="T1" fmla="*/ 0 h 77"/>
                    <a:gd name="T2" fmla="*/ 115 w 156"/>
                    <a:gd name="T3" fmla="*/ 0 h 77"/>
                    <a:gd name="T4" fmla="*/ 115 w 156"/>
                    <a:gd name="T5" fmla="*/ 0 h 77"/>
                    <a:gd name="T6" fmla="*/ 122 w 156"/>
                    <a:gd name="T7" fmla="*/ 3 h 77"/>
                    <a:gd name="T8" fmla="*/ 134 w 156"/>
                    <a:gd name="T9" fmla="*/ 4 h 77"/>
                    <a:gd name="T10" fmla="*/ 144 w 156"/>
                    <a:gd name="T11" fmla="*/ 5 h 77"/>
                    <a:gd name="T12" fmla="*/ 145 w 156"/>
                    <a:gd name="T13" fmla="*/ 5 h 77"/>
                    <a:gd name="T14" fmla="*/ 148 w 156"/>
                    <a:gd name="T15" fmla="*/ 5 h 77"/>
                    <a:gd name="T16" fmla="*/ 151 w 156"/>
                    <a:gd name="T17" fmla="*/ 7 h 77"/>
                    <a:gd name="T18" fmla="*/ 153 w 156"/>
                    <a:gd name="T19" fmla="*/ 8 h 77"/>
                    <a:gd name="T20" fmla="*/ 154 w 156"/>
                    <a:gd name="T21" fmla="*/ 11 h 77"/>
                    <a:gd name="T22" fmla="*/ 156 w 156"/>
                    <a:gd name="T23" fmla="*/ 14 h 77"/>
                    <a:gd name="T24" fmla="*/ 156 w 156"/>
                    <a:gd name="T25" fmla="*/ 16 h 77"/>
                    <a:gd name="T26" fmla="*/ 154 w 156"/>
                    <a:gd name="T27" fmla="*/ 27 h 77"/>
                    <a:gd name="T28" fmla="*/ 153 w 156"/>
                    <a:gd name="T29" fmla="*/ 40 h 77"/>
                    <a:gd name="T30" fmla="*/ 151 w 156"/>
                    <a:gd name="T31" fmla="*/ 45 h 77"/>
                    <a:gd name="T32" fmla="*/ 150 w 156"/>
                    <a:gd name="T33" fmla="*/ 48 h 77"/>
                    <a:gd name="T34" fmla="*/ 150 w 156"/>
                    <a:gd name="T35" fmla="*/ 49 h 77"/>
                    <a:gd name="T36" fmla="*/ 150 w 156"/>
                    <a:gd name="T37" fmla="*/ 56 h 77"/>
                    <a:gd name="T38" fmla="*/ 150 w 156"/>
                    <a:gd name="T39" fmla="*/ 59 h 77"/>
                    <a:gd name="T40" fmla="*/ 150 w 156"/>
                    <a:gd name="T41" fmla="*/ 64 h 77"/>
                    <a:gd name="T42" fmla="*/ 147 w 156"/>
                    <a:gd name="T43" fmla="*/ 68 h 77"/>
                    <a:gd name="T44" fmla="*/ 141 w 156"/>
                    <a:gd name="T45" fmla="*/ 72 h 77"/>
                    <a:gd name="T46" fmla="*/ 129 w 156"/>
                    <a:gd name="T47" fmla="*/ 74 h 77"/>
                    <a:gd name="T48" fmla="*/ 113 w 156"/>
                    <a:gd name="T49" fmla="*/ 75 h 77"/>
                    <a:gd name="T50" fmla="*/ 90 w 156"/>
                    <a:gd name="T51" fmla="*/ 77 h 77"/>
                    <a:gd name="T52" fmla="*/ 83 w 156"/>
                    <a:gd name="T53" fmla="*/ 77 h 77"/>
                    <a:gd name="T54" fmla="*/ 74 w 156"/>
                    <a:gd name="T55" fmla="*/ 77 h 77"/>
                    <a:gd name="T56" fmla="*/ 45 w 156"/>
                    <a:gd name="T57" fmla="*/ 77 h 77"/>
                    <a:gd name="T58" fmla="*/ 25 w 156"/>
                    <a:gd name="T59" fmla="*/ 77 h 77"/>
                    <a:gd name="T60" fmla="*/ 0 w 156"/>
                    <a:gd name="T61" fmla="*/ 77 h 77"/>
                    <a:gd name="T62" fmla="*/ 10 w 156"/>
                    <a:gd name="T63" fmla="*/ 71 h 77"/>
                    <a:gd name="T64" fmla="*/ 20 w 156"/>
                    <a:gd name="T65" fmla="*/ 68 h 77"/>
                    <a:gd name="T66" fmla="*/ 35 w 156"/>
                    <a:gd name="T67" fmla="*/ 61 h 77"/>
                    <a:gd name="T68" fmla="*/ 49 w 156"/>
                    <a:gd name="T69" fmla="*/ 52 h 77"/>
                    <a:gd name="T70" fmla="*/ 64 w 156"/>
                    <a:gd name="T71" fmla="*/ 48 h 77"/>
                    <a:gd name="T72" fmla="*/ 81 w 156"/>
                    <a:gd name="T73" fmla="*/ 42 h 77"/>
                    <a:gd name="T74" fmla="*/ 93 w 156"/>
                    <a:gd name="T75" fmla="*/ 34 h 77"/>
                    <a:gd name="T76" fmla="*/ 102 w 156"/>
                    <a:gd name="T77" fmla="*/ 26 h 77"/>
                    <a:gd name="T78" fmla="*/ 108 w 156"/>
                    <a:gd name="T79" fmla="*/ 16 h 77"/>
                    <a:gd name="T80" fmla="*/ 110 w 156"/>
                    <a:gd name="T81" fmla="*/ 8 h 77"/>
                    <a:gd name="T82" fmla="*/ 112 w 156"/>
                    <a:gd name="T83" fmla="*/ 3 h 77"/>
                    <a:gd name="T84" fmla="*/ 113 w 156"/>
                    <a:gd name="T85" fmla="*/ 0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56" h="77">
                      <a:moveTo>
                        <a:pt x="113" y="0"/>
                      </a:moveTo>
                      <a:lnTo>
                        <a:pt x="115" y="0"/>
                      </a:lnTo>
                      <a:lnTo>
                        <a:pt x="115" y="0"/>
                      </a:lnTo>
                      <a:lnTo>
                        <a:pt x="122" y="3"/>
                      </a:lnTo>
                      <a:lnTo>
                        <a:pt x="134" y="4"/>
                      </a:lnTo>
                      <a:lnTo>
                        <a:pt x="144" y="5"/>
                      </a:lnTo>
                      <a:lnTo>
                        <a:pt x="145" y="5"/>
                      </a:lnTo>
                      <a:lnTo>
                        <a:pt x="148" y="5"/>
                      </a:lnTo>
                      <a:lnTo>
                        <a:pt x="151" y="7"/>
                      </a:lnTo>
                      <a:lnTo>
                        <a:pt x="153" y="8"/>
                      </a:lnTo>
                      <a:lnTo>
                        <a:pt x="154" y="11"/>
                      </a:lnTo>
                      <a:lnTo>
                        <a:pt x="156" y="14"/>
                      </a:lnTo>
                      <a:lnTo>
                        <a:pt x="156" y="16"/>
                      </a:lnTo>
                      <a:lnTo>
                        <a:pt x="154" y="27"/>
                      </a:lnTo>
                      <a:lnTo>
                        <a:pt x="153" y="40"/>
                      </a:lnTo>
                      <a:lnTo>
                        <a:pt x="151" y="45"/>
                      </a:lnTo>
                      <a:lnTo>
                        <a:pt x="150" y="48"/>
                      </a:lnTo>
                      <a:lnTo>
                        <a:pt x="150" y="49"/>
                      </a:lnTo>
                      <a:lnTo>
                        <a:pt x="150" y="56"/>
                      </a:lnTo>
                      <a:lnTo>
                        <a:pt x="150" y="59"/>
                      </a:lnTo>
                      <a:lnTo>
                        <a:pt x="150" y="64"/>
                      </a:lnTo>
                      <a:lnTo>
                        <a:pt x="147" y="68"/>
                      </a:lnTo>
                      <a:lnTo>
                        <a:pt x="141" y="72"/>
                      </a:lnTo>
                      <a:lnTo>
                        <a:pt x="129" y="74"/>
                      </a:lnTo>
                      <a:lnTo>
                        <a:pt x="113" y="75"/>
                      </a:lnTo>
                      <a:lnTo>
                        <a:pt x="90" y="77"/>
                      </a:lnTo>
                      <a:lnTo>
                        <a:pt x="83" y="77"/>
                      </a:lnTo>
                      <a:lnTo>
                        <a:pt x="74" y="77"/>
                      </a:lnTo>
                      <a:lnTo>
                        <a:pt x="45" y="77"/>
                      </a:lnTo>
                      <a:lnTo>
                        <a:pt x="25" y="77"/>
                      </a:lnTo>
                      <a:lnTo>
                        <a:pt x="0" y="77"/>
                      </a:lnTo>
                      <a:lnTo>
                        <a:pt x="10" y="71"/>
                      </a:lnTo>
                      <a:lnTo>
                        <a:pt x="20" y="68"/>
                      </a:lnTo>
                      <a:lnTo>
                        <a:pt x="35" y="61"/>
                      </a:lnTo>
                      <a:lnTo>
                        <a:pt x="49" y="52"/>
                      </a:lnTo>
                      <a:lnTo>
                        <a:pt x="64" y="48"/>
                      </a:lnTo>
                      <a:lnTo>
                        <a:pt x="81" y="42"/>
                      </a:lnTo>
                      <a:lnTo>
                        <a:pt x="93" y="34"/>
                      </a:lnTo>
                      <a:lnTo>
                        <a:pt x="102" y="26"/>
                      </a:lnTo>
                      <a:lnTo>
                        <a:pt x="108" y="16"/>
                      </a:lnTo>
                      <a:lnTo>
                        <a:pt x="110" y="8"/>
                      </a:lnTo>
                      <a:lnTo>
                        <a:pt x="112" y="3"/>
                      </a:lnTo>
                      <a:lnTo>
                        <a:pt x="113" y="0"/>
                      </a:lnTo>
                      <a:close/>
                    </a:path>
                  </a:pathLst>
                </a:custGeom>
                <a:solidFill>
                  <a:srgbClr val="FFE1B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61" name="Freeform 349"/>
                <p:cNvSpPr>
                  <a:spLocks/>
                </p:cNvSpPr>
                <p:nvPr/>
              </p:nvSpPr>
              <p:spPr bwMode="auto">
                <a:xfrm>
                  <a:off x="5427664" y="5303838"/>
                  <a:ext cx="28575" cy="22225"/>
                </a:xfrm>
                <a:custGeom>
                  <a:avLst/>
                  <a:gdLst>
                    <a:gd name="T0" fmla="*/ 6 w 18"/>
                    <a:gd name="T1" fmla="*/ 0 h 14"/>
                    <a:gd name="T2" fmla="*/ 8 w 18"/>
                    <a:gd name="T3" fmla="*/ 0 h 14"/>
                    <a:gd name="T4" fmla="*/ 18 w 18"/>
                    <a:gd name="T5" fmla="*/ 12 h 14"/>
                    <a:gd name="T6" fmla="*/ 18 w 18"/>
                    <a:gd name="T7" fmla="*/ 12 h 14"/>
                    <a:gd name="T8" fmla="*/ 16 w 18"/>
                    <a:gd name="T9" fmla="*/ 13 h 14"/>
                    <a:gd name="T10" fmla="*/ 15 w 18"/>
                    <a:gd name="T11" fmla="*/ 14 h 14"/>
                    <a:gd name="T12" fmla="*/ 13 w 18"/>
                    <a:gd name="T13" fmla="*/ 14 h 14"/>
                    <a:gd name="T14" fmla="*/ 12 w 18"/>
                    <a:gd name="T15" fmla="*/ 14 h 14"/>
                    <a:gd name="T16" fmla="*/ 11 w 18"/>
                    <a:gd name="T17" fmla="*/ 14 h 14"/>
                    <a:gd name="T18" fmla="*/ 0 w 18"/>
                    <a:gd name="T19" fmla="*/ 3 h 14"/>
                    <a:gd name="T20" fmla="*/ 0 w 18"/>
                    <a:gd name="T21" fmla="*/ 3 h 14"/>
                    <a:gd name="T22" fmla="*/ 2 w 18"/>
                    <a:gd name="T23" fmla="*/ 1 h 14"/>
                    <a:gd name="T24" fmla="*/ 3 w 18"/>
                    <a:gd name="T25" fmla="*/ 0 h 14"/>
                    <a:gd name="T26" fmla="*/ 5 w 18"/>
                    <a:gd name="T27" fmla="*/ 0 h 14"/>
                    <a:gd name="T28" fmla="*/ 6 w 18"/>
                    <a:gd name="T29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8" h="14">
                      <a:moveTo>
                        <a:pt x="6" y="0"/>
                      </a:moveTo>
                      <a:lnTo>
                        <a:pt x="8" y="0"/>
                      </a:lnTo>
                      <a:lnTo>
                        <a:pt x="18" y="12"/>
                      </a:lnTo>
                      <a:lnTo>
                        <a:pt x="18" y="12"/>
                      </a:lnTo>
                      <a:lnTo>
                        <a:pt x="16" y="13"/>
                      </a:lnTo>
                      <a:lnTo>
                        <a:pt x="15" y="14"/>
                      </a:lnTo>
                      <a:lnTo>
                        <a:pt x="13" y="14"/>
                      </a:lnTo>
                      <a:lnTo>
                        <a:pt x="12" y="14"/>
                      </a:lnTo>
                      <a:lnTo>
                        <a:pt x="11" y="14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2" y="1"/>
                      </a:lnTo>
                      <a:lnTo>
                        <a:pt x="3" y="0"/>
                      </a:lnTo>
                      <a:lnTo>
                        <a:pt x="5" y="0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62" name="Freeform 350"/>
                <p:cNvSpPr>
                  <a:spLocks/>
                </p:cNvSpPr>
                <p:nvPr/>
              </p:nvSpPr>
              <p:spPr bwMode="auto">
                <a:xfrm>
                  <a:off x="5457826" y="5299076"/>
                  <a:ext cx="25400" cy="23813"/>
                </a:xfrm>
                <a:custGeom>
                  <a:avLst/>
                  <a:gdLst>
                    <a:gd name="T0" fmla="*/ 6 w 16"/>
                    <a:gd name="T1" fmla="*/ 0 h 15"/>
                    <a:gd name="T2" fmla="*/ 6 w 16"/>
                    <a:gd name="T3" fmla="*/ 0 h 15"/>
                    <a:gd name="T4" fmla="*/ 16 w 16"/>
                    <a:gd name="T5" fmla="*/ 12 h 15"/>
                    <a:gd name="T6" fmla="*/ 16 w 16"/>
                    <a:gd name="T7" fmla="*/ 12 h 15"/>
                    <a:gd name="T8" fmla="*/ 16 w 16"/>
                    <a:gd name="T9" fmla="*/ 13 h 15"/>
                    <a:gd name="T10" fmla="*/ 15 w 16"/>
                    <a:gd name="T11" fmla="*/ 15 h 15"/>
                    <a:gd name="T12" fmla="*/ 12 w 16"/>
                    <a:gd name="T13" fmla="*/ 15 h 15"/>
                    <a:gd name="T14" fmla="*/ 10 w 16"/>
                    <a:gd name="T15" fmla="*/ 15 h 15"/>
                    <a:gd name="T16" fmla="*/ 10 w 16"/>
                    <a:gd name="T17" fmla="*/ 15 h 15"/>
                    <a:gd name="T18" fmla="*/ 0 w 16"/>
                    <a:gd name="T19" fmla="*/ 3 h 15"/>
                    <a:gd name="T20" fmla="*/ 0 w 16"/>
                    <a:gd name="T21" fmla="*/ 3 h 15"/>
                    <a:gd name="T22" fmla="*/ 2 w 16"/>
                    <a:gd name="T23" fmla="*/ 2 h 15"/>
                    <a:gd name="T24" fmla="*/ 3 w 16"/>
                    <a:gd name="T25" fmla="*/ 0 h 15"/>
                    <a:gd name="T26" fmla="*/ 5 w 16"/>
                    <a:gd name="T27" fmla="*/ 0 h 15"/>
                    <a:gd name="T28" fmla="*/ 6 w 16"/>
                    <a:gd name="T29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6" h="15">
                      <a:moveTo>
                        <a:pt x="6" y="0"/>
                      </a:moveTo>
                      <a:lnTo>
                        <a:pt x="6" y="0"/>
                      </a:lnTo>
                      <a:lnTo>
                        <a:pt x="16" y="12"/>
                      </a:lnTo>
                      <a:lnTo>
                        <a:pt x="16" y="12"/>
                      </a:lnTo>
                      <a:lnTo>
                        <a:pt x="16" y="13"/>
                      </a:lnTo>
                      <a:lnTo>
                        <a:pt x="15" y="15"/>
                      </a:lnTo>
                      <a:lnTo>
                        <a:pt x="12" y="15"/>
                      </a:lnTo>
                      <a:lnTo>
                        <a:pt x="10" y="15"/>
                      </a:lnTo>
                      <a:lnTo>
                        <a:pt x="10" y="15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2" y="2"/>
                      </a:lnTo>
                      <a:lnTo>
                        <a:pt x="3" y="0"/>
                      </a:lnTo>
                      <a:lnTo>
                        <a:pt x="5" y="0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63" name="Freeform 351"/>
                <p:cNvSpPr>
                  <a:spLocks/>
                </p:cNvSpPr>
                <p:nvPr/>
              </p:nvSpPr>
              <p:spPr bwMode="auto">
                <a:xfrm>
                  <a:off x="5483226" y="5292726"/>
                  <a:ext cx="28575" cy="25400"/>
                </a:xfrm>
                <a:custGeom>
                  <a:avLst/>
                  <a:gdLst>
                    <a:gd name="T0" fmla="*/ 6 w 18"/>
                    <a:gd name="T1" fmla="*/ 0 h 16"/>
                    <a:gd name="T2" fmla="*/ 8 w 18"/>
                    <a:gd name="T3" fmla="*/ 0 h 16"/>
                    <a:gd name="T4" fmla="*/ 18 w 18"/>
                    <a:gd name="T5" fmla="*/ 11 h 16"/>
                    <a:gd name="T6" fmla="*/ 18 w 18"/>
                    <a:gd name="T7" fmla="*/ 13 h 16"/>
                    <a:gd name="T8" fmla="*/ 16 w 18"/>
                    <a:gd name="T9" fmla="*/ 14 h 16"/>
                    <a:gd name="T10" fmla="*/ 15 w 18"/>
                    <a:gd name="T11" fmla="*/ 14 h 16"/>
                    <a:gd name="T12" fmla="*/ 13 w 18"/>
                    <a:gd name="T13" fmla="*/ 16 h 16"/>
                    <a:gd name="T14" fmla="*/ 12 w 18"/>
                    <a:gd name="T15" fmla="*/ 16 h 16"/>
                    <a:gd name="T16" fmla="*/ 10 w 18"/>
                    <a:gd name="T17" fmla="*/ 16 h 16"/>
                    <a:gd name="T18" fmla="*/ 0 w 18"/>
                    <a:gd name="T19" fmla="*/ 4 h 16"/>
                    <a:gd name="T20" fmla="*/ 0 w 18"/>
                    <a:gd name="T21" fmla="*/ 3 h 16"/>
                    <a:gd name="T22" fmla="*/ 2 w 18"/>
                    <a:gd name="T23" fmla="*/ 3 h 16"/>
                    <a:gd name="T24" fmla="*/ 3 w 18"/>
                    <a:gd name="T25" fmla="*/ 1 h 16"/>
                    <a:gd name="T26" fmla="*/ 5 w 18"/>
                    <a:gd name="T27" fmla="*/ 0 h 16"/>
                    <a:gd name="T28" fmla="*/ 6 w 18"/>
                    <a:gd name="T29" fmla="*/ 0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8" h="16">
                      <a:moveTo>
                        <a:pt x="6" y="0"/>
                      </a:moveTo>
                      <a:lnTo>
                        <a:pt x="8" y="0"/>
                      </a:lnTo>
                      <a:lnTo>
                        <a:pt x="18" y="11"/>
                      </a:lnTo>
                      <a:lnTo>
                        <a:pt x="18" y="13"/>
                      </a:lnTo>
                      <a:lnTo>
                        <a:pt x="16" y="14"/>
                      </a:lnTo>
                      <a:lnTo>
                        <a:pt x="15" y="14"/>
                      </a:lnTo>
                      <a:lnTo>
                        <a:pt x="13" y="16"/>
                      </a:lnTo>
                      <a:lnTo>
                        <a:pt x="12" y="16"/>
                      </a:lnTo>
                      <a:lnTo>
                        <a:pt x="10" y="16"/>
                      </a:lnTo>
                      <a:lnTo>
                        <a:pt x="0" y="4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3" y="1"/>
                      </a:lnTo>
                      <a:lnTo>
                        <a:pt x="5" y="0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64" name="Freeform 352"/>
                <p:cNvSpPr>
                  <a:spLocks/>
                </p:cNvSpPr>
                <p:nvPr/>
              </p:nvSpPr>
              <p:spPr bwMode="auto">
                <a:xfrm>
                  <a:off x="5827714" y="5338763"/>
                  <a:ext cx="385763" cy="101600"/>
                </a:xfrm>
                <a:custGeom>
                  <a:avLst/>
                  <a:gdLst>
                    <a:gd name="T0" fmla="*/ 119 w 243"/>
                    <a:gd name="T1" fmla="*/ 0 h 64"/>
                    <a:gd name="T2" fmla="*/ 151 w 243"/>
                    <a:gd name="T3" fmla="*/ 1 h 64"/>
                    <a:gd name="T4" fmla="*/ 180 w 243"/>
                    <a:gd name="T5" fmla="*/ 4 h 64"/>
                    <a:gd name="T6" fmla="*/ 205 w 243"/>
                    <a:gd name="T7" fmla="*/ 8 h 64"/>
                    <a:gd name="T8" fmla="*/ 225 w 243"/>
                    <a:gd name="T9" fmla="*/ 17 h 64"/>
                    <a:gd name="T10" fmla="*/ 237 w 243"/>
                    <a:gd name="T11" fmla="*/ 26 h 64"/>
                    <a:gd name="T12" fmla="*/ 243 w 243"/>
                    <a:gd name="T13" fmla="*/ 36 h 64"/>
                    <a:gd name="T14" fmla="*/ 243 w 243"/>
                    <a:gd name="T15" fmla="*/ 45 h 64"/>
                    <a:gd name="T16" fmla="*/ 240 w 243"/>
                    <a:gd name="T17" fmla="*/ 52 h 64"/>
                    <a:gd name="T18" fmla="*/ 234 w 243"/>
                    <a:gd name="T19" fmla="*/ 56 h 64"/>
                    <a:gd name="T20" fmla="*/ 224 w 243"/>
                    <a:gd name="T21" fmla="*/ 59 h 64"/>
                    <a:gd name="T22" fmla="*/ 205 w 243"/>
                    <a:gd name="T23" fmla="*/ 61 h 64"/>
                    <a:gd name="T24" fmla="*/ 176 w 243"/>
                    <a:gd name="T25" fmla="*/ 62 h 64"/>
                    <a:gd name="T26" fmla="*/ 153 w 243"/>
                    <a:gd name="T27" fmla="*/ 62 h 64"/>
                    <a:gd name="T28" fmla="*/ 127 w 243"/>
                    <a:gd name="T29" fmla="*/ 64 h 64"/>
                    <a:gd name="T30" fmla="*/ 100 w 243"/>
                    <a:gd name="T31" fmla="*/ 62 h 64"/>
                    <a:gd name="T32" fmla="*/ 76 w 243"/>
                    <a:gd name="T33" fmla="*/ 62 h 64"/>
                    <a:gd name="T34" fmla="*/ 52 w 243"/>
                    <a:gd name="T35" fmla="*/ 61 h 64"/>
                    <a:gd name="T36" fmla="*/ 32 w 243"/>
                    <a:gd name="T37" fmla="*/ 58 h 64"/>
                    <a:gd name="T38" fmla="*/ 15 w 243"/>
                    <a:gd name="T39" fmla="*/ 54 h 64"/>
                    <a:gd name="T40" fmla="*/ 4 w 243"/>
                    <a:gd name="T41" fmla="*/ 49 h 64"/>
                    <a:gd name="T42" fmla="*/ 0 w 243"/>
                    <a:gd name="T43" fmla="*/ 42 h 64"/>
                    <a:gd name="T44" fmla="*/ 4 w 243"/>
                    <a:gd name="T45" fmla="*/ 32 h 64"/>
                    <a:gd name="T46" fmla="*/ 16 w 243"/>
                    <a:gd name="T47" fmla="*/ 23 h 64"/>
                    <a:gd name="T48" fmla="*/ 33 w 243"/>
                    <a:gd name="T49" fmla="*/ 14 h 64"/>
                    <a:gd name="T50" fmla="*/ 58 w 243"/>
                    <a:gd name="T51" fmla="*/ 7 h 64"/>
                    <a:gd name="T52" fmla="*/ 87 w 243"/>
                    <a:gd name="T53" fmla="*/ 3 h 64"/>
                    <a:gd name="T54" fmla="*/ 119 w 243"/>
                    <a:gd name="T55" fmla="*/ 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243" h="64">
                      <a:moveTo>
                        <a:pt x="119" y="0"/>
                      </a:moveTo>
                      <a:lnTo>
                        <a:pt x="151" y="1"/>
                      </a:lnTo>
                      <a:lnTo>
                        <a:pt x="180" y="4"/>
                      </a:lnTo>
                      <a:lnTo>
                        <a:pt x="205" y="8"/>
                      </a:lnTo>
                      <a:lnTo>
                        <a:pt x="225" y="17"/>
                      </a:lnTo>
                      <a:lnTo>
                        <a:pt x="237" y="26"/>
                      </a:lnTo>
                      <a:lnTo>
                        <a:pt x="243" y="36"/>
                      </a:lnTo>
                      <a:lnTo>
                        <a:pt x="243" y="45"/>
                      </a:lnTo>
                      <a:lnTo>
                        <a:pt x="240" y="52"/>
                      </a:lnTo>
                      <a:lnTo>
                        <a:pt x="234" y="56"/>
                      </a:lnTo>
                      <a:lnTo>
                        <a:pt x="224" y="59"/>
                      </a:lnTo>
                      <a:lnTo>
                        <a:pt x="205" y="61"/>
                      </a:lnTo>
                      <a:lnTo>
                        <a:pt x="176" y="62"/>
                      </a:lnTo>
                      <a:lnTo>
                        <a:pt x="153" y="62"/>
                      </a:lnTo>
                      <a:lnTo>
                        <a:pt x="127" y="64"/>
                      </a:lnTo>
                      <a:lnTo>
                        <a:pt x="100" y="62"/>
                      </a:lnTo>
                      <a:lnTo>
                        <a:pt x="76" y="62"/>
                      </a:lnTo>
                      <a:lnTo>
                        <a:pt x="52" y="61"/>
                      </a:lnTo>
                      <a:lnTo>
                        <a:pt x="32" y="58"/>
                      </a:lnTo>
                      <a:lnTo>
                        <a:pt x="15" y="54"/>
                      </a:lnTo>
                      <a:lnTo>
                        <a:pt x="4" y="49"/>
                      </a:lnTo>
                      <a:lnTo>
                        <a:pt x="0" y="42"/>
                      </a:lnTo>
                      <a:lnTo>
                        <a:pt x="4" y="32"/>
                      </a:lnTo>
                      <a:lnTo>
                        <a:pt x="16" y="23"/>
                      </a:lnTo>
                      <a:lnTo>
                        <a:pt x="33" y="14"/>
                      </a:lnTo>
                      <a:lnTo>
                        <a:pt x="58" y="7"/>
                      </a:lnTo>
                      <a:lnTo>
                        <a:pt x="87" y="3"/>
                      </a:lnTo>
                      <a:lnTo>
                        <a:pt x="119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65" name="Freeform 353"/>
                <p:cNvSpPr>
                  <a:spLocks/>
                </p:cNvSpPr>
                <p:nvPr/>
              </p:nvSpPr>
              <p:spPr bwMode="auto">
                <a:xfrm>
                  <a:off x="5888039" y="5389563"/>
                  <a:ext cx="325438" cy="50800"/>
                </a:xfrm>
                <a:custGeom>
                  <a:avLst/>
                  <a:gdLst>
                    <a:gd name="T0" fmla="*/ 203 w 205"/>
                    <a:gd name="T1" fmla="*/ 0 h 32"/>
                    <a:gd name="T2" fmla="*/ 205 w 205"/>
                    <a:gd name="T3" fmla="*/ 4 h 32"/>
                    <a:gd name="T4" fmla="*/ 205 w 205"/>
                    <a:gd name="T5" fmla="*/ 4 h 32"/>
                    <a:gd name="T6" fmla="*/ 205 w 205"/>
                    <a:gd name="T7" fmla="*/ 4 h 32"/>
                    <a:gd name="T8" fmla="*/ 205 w 205"/>
                    <a:gd name="T9" fmla="*/ 4 h 32"/>
                    <a:gd name="T10" fmla="*/ 205 w 205"/>
                    <a:gd name="T11" fmla="*/ 10 h 32"/>
                    <a:gd name="T12" fmla="*/ 203 w 205"/>
                    <a:gd name="T13" fmla="*/ 17 h 32"/>
                    <a:gd name="T14" fmla="*/ 201 w 205"/>
                    <a:gd name="T15" fmla="*/ 22 h 32"/>
                    <a:gd name="T16" fmla="*/ 193 w 205"/>
                    <a:gd name="T17" fmla="*/ 26 h 32"/>
                    <a:gd name="T18" fmla="*/ 182 w 205"/>
                    <a:gd name="T19" fmla="*/ 27 h 32"/>
                    <a:gd name="T20" fmla="*/ 164 w 205"/>
                    <a:gd name="T21" fmla="*/ 29 h 32"/>
                    <a:gd name="T22" fmla="*/ 138 w 205"/>
                    <a:gd name="T23" fmla="*/ 30 h 32"/>
                    <a:gd name="T24" fmla="*/ 113 w 205"/>
                    <a:gd name="T25" fmla="*/ 30 h 32"/>
                    <a:gd name="T26" fmla="*/ 87 w 205"/>
                    <a:gd name="T27" fmla="*/ 32 h 32"/>
                    <a:gd name="T28" fmla="*/ 57 w 205"/>
                    <a:gd name="T29" fmla="*/ 30 h 32"/>
                    <a:gd name="T30" fmla="*/ 26 w 205"/>
                    <a:gd name="T31" fmla="*/ 29 h 32"/>
                    <a:gd name="T32" fmla="*/ 0 w 205"/>
                    <a:gd name="T33" fmla="*/ 27 h 32"/>
                    <a:gd name="T34" fmla="*/ 11 w 205"/>
                    <a:gd name="T35" fmla="*/ 27 h 32"/>
                    <a:gd name="T36" fmla="*/ 36 w 205"/>
                    <a:gd name="T37" fmla="*/ 26 h 32"/>
                    <a:gd name="T38" fmla="*/ 70 w 205"/>
                    <a:gd name="T39" fmla="*/ 23 h 32"/>
                    <a:gd name="T40" fmla="*/ 103 w 205"/>
                    <a:gd name="T41" fmla="*/ 19 h 32"/>
                    <a:gd name="T42" fmla="*/ 122 w 205"/>
                    <a:gd name="T43" fmla="*/ 16 h 32"/>
                    <a:gd name="T44" fmla="*/ 139 w 205"/>
                    <a:gd name="T45" fmla="*/ 14 h 32"/>
                    <a:gd name="T46" fmla="*/ 164 w 205"/>
                    <a:gd name="T47" fmla="*/ 14 h 32"/>
                    <a:gd name="T48" fmla="*/ 182 w 205"/>
                    <a:gd name="T49" fmla="*/ 11 h 32"/>
                    <a:gd name="T50" fmla="*/ 193 w 205"/>
                    <a:gd name="T51" fmla="*/ 10 h 32"/>
                    <a:gd name="T52" fmla="*/ 201 w 205"/>
                    <a:gd name="T53" fmla="*/ 6 h 32"/>
                    <a:gd name="T54" fmla="*/ 203 w 205"/>
                    <a:gd name="T55" fmla="*/ 0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205" h="32">
                      <a:moveTo>
                        <a:pt x="203" y="0"/>
                      </a:moveTo>
                      <a:lnTo>
                        <a:pt x="205" y="4"/>
                      </a:lnTo>
                      <a:lnTo>
                        <a:pt x="205" y="4"/>
                      </a:lnTo>
                      <a:lnTo>
                        <a:pt x="205" y="4"/>
                      </a:lnTo>
                      <a:lnTo>
                        <a:pt x="205" y="4"/>
                      </a:lnTo>
                      <a:lnTo>
                        <a:pt x="205" y="10"/>
                      </a:lnTo>
                      <a:lnTo>
                        <a:pt x="203" y="17"/>
                      </a:lnTo>
                      <a:lnTo>
                        <a:pt x="201" y="22"/>
                      </a:lnTo>
                      <a:lnTo>
                        <a:pt x="193" y="26"/>
                      </a:lnTo>
                      <a:lnTo>
                        <a:pt x="182" y="27"/>
                      </a:lnTo>
                      <a:lnTo>
                        <a:pt x="164" y="29"/>
                      </a:lnTo>
                      <a:lnTo>
                        <a:pt x="138" y="30"/>
                      </a:lnTo>
                      <a:lnTo>
                        <a:pt x="113" y="30"/>
                      </a:lnTo>
                      <a:lnTo>
                        <a:pt x="87" y="32"/>
                      </a:lnTo>
                      <a:lnTo>
                        <a:pt x="57" y="30"/>
                      </a:lnTo>
                      <a:lnTo>
                        <a:pt x="26" y="29"/>
                      </a:lnTo>
                      <a:lnTo>
                        <a:pt x="0" y="27"/>
                      </a:lnTo>
                      <a:lnTo>
                        <a:pt x="11" y="27"/>
                      </a:lnTo>
                      <a:lnTo>
                        <a:pt x="36" y="26"/>
                      </a:lnTo>
                      <a:lnTo>
                        <a:pt x="70" y="23"/>
                      </a:lnTo>
                      <a:lnTo>
                        <a:pt x="103" y="19"/>
                      </a:lnTo>
                      <a:lnTo>
                        <a:pt x="122" y="16"/>
                      </a:lnTo>
                      <a:lnTo>
                        <a:pt x="139" y="14"/>
                      </a:lnTo>
                      <a:lnTo>
                        <a:pt x="164" y="14"/>
                      </a:lnTo>
                      <a:lnTo>
                        <a:pt x="182" y="11"/>
                      </a:lnTo>
                      <a:lnTo>
                        <a:pt x="193" y="10"/>
                      </a:lnTo>
                      <a:lnTo>
                        <a:pt x="201" y="6"/>
                      </a:lnTo>
                      <a:lnTo>
                        <a:pt x="203" y="0"/>
                      </a:lnTo>
                      <a:close/>
                    </a:path>
                  </a:pathLst>
                </a:custGeom>
                <a:solidFill>
                  <a:srgbClr val="FFA01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66" name="Freeform 354"/>
                <p:cNvSpPr>
                  <a:spLocks/>
                </p:cNvSpPr>
                <p:nvPr/>
              </p:nvSpPr>
              <p:spPr bwMode="auto">
                <a:xfrm>
                  <a:off x="5837239" y="5254626"/>
                  <a:ext cx="385763" cy="160338"/>
                </a:xfrm>
                <a:custGeom>
                  <a:avLst/>
                  <a:gdLst>
                    <a:gd name="T0" fmla="*/ 157 w 243"/>
                    <a:gd name="T1" fmla="*/ 0 h 101"/>
                    <a:gd name="T2" fmla="*/ 164 w 243"/>
                    <a:gd name="T3" fmla="*/ 2 h 101"/>
                    <a:gd name="T4" fmla="*/ 174 w 243"/>
                    <a:gd name="T5" fmla="*/ 6 h 101"/>
                    <a:gd name="T6" fmla="*/ 186 w 243"/>
                    <a:gd name="T7" fmla="*/ 11 h 101"/>
                    <a:gd name="T8" fmla="*/ 208 w 243"/>
                    <a:gd name="T9" fmla="*/ 19 h 101"/>
                    <a:gd name="T10" fmla="*/ 231 w 243"/>
                    <a:gd name="T11" fmla="*/ 22 h 101"/>
                    <a:gd name="T12" fmla="*/ 238 w 243"/>
                    <a:gd name="T13" fmla="*/ 24 h 101"/>
                    <a:gd name="T14" fmla="*/ 241 w 243"/>
                    <a:gd name="T15" fmla="*/ 30 h 101"/>
                    <a:gd name="T16" fmla="*/ 243 w 243"/>
                    <a:gd name="T17" fmla="*/ 40 h 101"/>
                    <a:gd name="T18" fmla="*/ 241 w 243"/>
                    <a:gd name="T19" fmla="*/ 50 h 101"/>
                    <a:gd name="T20" fmla="*/ 238 w 243"/>
                    <a:gd name="T21" fmla="*/ 59 h 101"/>
                    <a:gd name="T22" fmla="*/ 237 w 243"/>
                    <a:gd name="T23" fmla="*/ 66 h 101"/>
                    <a:gd name="T24" fmla="*/ 235 w 243"/>
                    <a:gd name="T25" fmla="*/ 70 h 101"/>
                    <a:gd name="T26" fmla="*/ 237 w 243"/>
                    <a:gd name="T27" fmla="*/ 80 h 101"/>
                    <a:gd name="T28" fmla="*/ 234 w 243"/>
                    <a:gd name="T29" fmla="*/ 88 h 101"/>
                    <a:gd name="T30" fmla="*/ 228 w 243"/>
                    <a:gd name="T31" fmla="*/ 93 h 101"/>
                    <a:gd name="T32" fmla="*/ 218 w 243"/>
                    <a:gd name="T33" fmla="*/ 96 h 101"/>
                    <a:gd name="T34" fmla="*/ 199 w 243"/>
                    <a:gd name="T35" fmla="*/ 99 h 101"/>
                    <a:gd name="T36" fmla="*/ 171 w 243"/>
                    <a:gd name="T37" fmla="*/ 99 h 101"/>
                    <a:gd name="T38" fmla="*/ 148 w 243"/>
                    <a:gd name="T39" fmla="*/ 101 h 101"/>
                    <a:gd name="T40" fmla="*/ 123 w 243"/>
                    <a:gd name="T41" fmla="*/ 101 h 101"/>
                    <a:gd name="T42" fmla="*/ 99 w 243"/>
                    <a:gd name="T43" fmla="*/ 101 h 101"/>
                    <a:gd name="T44" fmla="*/ 74 w 243"/>
                    <a:gd name="T45" fmla="*/ 99 h 101"/>
                    <a:gd name="T46" fmla="*/ 51 w 243"/>
                    <a:gd name="T47" fmla="*/ 98 h 101"/>
                    <a:gd name="T48" fmla="*/ 30 w 243"/>
                    <a:gd name="T49" fmla="*/ 95 h 101"/>
                    <a:gd name="T50" fmla="*/ 14 w 243"/>
                    <a:gd name="T51" fmla="*/ 91 h 101"/>
                    <a:gd name="T52" fmla="*/ 4 w 243"/>
                    <a:gd name="T53" fmla="*/ 85 h 101"/>
                    <a:gd name="T54" fmla="*/ 0 w 243"/>
                    <a:gd name="T55" fmla="*/ 77 h 101"/>
                    <a:gd name="T56" fmla="*/ 4 w 243"/>
                    <a:gd name="T57" fmla="*/ 64 h 101"/>
                    <a:gd name="T58" fmla="*/ 19 w 243"/>
                    <a:gd name="T59" fmla="*/ 53 h 101"/>
                    <a:gd name="T60" fmla="*/ 41 w 243"/>
                    <a:gd name="T61" fmla="*/ 43 h 101"/>
                    <a:gd name="T62" fmla="*/ 68 w 243"/>
                    <a:gd name="T63" fmla="*/ 35 h 101"/>
                    <a:gd name="T64" fmla="*/ 102 w 243"/>
                    <a:gd name="T65" fmla="*/ 30 h 101"/>
                    <a:gd name="T66" fmla="*/ 102 w 243"/>
                    <a:gd name="T67" fmla="*/ 31 h 101"/>
                    <a:gd name="T68" fmla="*/ 116 w 243"/>
                    <a:gd name="T69" fmla="*/ 30 h 101"/>
                    <a:gd name="T70" fmla="*/ 129 w 243"/>
                    <a:gd name="T71" fmla="*/ 30 h 101"/>
                    <a:gd name="T72" fmla="*/ 139 w 243"/>
                    <a:gd name="T73" fmla="*/ 27 h 101"/>
                    <a:gd name="T74" fmla="*/ 147 w 243"/>
                    <a:gd name="T75" fmla="*/ 18 h 101"/>
                    <a:gd name="T76" fmla="*/ 154 w 243"/>
                    <a:gd name="T77" fmla="*/ 3 h 101"/>
                    <a:gd name="T78" fmla="*/ 157 w 243"/>
                    <a:gd name="T79" fmla="*/ 0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243" h="101">
                      <a:moveTo>
                        <a:pt x="157" y="0"/>
                      </a:moveTo>
                      <a:lnTo>
                        <a:pt x="164" y="2"/>
                      </a:lnTo>
                      <a:lnTo>
                        <a:pt x="174" y="6"/>
                      </a:lnTo>
                      <a:lnTo>
                        <a:pt x="186" y="11"/>
                      </a:lnTo>
                      <a:lnTo>
                        <a:pt x="208" y="19"/>
                      </a:lnTo>
                      <a:lnTo>
                        <a:pt x="231" y="22"/>
                      </a:lnTo>
                      <a:lnTo>
                        <a:pt x="238" y="24"/>
                      </a:lnTo>
                      <a:lnTo>
                        <a:pt x="241" y="30"/>
                      </a:lnTo>
                      <a:lnTo>
                        <a:pt x="243" y="40"/>
                      </a:lnTo>
                      <a:lnTo>
                        <a:pt x="241" y="50"/>
                      </a:lnTo>
                      <a:lnTo>
                        <a:pt x="238" y="59"/>
                      </a:lnTo>
                      <a:lnTo>
                        <a:pt x="237" y="66"/>
                      </a:lnTo>
                      <a:lnTo>
                        <a:pt x="235" y="70"/>
                      </a:lnTo>
                      <a:lnTo>
                        <a:pt x="237" y="80"/>
                      </a:lnTo>
                      <a:lnTo>
                        <a:pt x="234" y="88"/>
                      </a:lnTo>
                      <a:lnTo>
                        <a:pt x="228" y="93"/>
                      </a:lnTo>
                      <a:lnTo>
                        <a:pt x="218" y="96"/>
                      </a:lnTo>
                      <a:lnTo>
                        <a:pt x="199" y="99"/>
                      </a:lnTo>
                      <a:lnTo>
                        <a:pt x="171" y="99"/>
                      </a:lnTo>
                      <a:lnTo>
                        <a:pt x="148" y="101"/>
                      </a:lnTo>
                      <a:lnTo>
                        <a:pt x="123" y="101"/>
                      </a:lnTo>
                      <a:lnTo>
                        <a:pt x="99" y="101"/>
                      </a:lnTo>
                      <a:lnTo>
                        <a:pt x="74" y="99"/>
                      </a:lnTo>
                      <a:lnTo>
                        <a:pt x="51" y="98"/>
                      </a:lnTo>
                      <a:lnTo>
                        <a:pt x="30" y="95"/>
                      </a:lnTo>
                      <a:lnTo>
                        <a:pt x="14" y="91"/>
                      </a:lnTo>
                      <a:lnTo>
                        <a:pt x="4" y="85"/>
                      </a:lnTo>
                      <a:lnTo>
                        <a:pt x="0" y="77"/>
                      </a:lnTo>
                      <a:lnTo>
                        <a:pt x="4" y="64"/>
                      </a:lnTo>
                      <a:lnTo>
                        <a:pt x="19" y="53"/>
                      </a:lnTo>
                      <a:lnTo>
                        <a:pt x="41" y="43"/>
                      </a:lnTo>
                      <a:lnTo>
                        <a:pt x="68" y="35"/>
                      </a:lnTo>
                      <a:lnTo>
                        <a:pt x="102" y="30"/>
                      </a:lnTo>
                      <a:lnTo>
                        <a:pt x="102" y="31"/>
                      </a:lnTo>
                      <a:lnTo>
                        <a:pt x="116" y="30"/>
                      </a:lnTo>
                      <a:lnTo>
                        <a:pt x="129" y="30"/>
                      </a:lnTo>
                      <a:lnTo>
                        <a:pt x="139" y="27"/>
                      </a:lnTo>
                      <a:lnTo>
                        <a:pt x="147" y="18"/>
                      </a:lnTo>
                      <a:lnTo>
                        <a:pt x="154" y="3"/>
                      </a:lnTo>
                      <a:lnTo>
                        <a:pt x="157" y="0"/>
                      </a:lnTo>
                      <a:close/>
                    </a:path>
                  </a:pathLst>
                </a:custGeom>
                <a:solidFill>
                  <a:srgbClr val="FFF0D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67" name="Freeform 355"/>
                <p:cNvSpPr>
                  <a:spLocks/>
                </p:cNvSpPr>
                <p:nvPr/>
              </p:nvSpPr>
              <p:spPr bwMode="auto">
                <a:xfrm>
                  <a:off x="6210301" y="5364163"/>
                  <a:ext cx="3175" cy="1588"/>
                </a:xfrm>
                <a:custGeom>
                  <a:avLst/>
                  <a:gdLst>
                    <a:gd name="T0" fmla="*/ 2 w 2"/>
                    <a:gd name="T1" fmla="*/ 0 h 1"/>
                    <a:gd name="T2" fmla="*/ 2 w 2"/>
                    <a:gd name="T3" fmla="*/ 0 h 1"/>
                    <a:gd name="T4" fmla="*/ 0 w 2"/>
                    <a:gd name="T5" fmla="*/ 1 h 1"/>
                    <a:gd name="T6" fmla="*/ 2 w 2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EFD6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68" name="Rectangle 356"/>
                <p:cNvSpPr>
                  <a:spLocks noChangeArrowheads="1"/>
                </p:cNvSpPr>
                <p:nvPr/>
              </p:nvSpPr>
              <p:spPr bwMode="auto">
                <a:xfrm>
                  <a:off x="6213476" y="5360988"/>
                  <a:ext cx="1588" cy="3175"/>
                </a:xfrm>
                <a:prstGeom prst="rect">
                  <a:avLst/>
                </a:prstGeom>
                <a:solidFill>
                  <a:srgbClr val="DDCAB5"/>
                </a:soli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69" name="Freeform 357"/>
                <p:cNvSpPr>
                  <a:spLocks/>
                </p:cNvSpPr>
                <p:nvPr/>
              </p:nvSpPr>
              <p:spPr bwMode="auto">
                <a:xfrm>
                  <a:off x="6213476" y="5294313"/>
                  <a:ext cx="9525" cy="66675"/>
                </a:xfrm>
                <a:custGeom>
                  <a:avLst/>
                  <a:gdLst>
                    <a:gd name="T0" fmla="*/ 3 w 6"/>
                    <a:gd name="T1" fmla="*/ 0 h 42"/>
                    <a:gd name="T2" fmla="*/ 6 w 6"/>
                    <a:gd name="T3" fmla="*/ 7 h 42"/>
                    <a:gd name="T4" fmla="*/ 6 w 6"/>
                    <a:gd name="T5" fmla="*/ 16 h 42"/>
                    <a:gd name="T6" fmla="*/ 4 w 6"/>
                    <a:gd name="T7" fmla="*/ 26 h 42"/>
                    <a:gd name="T8" fmla="*/ 1 w 6"/>
                    <a:gd name="T9" fmla="*/ 36 h 42"/>
                    <a:gd name="T10" fmla="*/ 0 w 6"/>
                    <a:gd name="T11" fmla="*/ 42 h 42"/>
                    <a:gd name="T12" fmla="*/ 0 w 6"/>
                    <a:gd name="T13" fmla="*/ 42 h 42"/>
                    <a:gd name="T14" fmla="*/ 1 w 6"/>
                    <a:gd name="T15" fmla="*/ 34 h 42"/>
                    <a:gd name="T16" fmla="*/ 4 w 6"/>
                    <a:gd name="T17" fmla="*/ 22 h 42"/>
                    <a:gd name="T18" fmla="*/ 6 w 6"/>
                    <a:gd name="T19" fmla="*/ 9 h 42"/>
                    <a:gd name="T20" fmla="*/ 3 w 6"/>
                    <a:gd name="T21" fmla="*/ 0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6" h="42">
                      <a:moveTo>
                        <a:pt x="3" y="0"/>
                      </a:moveTo>
                      <a:lnTo>
                        <a:pt x="6" y="7"/>
                      </a:lnTo>
                      <a:lnTo>
                        <a:pt x="6" y="16"/>
                      </a:lnTo>
                      <a:lnTo>
                        <a:pt x="4" y="26"/>
                      </a:lnTo>
                      <a:lnTo>
                        <a:pt x="1" y="36"/>
                      </a:lnTo>
                      <a:lnTo>
                        <a:pt x="0" y="42"/>
                      </a:lnTo>
                      <a:lnTo>
                        <a:pt x="0" y="42"/>
                      </a:lnTo>
                      <a:lnTo>
                        <a:pt x="1" y="34"/>
                      </a:lnTo>
                      <a:lnTo>
                        <a:pt x="4" y="22"/>
                      </a:lnTo>
                      <a:lnTo>
                        <a:pt x="6" y="9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E1B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70" name="Freeform 358"/>
                <p:cNvSpPr>
                  <a:spLocks/>
                </p:cNvSpPr>
                <p:nvPr/>
              </p:nvSpPr>
              <p:spPr bwMode="auto">
                <a:xfrm>
                  <a:off x="6164264" y="5283201"/>
                  <a:ext cx="30163" cy="4763"/>
                </a:xfrm>
                <a:custGeom>
                  <a:avLst/>
                  <a:gdLst>
                    <a:gd name="T0" fmla="*/ 0 w 19"/>
                    <a:gd name="T1" fmla="*/ 0 h 3"/>
                    <a:gd name="T2" fmla="*/ 8 w 19"/>
                    <a:gd name="T3" fmla="*/ 1 h 3"/>
                    <a:gd name="T4" fmla="*/ 13 w 19"/>
                    <a:gd name="T5" fmla="*/ 3 h 3"/>
                    <a:gd name="T6" fmla="*/ 19 w 19"/>
                    <a:gd name="T7" fmla="*/ 3 h 3"/>
                    <a:gd name="T8" fmla="*/ 18 w 19"/>
                    <a:gd name="T9" fmla="*/ 3 h 3"/>
                    <a:gd name="T10" fmla="*/ 9 w 19"/>
                    <a:gd name="T11" fmla="*/ 3 h 3"/>
                    <a:gd name="T12" fmla="*/ 0 w 19"/>
                    <a:gd name="T13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9" h="3">
                      <a:moveTo>
                        <a:pt x="0" y="0"/>
                      </a:moveTo>
                      <a:lnTo>
                        <a:pt x="8" y="1"/>
                      </a:lnTo>
                      <a:lnTo>
                        <a:pt x="13" y="3"/>
                      </a:lnTo>
                      <a:lnTo>
                        <a:pt x="19" y="3"/>
                      </a:lnTo>
                      <a:lnTo>
                        <a:pt x="18" y="3"/>
                      </a:lnTo>
                      <a:lnTo>
                        <a:pt x="9" y="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5FCFD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71" name="Freeform 359"/>
                <p:cNvSpPr>
                  <a:spLocks/>
                </p:cNvSpPr>
                <p:nvPr/>
              </p:nvSpPr>
              <p:spPr bwMode="auto">
                <a:xfrm>
                  <a:off x="6192839" y="5287963"/>
                  <a:ext cx="11113" cy="1588"/>
                </a:xfrm>
                <a:custGeom>
                  <a:avLst/>
                  <a:gdLst>
                    <a:gd name="T0" fmla="*/ 1 w 7"/>
                    <a:gd name="T1" fmla="*/ 0 h 1"/>
                    <a:gd name="T2" fmla="*/ 6 w 7"/>
                    <a:gd name="T3" fmla="*/ 1 h 1"/>
                    <a:gd name="T4" fmla="*/ 7 w 7"/>
                    <a:gd name="T5" fmla="*/ 1 h 1"/>
                    <a:gd name="T6" fmla="*/ 7 w 7"/>
                    <a:gd name="T7" fmla="*/ 1 h 1"/>
                    <a:gd name="T8" fmla="*/ 6 w 7"/>
                    <a:gd name="T9" fmla="*/ 1 h 1"/>
                    <a:gd name="T10" fmla="*/ 0 w 7"/>
                    <a:gd name="T11" fmla="*/ 0 h 1"/>
                    <a:gd name="T12" fmla="*/ 1 w 7"/>
                    <a:gd name="T1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" h="1">
                      <a:moveTo>
                        <a:pt x="1" y="0"/>
                      </a:moveTo>
                      <a:lnTo>
                        <a:pt x="6" y="1"/>
                      </a:lnTo>
                      <a:lnTo>
                        <a:pt x="7" y="1"/>
                      </a:lnTo>
                      <a:lnTo>
                        <a:pt x="7" y="1"/>
                      </a:lnTo>
                      <a:lnTo>
                        <a:pt x="6" y="1"/>
                      </a:lnTo>
                      <a:lnTo>
                        <a:pt x="0" y="0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solidFill>
                  <a:srgbClr val="1D9DC3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72" name="Rectangle 360"/>
                <p:cNvSpPr>
                  <a:spLocks noChangeArrowheads="1"/>
                </p:cNvSpPr>
                <p:nvPr/>
              </p:nvSpPr>
              <p:spPr bwMode="auto">
                <a:xfrm>
                  <a:off x="6151564" y="5278438"/>
                  <a:ext cx="1588" cy="1588"/>
                </a:xfrm>
                <a:prstGeom prst="rect">
                  <a:avLst/>
                </a:prstGeom>
                <a:solidFill>
                  <a:srgbClr val="5FCFD5"/>
                </a:soli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73" name="Freeform 361"/>
                <p:cNvSpPr>
                  <a:spLocks/>
                </p:cNvSpPr>
                <p:nvPr/>
              </p:nvSpPr>
              <p:spPr bwMode="auto">
                <a:xfrm>
                  <a:off x="5953126" y="5278438"/>
                  <a:ext cx="269875" cy="136525"/>
                </a:xfrm>
                <a:custGeom>
                  <a:avLst/>
                  <a:gdLst>
                    <a:gd name="T0" fmla="*/ 123 w 170"/>
                    <a:gd name="T1" fmla="*/ 0 h 86"/>
                    <a:gd name="T2" fmla="*/ 125 w 170"/>
                    <a:gd name="T3" fmla="*/ 0 h 86"/>
                    <a:gd name="T4" fmla="*/ 125 w 170"/>
                    <a:gd name="T5" fmla="*/ 0 h 86"/>
                    <a:gd name="T6" fmla="*/ 133 w 170"/>
                    <a:gd name="T7" fmla="*/ 3 h 86"/>
                    <a:gd name="T8" fmla="*/ 142 w 170"/>
                    <a:gd name="T9" fmla="*/ 6 h 86"/>
                    <a:gd name="T10" fmla="*/ 151 w 170"/>
                    <a:gd name="T11" fmla="*/ 6 h 86"/>
                    <a:gd name="T12" fmla="*/ 157 w 170"/>
                    <a:gd name="T13" fmla="*/ 7 h 86"/>
                    <a:gd name="T14" fmla="*/ 158 w 170"/>
                    <a:gd name="T15" fmla="*/ 7 h 86"/>
                    <a:gd name="T16" fmla="*/ 162 w 170"/>
                    <a:gd name="T17" fmla="*/ 7 h 86"/>
                    <a:gd name="T18" fmla="*/ 164 w 170"/>
                    <a:gd name="T19" fmla="*/ 9 h 86"/>
                    <a:gd name="T20" fmla="*/ 167 w 170"/>
                    <a:gd name="T21" fmla="*/ 10 h 86"/>
                    <a:gd name="T22" fmla="*/ 170 w 170"/>
                    <a:gd name="T23" fmla="*/ 19 h 86"/>
                    <a:gd name="T24" fmla="*/ 168 w 170"/>
                    <a:gd name="T25" fmla="*/ 32 h 86"/>
                    <a:gd name="T26" fmla="*/ 165 w 170"/>
                    <a:gd name="T27" fmla="*/ 44 h 86"/>
                    <a:gd name="T28" fmla="*/ 164 w 170"/>
                    <a:gd name="T29" fmla="*/ 52 h 86"/>
                    <a:gd name="T30" fmla="*/ 164 w 170"/>
                    <a:gd name="T31" fmla="*/ 54 h 86"/>
                    <a:gd name="T32" fmla="*/ 162 w 170"/>
                    <a:gd name="T33" fmla="*/ 55 h 86"/>
                    <a:gd name="T34" fmla="*/ 164 w 170"/>
                    <a:gd name="T35" fmla="*/ 62 h 86"/>
                    <a:gd name="T36" fmla="*/ 162 w 170"/>
                    <a:gd name="T37" fmla="*/ 70 h 86"/>
                    <a:gd name="T38" fmla="*/ 160 w 170"/>
                    <a:gd name="T39" fmla="*/ 76 h 86"/>
                    <a:gd name="T40" fmla="*/ 152 w 170"/>
                    <a:gd name="T41" fmla="*/ 80 h 86"/>
                    <a:gd name="T42" fmla="*/ 141 w 170"/>
                    <a:gd name="T43" fmla="*/ 83 h 86"/>
                    <a:gd name="T44" fmla="*/ 123 w 170"/>
                    <a:gd name="T45" fmla="*/ 84 h 86"/>
                    <a:gd name="T46" fmla="*/ 98 w 170"/>
                    <a:gd name="T47" fmla="*/ 84 h 86"/>
                    <a:gd name="T48" fmla="*/ 75 w 170"/>
                    <a:gd name="T49" fmla="*/ 86 h 86"/>
                    <a:gd name="T50" fmla="*/ 50 w 170"/>
                    <a:gd name="T51" fmla="*/ 86 h 86"/>
                    <a:gd name="T52" fmla="*/ 0 w 170"/>
                    <a:gd name="T53" fmla="*/ 84 h 86"/>
                    <a:gd name="T54" fmla="*/ 7 w 170"/>
                    <a:gd name="T55" fmla="*/ 81 h 86"/>
                    <a:gd name="T56" fmla="*/ 14 w 170"/>
                    <a:gd name="T57" fmla="*/ 77 h 86"/>
                    <a:gd name="T58" fmla="*/ 21 w 170"/>
                    <a:gd name="T59" fmla="*/ 74 h 86"/>
                    <a:gd name="T60" fmla="*/ 37 w 170"/>
                    <a:gd name="T61" fmla="*/ 67 h 86"/>
                    <a:gd name="T62" fmla="*/ 52 w 170"/>
                    <a:gd name="T63" fmla="*/ 58 h 86"/>
                    <a:gd name="T64" fmla="*/ 69 w 170"/>
                    <a:gd name="T65" fmla="*/ 52 h 86"/>
                    <a:gd name="T66" fmla="*/ 88 w 170"/>
                    <a:gd name="T67" fmla="*/ 48 h 86"/>
                    <a:gd name="T68" fmla="*/ 101 w 170"/>
                    <a:gd name="T69" fmla="*/ 39 h 86"/>
                    <a:gd name="T70" fmla="*/ 110 w 170"/>
                    <a:gd name="T71" fmla="*/ 29 h 86"/>
                    <a:gd name="T72" fmla="*/ 116 w 170"/>
                    <a:gd name="T73" fmla="*/ 19 h 86"/>
                    <a:gd name="T74" fmla="*/ 120 w 170"/>
                    <a:gd name="T75" fmla="*/ 9 h 86"/>
                    <a:gd name="T76" fmla="*/ 122 w 170"/>
                    <a:gd name="T77" fmla="*/ 3 h 86"/>
                    <a:gd name="T78" fmla="*/ 123 w 170"/>
                    <a:gd name="T79" fmla="*/ 0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170" h="86">
                      <a:moveTo>
                        <a:pt x="123" y="0"/>
                      </a:moveTo>
                      <a:lnTo>
                        <a:pt x="125" y="0"/>
                      </a:lnTo>
                      <a:lnTo>
                        <a:pt x="125" y="0"/>
                      </a:lnTo>
                      <a:lnTo>
                        <a:pt x="133" y="3"/>
                      </a:lnTo>
                      <a:lnTo>
                        <a:pt x="142" y="6"/>
                      </a:lnTo>
                      <a:lnTo>
                        <a:pt x="151" y="6"/>
                      </a:lnTo>
                      <a:lnTo>
                        <a:pt x="157" y="7"/>
                      </a:lnTo>
                      <a:lnTo>
                        <a:pt x="158" y="7"/>
                      </a:lnTo>
                      <a:lnTo>
                        <a:pt x="162" y="7"/>
                      </a:lnTo>
                      <a:lnTo>
                        <a:pt x="164" y="9"/>
                      </a:lnTo>
                      <a:lnTo>
                        <a:pt x="167" y="10"/>
                      </a:lnTo>
                      <a:lnTo>
                        <a:pt x="170" y="19"/>
                      </a:lnTo>
                      <a:lnTo>
                        <a:pt x="168" y="32"/>
                      </a:lnTo>
                      <a:lnTo>
                        <a:pt x="165" y="44"/>
                      </a:lnTo>
                      <a:lnTo>
                        <a:pt x="164" y="52"/>
                      </a:lnTo>
                      <a:lnTo>
                        <a:pt x="164" y="54"/>
                      </a:lnTo>
                      <a:lnTo>
                        <a:pt x="162" y="55"/>
                      </a:lnTo>
                      <a:lnTo>
                        <a:pt x="164" y="62"/>
                      </a:lnTo>
                      <a:lnTo>
                        <a:pt x="162" y="70"/>
                      </a:lnTo>
                      <a:lnTo>
                        <a:pt x="160" y="76"/>
                      </a:lnTo>
                      <a:lnTo>
                        <a:pt x="152" y="80"/>
                      </a:lnTo>
                      <a:lnTo>
                        <a:pt x="141" y="83"/>
                      </a:lnTo>
                      <a:lnTo>
                        <a:pt x="123" y="84"/>
                      </a:lnTo>
                      <a:lnTo>
                        <a:pt x="98" y="84"/>
                      </a:lnTo>
                      <a:lnTo>
                        <a:pt x="75" y="86"/>
                      </a:lnTo>
                      <a:lnTo>
                        <a:pt x="50" y="86"/>
                      </a:lnTo>
                      <a:lnTo>
                        <a:pt x="0" y="84"/>
                      </a:lnTo>
                      <a:lnTo>
                        <a:pt x="7" y="81"/>
                      </a:lnTo>
                      <a:lnTo>
                        <a:pt x="14" y="77"/>
                      </a:lnTo>
                      <a:lnTo>
                        <a:pt x="21" y="74"/>
                      </a:lnTo>
                      <a:lnTo>
                        <a:pt x="37" y="67"/>
                      </a:lnTo>
                      <a:lnTo>
                        <a:pt x="52" y="58"/>
                      </a:lnTo>
                      <a:lnTo>
                        <a:pt x="69" y="52"/>
                      </a:lnTo>
                      <a:lnTo>
                        <a:pt x="88" y="48"/>
                      </a:lnTo>
                      <a:lnTo>
                        <a:pt x="101" y="39"/>
                      </a:lnTo>
                      <a:lnTo>
                        <a:pt x="110" y="29"/>
                      </a:lnTo>
                      <a:lnTo>
                        <a:pt x="116" y="19"/>
                      </a:lnTo>
                      <a:lnTo>
                        <a:pt x="120" y="9"/>
                      </a:lnTo>
                      <a:lnTo>
                        <a:pt x="122" y="3"/>
                      </a:lnTo>
                      <a:lnTo>
                        <a:pt x="123" y="0"/>
                      </a:lnTo>
                      <a:close/>
                    </a:path>
                  </a:pathLst>
                </a:custGeom>
                <a:solidFill>
                  <a:srgbClr val="FFE1B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74" name="Freeform 362"/>
                <p:cNvSpPr>
                  <a:spLocks/>
                </p:cNvSpPr>
                <p:nvPr/>
              </p:nvSpPr>
              <p:spPr bwMode="auto">
                <a:xfrm>
                  <a:off x="5927726" y="5313363"/>
                  <a:ext cx="26988" cy="26988"/>
                </a:xfrm>
                <a:custGeom>
                  <a:avLst/>
                  <a:gdLst>
                    <a:gd name="T0" fmla="*/ 5 w 17"/>
                    <a:gd name="T1" fmla="*/ 0 h 17"/>
                    <a:gd name="T2" fmla="*/ 7 w 17"/>
                    <a:gd name="T3" fmla="*/ 0 h 17"/>
                    <a:gd name="T4" fmla="*/ 17 w 17"/>
                    <a:gd name="T5" fmla="*/ 13 h 17"/>
                    <a:gd name="T6" fmla="*/ 17 w 17"/>
                    <a:gd name="T7" fmla="*/ 14 h 17"/>
                    <a:gd name="T8" fmla="*/ 16 w 17"/>
                    <a:gd name="T9" fmla="*/ 16 h 17"/>
                    <a:gd name="T10" fmla="*/ 14 w 17"/>
                    <a:gd name="T11" fmla="*/ 16 h 17"/>
                    <a:gd name="T12" fmla="*/ 13 w 17"/>
                    <a:gd name="T13" fmla="*/ 17 h 17"/>
                    <a:gd name="T14" fmla="*/ 11 w 17"/>
                    <a:gd name="T15" fmla="*/ 17 h 17"/>
                    <a:gd name="T16" fmla="*/ 10 w 17"/>
                    <a:gd name="T17" fmla="*/ 17 h 17"/>
                    <a:gd name="T18" fmla="*/ 0 w 17"/>
                    <a:gd name="T19" fmla="*/ 4 h 17"/>
                    <a:gd name="T20" fmla="*/ 0 w 17"/>
                    <a:gd name="T21" fmla="*/ 4 h 17"/>
                    <a:gd name="T22" fmla="*/ 0 w 17"/>
                    <a:gd name="T23" fmla="*/ 3 h 17"/>
                    <a:gd name="T24" fmla="*/ 1 w 17"/>
                    <a:gd name="T25" fmla="*/ 1 h 17"/>
                    <a:gd name="T26" fmla="*/ 4 w 17"/>
                    <a:gd name="T27" fmla="*/ 1 h 17"/>
                    <a:gd name="T28" fmla="*/ 5 w 17"/>
                    <a:gd name="T29" fmla="*/ 0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7" h="17">
                      <a:moveTo>
                        <a:pt x="5" y="0"/>
                      </a:moveTo>
                      <a:lnTo>
                        <a:pt x="7" y="0"/>
                      </a:lnTo>
                      <a:lnTo>
                        <a:pt x="17" y="13"/>
                      </a:lnTo>
                      <a:lnTo>
                        <a:pt x="17" y="14"/>
                      </a:lnTo>
                      <a:lnTo>
                        <a:pt x="16" y="16"/>
                      </a:lnTo>
                      <a:lnTo>
                        <a:pt x="14" y="16"/>
                      </a:lnTo>
                      <a:lnTo>
                        <a:pt x="13" y="17"/>
                      </a:lnTo>
                      <a:lnTo>
                        <a:pt x="11" y="17"/>
                      </a:lnTo>
                      <a:lnTo>
                        <a:pt x="10" y="17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3"/>
                      </a:lnTo>
                      <a:lnTo>
                        <a:pt x="1" y="1"/>
                      </a:lnTo>
                      <a:lnTo>
                        <a:pt x="4" y="1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75" name="Freeform 363"/>
                <p:cNvSpPr>
                  <a:spLocks/>
                </p:cNvSpPr>
                <p:nvPr/>
              </p:nvSpPr>
              <p:spPr bwMode="auto">
                <a:xfrm>
                  <a:off x="5959476" y="5308601"/>
                  <a:ext cx="26988" cy="26988"/>
                </a:xfrm>
                <a:custGeom>
                  <a:avLst/>
                  <a:gdLst>
                    <a:gd name="T0" fmla="*/ 6 w 17"/>
                    <a:gd name="T1" fmla="*/ 0 h 17"/>
                    <a:gd name="T2" fmla="*/ 7 w 17"/>
                    <a:gd name="T3" fmla="*/ 0 h 17"/>
                    <a:gd name="T4" fmla="*/ 17 w 17"/>
                    <a:gd name="T5" fmla="*/ 13 h 17"/>
                    <a:gd name="T6" fmla="*/ 17 w 17"/>
                    <a:gd name="T7" fmla="*/ 14 h 17"/>
                    <a:gd name="T8" fmla="*/ 16 w 17"/>
                    <a:gd name="T9" fmla="*/ 14 h 17"/>
                    <a:gd name="T10" fmla="*/ 14 w 17"/>
                    <a:gd name="T11" fmla="*/ 16 h 17"/>
                    <a:gd name="T12" fmla="*/ 13 w 17"/>
                    <a:gd name="T13" fmla="*/ 17 h 17"/>
                    <a:gd name="T14" fmla="*/ 12 w 17"/>
                    <a:gd name="T15" fmla="*/ 17 h 17"/>
                    <a:gd name="T16" fmla="*/ 10 w 17"/>
                    <a:gd name="T17" fmla="*/ 17 h 17"/>
                    <a:gd name="T18" fmla="*/ 0 w 17"/>
                    <a:gd name="T19" fmla="*/ 4 h 17"/>
                    <a:gd name="T20" fmla="*/ 0 w 17"/>
                    <a:gd name="T21" fmla="*/ 3 h 17"/>
                    <a:gd name="T22" fmla="*/ 0 w 17"/>
                    <a:gd name="T23" fmla="*/ 3 h 17"/>
                    <a:gd name="T24" fmla="*/ 1 w 17"/>
                    <a:gd name="T25" fmla="*/ 1 h 17"/>
                    <a:gd name="T26" fmla="*/ 4 w 17"/>
                    <a:gd name="T27" fmla="*/ 0 h 17"/>
                    <a:gd name="T28" fmla="*/ 6 w 17"/>
                    <a:gd name="T29" fmla="*/ 0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7" h="17">
                      <a:moveTo>
                        <a:pt x="6" y="0"/>
                      </a:moveTo>
                      <a:lnTo>
                        <a:pt x="7" y="0"/>
                      </a:lnTo>
                      <a:lnTo>
                        <a:pt x="17" y="13"/>
                      </a:lnTo>
                      <a:lnTo>
                        <a:pt x="17" y="14"/>
                      </a:lnTo>
                      <a:lnTo>
                        <a:pt x="16" y="14"/>
                      </a:lnTo>
                      <a:lnTo>
                        <a:pt x="14" y="16"/>
                      </a:lnTo>
                      <a:lnTo>
                        <a:pt x="13" y="17"/>
                      </a:lnTo>
                      <a:lnTo>
                        <a:pt x="12" y="17"/>
                      </a:lnTo>
                      <a:lnTo>
                        <a:pt x="10" y="17"/>
                      </a:lnTo>
                      <a:lnTo>
                        <a:pt x="0" y="4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1" y="1"/>
                      </a:lnTo>
                      <a:lnTo>
                        <a:pt x="4" y="0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76" name="Freeform 364"/>
                <p:cNvSpPr>
                  <a:spLocks/>
                </p:cNvSpPr>
                <p:nvPr/>
              </p:nvSpPr>
              <p:spPr bwMode="auto">
                <a:xfrm>
                  <a:off x="5986464" y="5302251"/>
                  <a:ext cx="30163" cy="26988"/>
                </a:xfrm>
                <a:custGeom>
                  <a:avLst/>
                  <a:gdLst>
                    <a:gd name="T0" fmla="*/ 6 w 19"/>
                    <a:gd name="T1" fmla="*/ 0 h 17"/>
                    <a:gd name="T2" fmla="*/ 8 w 19"/>
                    <a:gd name="T3" fmla="*/ 1 h 17"/>
                    <a:gd name="T4" fmla="*/ 19 w 19"/>
                    <a:gd name="T5" fmla="*/ 13 h 17"/>
                    <a:gd name="T6" fmla="*/ 19 w 19"/>
                    <a:gd name="T7" fmla="*/ 14 h 17"/>
                    <a:gd name="T8" fmla="*/ 18 w 19"/>
                    <a:gd name="T9" fmla="*/ 15 h 17"/>
                    <a:gd name="T10" fmla="*/ 16 w 19"/>
                    <a:gd name="T11" fmla="*/ 15 h 17"/>
                    <a:gd name="T12" fmla="*/ 13 w 19"/>
                    <a:gd name="T13" fmla="*/ 17 h 17"/>
                    <a:gd name="T14" fmla="*/ 12 w 19"/>
                    <a:gd name="T15" fmla="*/ 17 h 17"/>
                    <a:gd name="T16" fmla="*/ 12 w 19"/>
                    <a:gd name="T17" fmla="*/ 17 h 17"/>
                    <a:gd name="T18" fmla="*/ 0 w 19"/>
                    <a:gd name="T19" fmla="*/ 4 h 17"/>
                    <a:gd name="T20" fmla="*/ 0 w 19"/>
                    <a:gd name="T21" fmla="*/ 4 h 17"/>
                    <a:gd name="T22" fmla="*/ 2 w 19"/>
                    <a:gd name="T23" fmla="*/ 2 h 17"/>
                    <a:gd name="T24" fmla="*/ 3 w 19"/>
                    <a:gd name="T25" fmla="*/ 1 h 17"/>
                    <a:gd name="T26" fmla="*/ 5 w 19"/>
                    <a:gd name="T27" fmla="*/ 1 h 17"/>
                    <a:gd name="T28" fmla="*/ 6 w 19"/>
                    <a:gd name="T29" fmla="*/ 0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9" h="17">
                      <a:moveTo>
                        <a:pt x="6" y="0"/>
                      </a:moveTo>
                      <a:lnTo>
                        <a:pt x="8" y="1"/>
                      </a:lnTo>
                      <a:lnTo>
                        <a:pt x="19" y="13"/>
                      </a:lnTo>
                      <a:lnTo>
                        <a:pt x="19" y="14"/>
                      </a:lnTo>
                      <a:lnTo>
                        <a:pt x="18" y="15"/>
                      </a:lnTo>
                      <a:lnTo>
                        <a:pt x="16" y="15"/>
                      </a:lnTo>
                      <a:lnTo>
                        <a:pt x="13" y="17"/>
                      </a:lnTo>
                      <a:lnTo>
                        <a:pt x="12" y="17"/>
                      </a:lnTo>
                      <a:lnTo>
                        <a:pt x="12" y="17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2" y="2"/>
                      </a:lnTo>
                      <a:lnTo>
                        <a:pt x="3" y="1"/>
                      </a:lnTo>
                      <a:lnTo>
                        <a:pt x="5" y="1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77" name="Freeform 365"/>
                <p:cNvSpPr>
                  <a:spLocks/>
                </p:cNvSpPr>
                <p:nvPr/>
              </p:nvSpPr>
              <p:spPr bwMode="auto">
                <a:xfrm>
                  <a:off x="6550026" y="3570288"/>
                  <a:ext cx="3175" cy="9525"/>
                </a:xfrm>
                <a:custGeom>
                  <a:avLst/>
                  <a:gdLst>
                    <a:gd name="T0" fmla="*/ 2 w 2"/>
                    <a:gd name="T1" fmla="*/ 0 h 6"/>
                    <a:gd name="T2" fmla="*/ 0 w 2"/>
                    <a:gd name="T3" fmla="*/ 6 h 6"/>
                    <a:gd name="T4" fmla="*/ 0 w 2"/>
                    <a:gd name="T5" fmla="*/ 2 h 6"/>
                    <a:gd name="T6" fmla="*/ 2 w 2"/>
                    <a:gd name="T7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6">
                      <a:moveTo>
                        <a:pt x="2" y="0"/>
                      </a:moveTo>
                      <a:lnTo>
                        <a:pt x="0" y="6"/>
                      </a:lnTo>
                      <a:lnTo>
                        <a:pt x="0" y="2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05010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78" name="Freeform 366"/>
                <p:cNvSpPr>
                  <a:spLocks noEditPoints="1"/>
                </p:cNvSpPr>
                <p:nvPr/>
              </p:nvSpPr>
              <p:spPr bwMode="auto">
                <a:xfrm>
                  <a:off x="6437314" y="3573463"/>
                  <a:ext cx="112713" cy="73025"/>
                </a:xfrm>
                <a:custGeom>
                  <a:avLst/>
                  <a:gdLst>
                    <a:gd name="T0" fmla="*/ 16 w 71"/>
                    <a:gd name="T1" fmla="*/ 32 h 46"/>
                    <a:gd name="T2" fmla="*/ 26 w 71"/>
                    <a:gd name="T3" fmla="*/ 38 h 46"/>
                    <a:gd name="T4" fmla="*/ 38 w 71"/>
                    <a:gd name="T5" fmla="*/ 42 h 46"/>
                    <a:gd name="T6" fmla="*/ 32 w 71"/>
                    <a:gd name="T7" fmla="*/ 45 h 46"/>
                    <a:gd name="T8" fmla="*/ 25 w 71"/>
                    <a:gd name="T9" fmla="*/ 45 h 46"/>
                    <a:gd name="T10" fmla="*/ 17 w 71"/>
                    <a:gd name="T11" fmla="*/ 46 h 46"/>
                    <a:gd name="T12" fmla="*/ 15 w 71"/>
                    <a:gd name="T13" fmla="*/ 46 h 46"/>
                    <a:gd name="T14" fmla="*/ 6 w 71"/>
                    <a:gd name="T15" fmla="*/ 46 h 46"/>
                    <a:gd name="T16" fmla="*/ 0 w 71"/>
                    <a:gd name="T17" fmla="*/ 39 h 46"/>
                    <a:gd name="T18" fmla="*/ 16 w 71"/>
                    <a:gd name="T19" fmla="*/ 32 h 46"/>
                    <a:gd name="T20" fmla="*/ 71 w 71"/>
                    <a:gd name="T21" fmla="*/ 0 h 46"/>
                    <a:gd name="T22" fmla="*/ 71 w 71"/>
                    <a:gd name="T23" fmla="*/ 4 h 46"/>
                    <a:gd name="T24" fmla="*/ 70 w 71"/>
                    <a:gd name="T25" fmla="*/ 14 h 46"/>
                    <a:gd name="T26" fmla="*/ 64 w 71"/>
                    <a:gd name="T27" fmla="*/ 23 h 46"/>
                    <a:gd name="T28" fmla="*/ 55 w 71"/>
                    <a:gd name="T29" fmla="*/ 32 h 46"/>
                    <a:gd name="T30" fmla="*/ 42 w 71"/>
                    <a:gd name="T31" fmla="*/ 40 h 46"/>
                    <a:gd name="T32" fmla="*/ 17 w 71"/>
                    <a:gd name="T33" fmla="*/ 30 h 46"/>
                    <a:gd name="T34" fmla="*/ 44 w 71"/>
                    <a:gd name="T35" fmla="*/ 16 h 46"/>
                    <a:gd name="T36" fmla="*/ 54 w 71"/>
                    <a:gd name="T37" fmla="*/ 10 h 46"/>
                    <a:gd name="T38" fmla="*/ 71 w 71"/>
                    <a:gd name="T39" fmla="*/ 0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71" h="46">
                      <a:moveTo>
                        <a:pt x="16" y="32"/>
                      </a:moveTo>
                      <a:lnTo>
                        <a:pt x="26" y="38"/>
                      </a:lnTo>
                      <a:lnTo>
                        <a:pt x="38" y="42"/>
                      </a:lnTo>
                      <a:lnTo>
                        <a:pt x="32" y="45"/>
                      </a:lnTo>
                      <a:lnTo>
                        <a:pt x="25" y="45"/>
                      </a:lnTo>
                      <a:lnTo>
                        <a:pt x="17" y="46"/>
                      </a:lnTo>
                      <a:lnTo>
                        <a:pt x="15" y="46"/>
                      </a:lnTo>
                      <a:lnTo>
                        <a:pt x="6" y="46"/>
                      </a:lnTo>
                      <a:lnTo>
                        <a:pt x="0" y="39"/>
                      </a:lnTo>
                      <a:lnTo>
                        <a:pt x="16" y="32"/>
                      </a:lnTo>
                      <a:close/>
                      <a:moveTo>
                        <a:pt x="71" y="0"/>
                      </a:moveTo>
                      <a:lnTo>
                        <a:pt x="71" y="4"/>
                      </a:lnTo>
                      <a:lnTo>
                        <a:pt x="70" y="14"/>
                      </a:lnTo>
                      <a:lnTo>
                        <a:pt x="64" y="23"/>
                      </a:lnTo>
                      <a:lnTo>
                        <a:pt x="55" y="32"/>
                      </a:lnTo>
                      <a:lnTo>
                        <a:pt x="42" y="40"/>
                      </a:lnTo>
                      <a:lnTo>
                        <a:pt x="17" y="30"/>
                      </a:lnTo>
                      <a:lnTo>
                        <a:pt x="44" y="16"/>
                      </a:lnTo>
                      <a:lnTo>
                        <a:pt x="54" y="10"/>
                      </a:lnTo>
                      <a:lnTo>
                        <a:pt x="71" y="0"/>
                      </a:lnTo>
                      <a:close/>
                    </a:path>
                  </a:pathLst>
                </a:custGeom>
                <a:solidFill>
                  <a:srgbClr val="520002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79" name="Freeform 367"/>
                <p:cNvSpPr>
                  <a:spLocks/>
                </p:cNvSpPr>
                <p:nvPr/>
              </p:nvSpPr>
              <p:spPr bwMode="auto">
                <a:xfrm>
                  <a:off x="6462714" y="3621088"/>
                  <a:ext cx="41275" cy="19050"/>
                </a:xfrm>
                <a:custGeom>
                  <a:avLst/>
                  <a:gdLst>
                    <a:gd name="T0" fmla="*/ 1 w 26"/>
                    <a:gd name="T1" fmla="*/ 0 h 12"/>
                    <a:gd name="T2" fmla="*/ 26 w 26"/>
                    <a:gd name="T3" fmla="*/ 10 h 12"/>
                    <a:gd name="T4" fmla="*/ 22 w 26"/>
                    <a:gd name="T5" fmla="*/ 12 h 12"/>
                    <a:gd name="T6" fmla="*/ 10 w 26"/>
                    <a:gd name="T7" fmla="*/ 8 h 12"/>
                    <a:gd name="T8" fmla="*/ 0 w 26"/>
                    <a:gd name="T9" fmla="*/ 2 h 12"/>
                    <a:gd name="T10" fmla="*/ 1 w 26"/>
                    <a:gd name="T11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6" h="12">
                      <a:moveTo>
                        <a:pt x="1" y="0"/>
                      </a:moveTo>
                      <a:lnTo>
                        <a:pt x="26" y="10"/>
                      </a:lnTo>
                      <a:lnTo>
                        <a:pt x="22" y="12"/>
                      </a:lnTo>
                      <a:lnTo>
                        <a:pt x="10" y="8"/>
                      </a:lnTo>
                      <a:lnTo>
                        <a:pt x="0" y="2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solidFill>
                  <a:srgbClr val="4E000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80" name="Freeform 368"/>
                <p:cNvSpPr>
                  <a:spLocks/>
                </p:cNvSpPr>
                <p:nvPr/>
              </p:nvSpPr>
              <p:spPr bwMode="auto">
                <a:xfrm>
                  <a:off x="6461126" y="3660776"/>
                  <a:ext cx="71438" cy="61913"/>
                </a:xfrm>
                <a:custGeom>
                  <a:avLst/>
                  <a:gdLst>
                    <a:gd name="T0" fmla="*/ 0 w 45"/>
                    <a:gd name="T1" fmla="*/ 0 h 39"/>
                    <a:gd name="T2" fmla="*/ 7 w 45"/>
                    <a:gd name="T3" fmla="*/ 1 h 39"/>
                    <a:gd name="T4" fmla="*/ 14 w 45"/>
                    <a:gd name="T5" fmla="*/ 1 h 39"/>
                    <a:gd name="T6" fmla="*/ 45 w 45"/>
                    <a:gd name="T7" fmla="*/ 3 h 39"/>
                    <a:gd name="T8" fmla="*/ 36 w 45"/>
                    <a:gd name="T9" fmla="*/ 39 h 39"/>
                    <a:gd name="T10" fmla="*/ 0 w 45"/>
                    <a:gd name="T11" fmla="*/ 0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5" h="39">
                      <a:moveTo>
                        <a:pt x="0" y="0"/>
                      </a:moveTo>
                      <a:lnTo>
                        <a:pt x="7" y="1"/>
                      </a:lnTo>
                      <a:lnTo>
                        <a:pt x="14" y="1"/>
                      </a:lnTo>
                      <a:lnTo>
                        <a:pt x="45" y="3"/>
                      </a:lnTo>
                      <a:lnTo>
                        <a:pt x="36" y="3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78030A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81" name="Freeform 369"/>
                <p:cNvSpPr>
                  <a:spLocks noEditPoints="1"/>
                </p:cNvSpPr>
                <p:nvPr/>
              </p:nvSpPr>
              <p:spPr bwMode="auto">
                <a:xfrm>
                  <a:off x="6446839" y="3646488"/>
                  <a:ext cx="17463" cy="0"/>
                </a:xfrm>
                <a:custGeom>
                  <a:avLst/>
                  <a:gdLst>
                    <a:gd name="T0" fmla="*/ 11 w 11"/>
                    <a:gd name="T1" fmla="*/ 9 w 11"/>
                    <a:gd name="T2" fmla="*/ 9 w 11"/>
                    <a:gd name="T3" fmla="*/ 11 w 11"/>
                    <a:gd name="T4" fmla="*/ 0 w 11"/>
                    <a:gd name="T5" fmla="*/ 9 w 11"/>
                    <a:gd name="T6" fmla="*/ 9 w 11"/>
                    <a:gd name="T7" fmla="*/ 0 w 11"/>
                    <a:gd name="T8" fmla="*/ 0 w 1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</a:cxnLst>
                  <a:rect l="0" t="0" r="r" b="b"/>
                  <a:pathLst>
                    <a:path w="11">
                      <a:moveTo>
                        <a:pt x="11" y="0"/>
                      </a:moveTo>
                      <a:lnTo>
                        <a:pt x="9" y="0"/>
                      </a:lnTo>
                      <a:lnTo>
                        <a:pt x="9" y="0"/>
                      </a:lnTo>
                      <a:lnTo>
                        <a:pt x="11" y="0"/>
                      </a:lnTo>
                      <a:close/>
                      <a:moveTo>
                        <a:pt x="0" y="0"/>
                      </a:moveTo>
                      <a:lnTo>
                        <a:pt x="9" y="0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3800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82" name="Freeform 370"/>
                <p:cNvSpPr>
                  <a:spLocks/>
                </p:cNvSpPr>
                <p:nvPr/>
              </p:nvSpPr>
              <p:spPr bwMode="auto">
                <a:xfrm>
                  <a:off x="6446839" y="3595688"/>
                  <a:ext cx="101600" cy="69850"/>
                </a:xfrm>
                <a:custGeom>
                  <a:avLst/>
                  <a:gdLst>
                    <a:gd name="T0" fmla="*/ 64 w 64"/>
                    <a:gd name="T1" fmla="*/ 0 h 44"/>
                    <a:gd name="T2" fmla="*/ 54 w 64"/>
                    <a:gd name="T3" fmla="*/ 44 h 44"/>
                    <a:gd name="T4" fmla="*/ 23 w 64"/>
                    <a:gd name="T5" fmla="*/ 42 h 44"/>
                    <a:gd name="T6" fmla="*/ 16 w 64"/>
                    <a:gd name="T7" fmla="*/ 42 h 44"/>
                    <a:gd name="T8" fmla="*/ 9 w 64"/>
                    <a:gd name="T9" fmla="*/ 41 h 44"/>
                    <a:gd name="T10" fmla="*/ 0 w 64"/>
                    <a:gd name="T11" fmla="*/ 32 h 44"/>
                    <a:gd name="T12" fmla="*/ 9 w 64"/>
                    <a:gd name="T13" fmla="*/ 32 h 44"/>
                    <a:gd name="T14" fmla="*/ 11 w 64"/>
                    <a:gd name="T15" fmla="*/ 32 h 44"/>
                    <a:gd name="T16" fmla="*/ 29 w 64"/>
                    <a:gd name="T17" fmla="*/ 29 h 44"/>
                    <a:gd name="T18" fmla="*/ 42 w 64"/>
                    <a:gd name="T19" fmla="*/ 24 h 44"/>
                    <a:gd name="T20" fmla="*/ 52 w 64"/>
                    <a:gd name="T21" fmla="*/ 16 h 44"/>
                    <a:gd name="T22" fmla="*/ 59 w 64"/>
                    <a:gd name="T23" fmla="*/ 8 h 44"/>
                    <a:gd name="T24" fmla="*/ 64 w 64"/>
                    <a:gd name="T25" fmla="*/ 0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64" h="44">
                      <a:moveTo>
                        <a:pt x="64" y="0"/>
                      </a:moveTo>
                      <a:lnTo>
                        <a:pt x="54" y="44"/>
                      </a:lnTo>
                      <a:lnTo>
                        <a:pt x="23" y="42"/>
                      </a:lnTo>
                      <a:lnTo>
                        <a:pt x="16" y="42"/>
                      </a:lnTo>
                      <a:lnTo>
                        <a:pt x="9" y="41"/>
                      </a:lnTo>
                      <a:lnTo>
                        <a:pt x="0" y="32"/>
                      </a:lnTo>
                      <a:lnTo>
                        <a:pt x="9" y="32"/>
                      </a:lnTo>
                      <a:lnTo>
                        <a:pt x="11" y="32"/>
                      </a:lnTo>
                      <a:lnTo>
                        <a:pt x="29" y="29"/>
                      </a:lnTo>
                      <a:lnTo>
                        <a:pt x="42" y="24"/>
                      </a:lnTo>
                      <a:lnTo>
                        <a:pt x="52" y="16"/>
                      </a:lnTo>
                      <a:lnTo>
                        <a:pt x="59" y="8"/>
                      </a:lnTo>
                      <a:lnTo>
                        <a:pt x="64" y="0"/>
                      </a:lnTo>
                      <a:close/>
                    </a:path>
                  </a:pathLst>
                </a:custGeom>
                <a:solidFill>
                  <a:srgbClr val="520002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83" name="Freeform 371"/>
                <p:cNvSpPr>
                  <a:spLocks/>
                </p:cNvSpPr>
                <p:nvPr/>
              </p:nvSpPr>
              <p:spPr bwMode="auto">
                <a:xfrm>
                  <a:off x="6432551" y="3570288"/>
                  <a:ext cx="120650" cy="138113"/>
                </a:xfrm>
                <a:custGeom>
                  <a:avLst/>
                  <a:gdLst>
                    <a:gd name="T0" fmla="*/ 76 w 76"/>
                    <a:gd name="T1" fmla="*/ 0 h 87"/>
                    <a:gd name="T2" fmla="*/ 47 w 76"/>
                    <a:gd name="T3" fmla="*/ 87 h 87"/>
                    <a:gd name="T4" fmla="*/ 0 w 76"/>
                    <a:gd name="T5" fmla="*/ 35 h 87"/>
                    <a:gd name="T6" fmla="*/ 76 w 76"/>
                    <a:gd name="T7" fmla="*/ 0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6" h="87">
                      <a:moveTo>
                        <a:pt x="76" y="0"/>
                      </a:moveTo>
                      <a:lnTo>
                        <a:pt x="47" y="87"/>
                      </a:lnTo>
                      <a:lnTo>
                        <a:pt x="0" y="35"/>
                      </a:lnTo>
                      <a:lnTo>
                        <a:pt x="76" y="0"/>
                      </a:lnTo>
                      <a:close/>
                    </a:path>
                  </a:pathLst>
                </a:custGeom>
                <a:solidFill>
                  <a:srgbClr val="AF1B32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84" name="Freeform 375"/>
                <p:cNvSpPr>
                  <a:spLocks/>
                </p:cNvSpPr>
                <p:nvPr/>
              </p:nvSpPr>
              <p:spPr bwMode="auto">
                <a:xfrm>
                  <a:off x="2957514" y="5375276"/>
                  <a:ext cx="25400" cy="1588"/>
                </a:xfrm>
                <a:custGeom>
                  <a:avLst/>
                  <a:gdLst>
                    <a:gd name="T0" fmla="*/ 9 w 16"/>
                    <a:gd name="T1" fmla="*/ 0 h 1"/>
                    <a:gd name="T2" fmla="*/ 10 w 16"/>
                    <a:gd name="T3" fmla="*/ 0 h 1"/>
                    <a:gd name="T4" fmla="*/ 12 w 16"/>
                    <a:gd name="T5" fmla="*/ 0 h 1"/>
                    <a:gd name="T6" fmla="*/ 15 w 16"/>
                    <a:gd name="T7" fmla="*/ 0 h 1"/>
                    <a:gd name="T8" fmla="*/ 16 w 16"/>
                    <a:gd name="T9" fmla="*/ 0 h 1"/>
                    <a:gd name="T10" fmla="*/ 16 w 16"/>
                    <a:gd name="T11" fmla="*/ 0 h 1"/>
                    <a:gd name="T12" fmla="*/ 12 w 16"/>
                    <a:gd name="T13" fmla="*/ 1 h 1"/>
                    <a:gd name="T14" fmla="*/ 9 w 16"/>
                    <a:gd name="T15" fmla="*/ 1 h 1"/>
                    <a:gd name="T16" fmla="*/ 7 w 16"/>
                    <a:gd name="T17" fmla="*/ 1 h 1"/>
                    <a:gd name="T18" fmla="*/ 6 w 16"/>
                    <a:gd name="T19" fmla="*/ 1 h 1"/>
                    <a:gd name="T20" fmla="*/ 4 w 16"/>
                    <a:gd name="T21" fmla="*/ 1 h 1"/>
                    <a:gd name="T22" fmla="*/ 3 w 16"/>
                    <a:gd name="T23" fmla="*/ 1 h 1"/>
                    <a:gd name="T24" fmla="*/ 1 w 16"/>
                    <a:gd name="T25" fmla="*/ 1 h 1"/>
                    <a:gd name="T26" fmla="*/ 0 w 16"/>
                    <a:gd name="T27" fmla="*/ 1 h 1"/>
                    <a:gd name="T28" fmla="*/ 4 w 16"/>
                    <a:gd name="T29" fmla="*/ 0 h 1"/>
                    <a:gd name="T30" fmla="*/ 7 w 16"/>
                    <a:gd name="T31" fmla="*/ 0 h 1"/>
                    <a:gd name="T32" fmla="*/ 9 w 16"/>
                    <a:gd name="T3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6" h="1">
                      <a:moveTo>
                        <a:pt x="9" y="0"/>
                      </a:moveTo>
                      <a:lnTo>
                        <a:pt x="10" y="0"/>
                      </a:lnTo>
                      <a:lnTo>
                        <a:pt x="12" y="0"/>
                      </a:lnTo>
                      <a:lnTo>
                        <a:pt x="15" y="0"/>
                      </a:lnTo>
                      <a:lnTo>
                        <a:pt x="16" y="0"/>
                      </a:lnTo>
                      <a:lnTo>
                        <a:pt x="16" y="0"/>
                      </a:lnTo>
                      <a:lnTo>
                        <a:pt x="12" y="1"/>
                      </a:lnTo>
                      <a:lnTo>
                        <a:pt x="9" y="1"/>
                      </a:lnTo>
                      <a:lnTo>
                        <a:pt x="7" y="1"/>
                      </a:lnTo>
                      <a:lnTo>
                        <a:pt x="6" y="1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4" y="0"/>
                      </a:lnTo>
                      <a:lnTo>
                        <a:pt x="7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solidFill>
                  <a:srgbClr val="DDD7D8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85" name="Freeform 376"/>
                <p:cNvSpPr>
                  <a:spLocks/>
                </p:cNvSpPr>
                <p:nvPr/>
              </p:nvSpPr>
              <p:spPr bwMode="auto">
                <a:xfrm>
                  <a:off x="2922589" y="5375276"/>
                  <a:ext cx="25400" cy="1588"/>
                </a:xfrm>
                <a:custGeom>
                  <a:avLst/>
                  <a:gdLst>
                    <a:gd name="T0" fmla="*/ 9 w 16"/>
                    <a:gd name="T1" fmla="*/ 0 h 1"/>
                    <a:gd name="T2" fmla="*/ 10 w 16"/>
                    <a:gd name="T3" fmla="*/ 0 h 1"/>
                    <a:gd name="T4" fmla="*/ 12 w 16"/>
                    <a:gd name="T5" fmla="*/ 0 h 1"/>
                    <a:gd name="T6" fmla="*/ 15 w 16"/>
                    <a:gd name="T7" fmla="*/ 0 h 1"/>
                    <a:gd name="T8" fmla="*/ 16 w 16"/>
                    <a:gd name="T9" fmla="*/ 0 h 1"/>
                    <a:gd name="T10" fmla="*/ 16 w 16"/>
                    <a:gd name="T11" fmla="*/ 0 h 1"/>
                    <a:gd name="T12" fmla="*/ 13 w 16"/>
                    <a:gd name="T13" fmla="*/ 0 h 1"/>
                    <a:gd name="T14" fmla="*/ 12 w 16"/>
                    <a:gd name="T15" fmla="*/ 0 h 1"/>
                    <a:gd name="T16" fmla="*/ 9 w 16"/>
                    <a:gd name="T17" fmla="*/ 1 h 1"/>
                    <a:gd name="T18" fmla="*/ 7 w 16"/>
                    <a:gd name="T19" fmla="*/ 1 h 1"/>
                    <a:gd name="T20" fmla="*/ 6 w 16"/>
                    <a:gd name="T21" fmla="*/ 1 h 1"/>
                    <a:gd name="T22" fmla="*/ 5 w 16"/>
                    <a:gd name="T23" fmla="*/ 1 h 1"/>
                    <a:gd name="T24" fmla="*/ 2 w 16"/>
                    <a:gd name="T25" fmla="*/ 1 h 1"/>
                    <a:gd name="T26" fmla="*/ 0 w 16"/>
                    <a:gd name="T27" fmla="*/ 1 h 1"/>
                    <a:gd name="T28" fmla="*/ 3 w 16"/>
                    <a:gd name="T29" fmla="*/ 0 h 1"/>
                    <a:gd name="T30" fmla="*/ 6 w 16"/>
                    <a:gd name="T31" fmla="*/ 0 h 1"/>
                    <a:gd name="T32" fmla="*/ 7 w 16"/>
                    <a:gd name="T33" fmla="*/ 0 h 1"/>
                    <a:gd name="T34" fmla="*/ 9 w 16"/>
                    <a:gd name="T3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6" h="1">
                      <a:moveTo>
                        <a:pt x="9" y="0"/>
                      </a:moveTo>
                      <a:lnTo>
                        <a:pt x="10" y="0"/>
                      </a:lnTo>
                      <a:lnTo>
                        <a:pt x="12" y="0"/>
                      </a:lnTo>
                      <a:lnTo>
                        <a:pt x="15" y="0"/>
                      </a:lnTo>
                      <a:lnTo>
                        <a:pt x="16" y="0"/>
                      </a:lnTo>
                      <a:lnTo>
                        <a:pt x="16" y="0"/>
                      </a:lnTo>
                      <a:lnTo>
                        <a:pt x="13" y="0"/>
                      </a:lnTo>
                      <a:lnTo>
                        <a:pt x="12" y="0"/>
                      </a:lnTo>
                      <a:lnTo>
                        <a:pt x="9" y="1"/>
                      </a:lnTo>
                      <a:lnTo>
                        <a:pt x="7" y="1"/>
                      </a:lnTo>
                      <a:lnTo>
                        <a:pt x="6" y="1"/>
                      </a:lnTo>
                      <a:lnTo>
                        <a:pt x="5" y="1"/>
                      </a:lnTo>
                      <a:lnTo>
                        <a:pt x="2" y="1"/>
                      </a:lnTo>
                      <a:lnTo>
                        <a:pt x="0" y="1"/>
                      </a:lnTo>
                      <a:lnTo>
                        <a:pt x="3" y="0"/>
                      </a:lnTo>
                      <a:lnTo>
                        <a:pt x="6" y="0"/>
                      </a:lnTo>
                      <a:lnTo>
                        <a:pt x="7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solidFill>
                  <a:srgbClr val="DDD7D8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86" name="Freeform 377"/>
                <p:cNvSpPr>
                  <a:spLocks/>
                </p:cNvSpPr>
                <p:nvPr/>
              </p:nvSpPr>
              <p:spPr bwMode="auto">
                <a:xfrm>
                  <a:off x="2892426" y="5375276"/>
                  <a:ext cx="23813" cy="1588"/>
                </a:xfrm>
                <a:custGeom>
                  <a:avLst/>
                  <a:gdLst>
                    <a:gd name="T0" fmla="*/ 8 w 15"/>
                    <a:gd name="T1" fmla="*/ 0 h 1"/>
                    <a:gd name="T2" fmla="*/ 8 w 15"/>
                    <a:gd name="T3" fmla="*/ 0 h 1"/>
                    <a:gd name="T4" fmla="*/ 9 w 15"/>
                    <a:gd name="T5" fmla="*/ 0 h 1"/>
                    <a:gd name="T6" fmla="*/ 12 w 15"/>
                    <a:gd name="T7" fmla="*/ 0 h 1"/>
                    <a:gd name="T8" fmla="*/ 13 w 15"/>
                    <a:gd name="T9" fmla="*/ 0 h 1"/>
                    <a:gd name="T10" fmla="*/ 15 w 15"/>
                    <a:gd name="T11" fmla="*/ 0 h 1"/>
                    <a:gd name="T12" fmla="*/ 15 w 15"/>
                    <a:gd name="T13" fmla="*/ 0 h 1"/>
                    <a:gd name="T14" fmla="*/ 12 w 15"/>
                    <a:gd name="T15" fmla="*/ 0 h 1"/>
                    <a:gd name="T16" fmla="*/ 9 w 15"/>
                    <a:gd name="T17" fmla="*/ 0 h 1"/>
                    <a:gd name="T18" fmla="*/ 8 w 15"/>
                    <a:gd name="T19" fmla="*/ 1 h 1"/>
                    <a:gd name="T20" fmla="*/ 6 w 15"/>
                    <a:gd name="T21" fmla="*/ 0 h 1"/>
                    <a:gd name="T22" fmla="*/ 3 w 15"/>
                    <a:gd name="T23" fmla="*/ 0 h 1"/>
                    <a:gd name="T24" fmla="*/ 2 w 15"/>
                    <a:gd name="T25" fmla="*/ 0 h 1"/>
                    <a:gd name="T26" fmla="*/ 0 w 15"/>
                    <a:gd name="T27" fmla="*/ 0 h 1"/>
                    <a:gd name="T28" fmla="*/ 0 w 15"/>
                    <a:gd name="T29" fmla="*/ 0 h 1"/>
                    <a:gd name="T30" fmla="*/ 3 w 15"/>
                    <a:gd name="T31" fmla="*/ 0 h 1"/>
                    <a:gd name="T32" fmla="*/ 8 w 15"/>
                    <a:gd name="T3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5" h="1">
                      <a:moveTo>
                        <a:pt x="8" y="0"/>
                      </a:moveTo>
                      <a:lnTo>
                        <a:pt x="8" y="0"/>
                      </a:lnTo>
                      <a:lnTo>
                        <a:pt x="9" y="0"/>
                      </a:lnTo>
                      <a:lnTo>
                        <a:pt x="12" y="0"/>
                      </a:lnTo>
                      <a:lnTo>
                        <a:pt x="13" y="0"/>
                      </a:lnTo>
                      <a:lnTo>
                        <a:pt x="15" y="0"/>
                      </a:lnTo>
                      <a:lnTo>
                        <a:pt x="15" y="0"/>
                      </a:lnTo>
                      <a:lnTo>
                        <a:pt x="12" y="0"/>
                      </a:lnTo>
                      <a:lnTo>
                        <a:pt x="9" y="0"/>
                      </a:lnTo>
                      <a:lnTo>
                        <a:pt x="8" y="1"/>
                      </a:lnTo>
                      <a:lnTo>
                        <a:pt x="6" y="0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DDD7D8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87" name="Rectangle 378"/>
                <p:cNvSpPr>
                  <a:spLocks noChangeArrowheads="1"/>
                </p:cNvSpPr>
                <p:nvPr/>
              </p:nvSpPr>
              <p:spPr bwMode="auto">
                <a:xfrm>
                  <a:off x="2343151" y="4740276"/>
                  <a:ext cx="101600" cy="441325"/>
                </a:xfrm>
                <a:prstGeom prst="rect">
                  <a:avLst/>
                </a:prstGeom>
                <a:solidFill>
                  <a:srgbClr val="FFF0D7"/>
                </a:soli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88" name="Rectangle 379"/>
                <p:cNvSpPr>
                  <a:spLocks noChangeArrowheads="1"/>
                </p:cNvSpPr>
                <p:nvPr/>
              </p:nvSpPr>
              <p:spPr bwMode="auto">
                <a:xfrm>
                  <a:off x="2343151" y="4821238"/>
                  <a:ext cx="101600" cy="360363"/>
                </a:xfrm>
                <a:prstGeom prst="rect">
                  <a:avLst/>
                </a:prstGeom>
                <a:solidFill>
                  <a:srgbClr val="FFE1B4"/>
                </a:soli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89" name="Freeform 380"/>
                <p:cNvSpPr>
                  <a:spLocks/>
                </p:cNvSpPr>
                <p:nvPr/>
              </p:nvSpPr>
              <p:spPr bwMode="auto">
                <a:xfrm>
                  <a:off x="2109789" y="5151438"/>
                  <a:ext cx="568325" cy="212725"/>
                </a:xfrm>
                <a:custGeom>
                  <a:avLst/>
                  <a:gdLst>
                    <a:gd name="T0" fmla="*/ 156 w 358"/>
                    <a:gd name="T1" fmla="*/ 0 h 134"/>
                    <a:gd name="T2" fmla="*/ 202 w 358"/>
                    <a:gd name="T3" fmla="*/ 0 h 134"/>
                    <a:gd name="T4" fmla="*/ 237 w 358"/>
                    <a:gd name="T5" fmla="*/ 3 h 134"/>
                    <a:gd name="T6" fmla="*/ 268 w 358"/>
                    <a:gd name="T7" fmla="*/ 13 h 134"/>
                    <a:gd name="T8" fmla="*/ 297 w 358"/>
                    <a:gd name="T9" fmla="*/ 29 h 134"/>
                    <a:gd name="T10" fmla="*/ 320 w 358"/>
                    <a:gd name="T11" fmla="*/ 49 h 134"/>
                    <a:gd name="T12" fmla="*/ 339 w 358"/>
                    <a:gd name="T13" fmla="*/ 74 h 134"/>
                    <a:gd name="T14" fmla="*/ 352 w 358"/>
                    <a:gd name="T15" fmla="*/ 102 h 134"/>
                    <a:gd name="T16" fmla="*/ 358 w 358"/>
                    <a:gd name="T17" fmla="*/ 134 h 134"/>
                    <a:gd name="T18" fmla="*/ 300 w 358"/>
                    <a:gd name="T19" fmla="*/ 134 h 134"/>
                    <a:gd name="T20" fmla="*/ 290 w 358"/>
                    <a:gd name="T21" fmla="*/ 108 h 134"/>
                    <a:gd name="T22" fmla="*/ 274 w 358"/>
                    <a:gd name="T23" fmla="*/ 86 h 134"/>
                    <a:gd name="T24" fmla="*/ 252 w 358"/>
                    <a:gd name="T25" fmla="*/ 68 h 134"/>
                    <a:gd name="T26" fmla="*/ 224 w 358"/>
                    <a:gd name="T27" fmla="*/ 58 h 134"/>
                    <a:gd name="T28" fmla="*/ 195 w 358"/>
                    <a:gd name="T29" fmla="*/ 54 h 134"/>
                    <a:gd name="T30" fmla="*/ 163 w 358"/>
                    <a:gd name="T31" fmla="*/ 54 h 134"/>
                    <a:gd name="T32" fmla="*/ 134 w 358"/>
                    <a:gd name="T33" fmla="*/ 58 h 134"/>
                    <a:gd name="T34" fmla="*/ 106 w 358"/>
                    <a:gd name="T35" fmla="*/ 68 h 134"/>
                    <a:gd name="T36" fmla="*/ 85 w 358"/>
                    <a:gd name="T37" fmla="*/ 86 h 134"/>
                    <a:gd name="T38" fmla="*/ 69 w 358"/>
                    <a:gd name="T39" fmla="*/ 108 h 134"/>
                    <a:gd name="T40" fmla="*/ 58 w 358"/>
                    <a:gd name="T41" fmla="*/ 134 h 134"/>
                    <a:gd name="T42" fmla="*/ 0 w 358"/>
                    <a:gd name="T43" fmla="*/ 134 h 134"/>
                    <a:gd name="T44" fmla="*/ 6 w 358"/>
                    <a:gd name="T45" fmla="*/ 102 h 134"/>
                    <a:gd name="T46" fmla="*/ 19 w 358"/>
                    <a:gd name="T47" fmla="*/ 74 h 134"/>
                    <a:gd name="T48" fmla="*/ 38 w 358"/>
                    <a:gd name="T49" fmla="*/ 49 h 134"/>
                    <a:gd name="T50" fmla="*/ 61 w 358"/>
                    <a:gd name="T51" fmla="*/ 29 h 134"/>
                    <a:gd name="T52" fmla="*/ 90 w 358"/>
                    <a:gd name="T53" fmla="*/ 13 h 134"/>
                    <a:gd name="T54" fmla="*/ 122 w 358"/>
                    <a:gd name="T55" fmla="*/ 3 h 134"/>
                    <a:gd name="T56" fmla="*/ 156 w 358"/>
                    <a:gd name="T57" fmla="*/ 0 h 1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58" h="134">
                      <a:moveTo>
                        <a:pt x="156" y="0"/>
                      </a:moveTo>
                      <a:lnTo>
                        <a:pt x="202" y="0"/>
                      </a:lnTo>
                      <a:lnTo>
                        <a:pt x="237" y="3"/>
                      </a:lnTo>
                      <a:lnTo>
                        <a:pt x="268" y="13"/>
                      </a:lnTo>
                      <a:lnTo>
                        <a:pt x="297" y="29"/>
                      </a:lnTo>
                      <a:lnTo>
                        <a:pt x="320" y="49"/>
                      </a:lnTo>
                      <a:lnTo>
                        <a:pt x="339" y="74"/>
                      </a:lnTo>
                      <a:lnTo>
                        <a:pt x="352" y="102"/>
                      </a:lnTo>
                      <a:lnTo>
                        <a:pt x="358" y="134"/>
                      </a:lnTo>
                      <a:lnTo>
                        <a:pt x="300" y="134"/>
                      </a:lnTo>
                      <a:lnTo>
                        <a:pt x="290" y="108"/>
                      </a:lnTo>
                      <a:lnTo>
                        <a:pt x="274" y="86"/>
                      </a:lnTo>
                      <a:lnTo>
                        <a:pt x="252" y="68"/>
                      </a:lnTo>
                      <a:lnTo>
                        <a:pt x="224" y="58"/>
                      </a:lnTo>
                      <a:lnTo>
                        <a:pt x="195" y="54"/>
                      </a:lnTo>
                      <a:lnTo>
                        <a:pt x="163" y="54"/>
                      </a:lnTo>
                      <a:lnTo>
                        <a:pt x="134" y="58"/>
                      </a:lnTo>
                      <a:lnTo>
                        <a:pt x="106" y="68"/>
                      </a:lnTo>
                      <a:lnTo>
                        <a:pt x="85" y="86"/>
                      </a:lnTo>
                      <a:lnTo>
                        <a:pt x="69" y="108"/>
                      </a:lnTo>
                      <a:lnTo>
                        <a:pt x="58" y="134"/>
                      </a:lnTo>
                      <a:lnTo>
                        <a:pt x="0" y="134"/>
                      </a:lnTo>
                      <a:lnTo>
                        <a:pt x="6" y="102"/>
                      </a:lnTo>
                      <a:lnTo>
                        <a:pt x="19" y="74"/>
                      </a:lnTo>
                      <a:lnTo>
                        <a:pt x="38" y="49"/>
                      </a:lnTo>
                      <a:lnTo>
                        <a:pt x="61" y="29"/>
                      </a:lnTo>
                      <a:lnTo>
                        <a:pt x="90" y="13"/>
                      </a:lnTo>
                      <a:lnTo>
                        <a:pt x="122" y="3"/>
                      </a:lnTo>
                      <a:lnTo>
                        <a:pt x="156" y="0"/>
                      </a:lnTo>
                      <a:close/>
                    </a:path>
                  </a:pathLst>
                </a:custGeom>
                <a:solidFill>
                  <a:srgbClr val="FFF0D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90" name="Freeform 381"/>
                <p:cNvSpPr>
                  <a:spLocks/>
                </p:cNvSpPr>
                <p:nvPr/>
              </p:nvSpPr>
              <p:spPr bwMode="auto">
                <a:xfrm>
                  <a:off x="1839914" y="4672013"/>
                  <a:ext cx="847725" cy="76200"/>
                </a:xfrm>
                <a:custGeom>
                  <a:avLst/>
                  <a:gdLst>
                    <a:gd name="T0" fmla="*/ 22 w 534"/>
                    <a:gd name="T1" fmla="*/ 0 h 48"/>
                    <a:gd name="T2" fmla="*/ 512 w 534"/>
                    <a:gd name="T3" fmla="*/ 0 h 48"/>
                    <a:gd name="T4" fmla="*/ 522 w 534"/>
                    <a:gd name="T5" fmla="*/ 4 h 48"/>
                    <a:gd name="T6" fmla="*/ 531 w 534"/>
                    <a:gd name="T7" fmla="*/ 11 h 48"/>
                    <a:gd name="T8" fmla="*/ 534 w 534"/>
                    <a:gd name="T9" fmla="*/ 24 h 48"/>
                    <a:gd name="T10" fmla="*/ 531 w 534"/>
                    <a:gd name="T11" fmla="*/ 36 h 48"/>
                    <a:gd name="T12" fmla="*/ 522 w 534"/>
                    <a:gd name="T13" fmla="*/ 45 h 48"/>
                    <a:gd name="T14" fmla="*/ 512 w 534"/>
                    <a:gd name="T15" fmla="*/ 48 h 48"/>
                    <a:gd name="T16" fmla="*/ 22 w 534"/>
                    <a:gd name="T17" fmla="*/ 48 h 48"/>
                    <a:gd name="T18" fmla="*/ 12 w 534"/>
                    <a:gd name="T19" fmla="*/ 45 h 48"/>
                    <a:gd name="T20" fmla="*/ 3 w 534"/>
                    <a:gd name="T21" fmla="*/ 36 h 48"/>
                    <a:gd name="T22" fmla="*/ 0 w 534"/>
                    <a:gd name="T23" fmla="*/ 24 h 48"/>
                    <a:gd name="T24" fmla="*/ 3 w 534"/>
                    <a:gd name="T25" fmla="*/ 11 h 48"/>
                    <a:gd name="T26" fmla="*/ 12 w 534"/>
                    <a:gd name="T27" fmla="*/ 4 h 48"/>
                    <a:gd name="T28" fmla="*/ 22 w 534"/>
                    <a:gd name="T29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534" h="48">
                      <a:moveTo>
                        <a:pt x="22" y="0"/>
                      </a:moveTo>
                      <a:lnTo>
                        <a:pt x="512" y="0"/>
                      </a:lnTo>
                      <a:lnTo>
                        <a:pt x="522" y="4"/>
                      </a:lnTo>
                      <a:lnTo>
                        <a:pt x="531" y="11"/>
                      </a:lnTo>
                      <a:lnTo>
                        <a:pt x="534" y="24"/>
                      </a:lnTo>
                      <a:lnTo>
                        <a:pt x="531" y="36"/>
                      </a:lnTo>
                      <a:lnTo>
                        <a:pt x="522" y="45"/>
                      </a:lnTo>
                      <a:lnTo>
                        <a:pt x="512" y="48"/>
                      </a:lnTo>
                      <a:lnTo>
                        <a:pt x="22" y="48"/>
                      </a:lnTo>
                      <a:lnTo>
                        <a:pt x="12" y="45"/>
                      </a:lnTo>
                      <a:lnTo>
                        <a:pt x="3" y="36"/>
                      </a:lnTo>
                      <a:lnTo>
                        <a:pt x="0" y="24"/>
                      </a:lnTo>
                      <a:lnTo>
                        <a:pt x="3" y="11"/>
                      </a:lnTo>
                      <a:lnTo>
                        <a:pt x="12" y="4"/>
                      </a:lnTo>
                      <a:lnTo>
                        <a:pt x="22" y="0"/>
                      </a:lnTo>
                      <a:close/>
                    </a:path>
                  </a:pathLst>
                </a:custGeom>
                <a:solidFill>
                  <a:srgbClr val="332F2C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91" name="Freeform 382"/>
                <p:cNvSpPr>
                  <a:spLocks/>
                </p:cNvSpPr>
                <p:nvPr/>
              </p:nvSpPr>
              <p:spPr bwMode="auto">
                <a:xfrm>
                  <a:off x="2119314" y="4672013"/>
                  <a:ext cx="150813" cy="149225"/>
                </a:xfrm>
                <a:custGeom>
                  <a:avLst/>
                  <a:gdLst>
                    <a:gd name="T0" fmla="*/ 48 w 95"/>
                    <a:gd name="T1" fmla="*/ 0 h 94"/>
                    <a:gd name="T2" fmla="*/ 65 w 95"/>
                    <a:gd name="T3" fmla="*/ 4 h 94"/>
                    <a:gd name="T4" fmla="*/ 81 w 95"/>
                    <a:gd name="T5" fmla="*/ 14 h 94"/>
                    <a:gd name="T6" fmla="*/ 90 w 95"/>
                    <a:gd name="T7" fmla="*/ 29 h 94"/>
                    <a:gd name="T8" fmla="*/ 95 w 95"/>
                    <a:gd name="T9" fmla="*/ 48 h 94"/>
                    <a:gd name="T10" fmla="*/ 90 w 95"/>
                    <a:gd name="T11" fmla="*/ 65 h 94"/>
                    <a:gd name="T12" fmla="*/ 81 w 95"/>
                    <a:gd name="T13" fmla="*/ 81 h 94"/>
                    <a:gd name="T14" fmla="*/ 65 w 95"/>
                    <a:gd name="T15" fmla="*/ 91 h 94"/>
                    <a:gd name="T16" fmla="*/ 48 w 95"/>
                    <a:gd name="T17" fmla="*/ 94 h 94"/>
                    <a:gd name="T18" fmla="*/ 29 w 95"/>
                    <a:gd name="T19" fmla="*/ 91 h 94"/>
                    <a:gd name="T20" fmla="*/ 15 w 95"/>
                    <a:gd name="T21" fmla="*/ 81 h 94"/>
                    <a:gd name="T22" fmla="*/ 4 w 95"/>
                    <a:gd name="T23" fmla="*/ 65 h 94"/>
                    <a:gd name="T24" fmla="*/ 0 w 95"/>
                    <a:gd name="T25" fmla="*/ 48 h 94"/>
                    <a:gd name="T26" fmla="*/ 4 w 95"/>
                    <a:gd name="T27" fmla="*/ 29 h 94"/>
                    <a:gd name="T28" fmla="*/ 15 w 95"/>
                    <a:gd name="T29" fmla="*/ 14 h 94"/>
                    <a:gd name="T30" fmla="*/ 29 w 95"/>
                    <a:gd name="T31" fmla="*/ 4 h 94"/>
                    <a:gd name="T32" fmla="*/ 48 w 95"/>
                    <a:gd name="T33" fmla="*/ 0 h 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5" h="94">
                      <a:moveTo>
                        <a:pt x="48" y="0"/>
                      </a:moveTo>
                      <a:lnTo>
                        <a:pt x="65" y="4"/>
                      </a:lnTo>
                      <a:lnTo>
                        <a:pt x="81" y="14"/>
                      </a:lnTo>
                      <a:lnTo>
                        <a:pt x="90" y="29"/>
                      </a:lnTo>
                      <a:lnTo>
                        <a:pt x="95" y="48"/>
                      </a:lnTo>
                      <a:lnTo>
                        <a:pt x="90" y="65"/>
                      </a:lnTo>
                      <a:lnTo>
                        <a:pt x="81" y="81"/>
                      </a:lnTo>
                      <a:lnTo>
                        <a:pt x="65" y="91"/>
                      </a:lnTo>
                      <a:lnTo>
                        <a:pt x="48" y="94"/>
                      </a:lnTo>
                      <a:lnTo>
                        <a:pt x="29" y="91"/>
                      </a:lnTo>
                      <a:lnTo>
                        <a:pt x="15" y="81"/>
                      </a:lnTo>
                      <a:lnTo>
                        <a:pt x="4" y="65"/>
                      </a:lnTo>
                      <a:lnTo>
                        <a:pt x="0" y="48"/>
                      </a:lnTo>
                      <a:lnTo>
                        <a:pt x="4" y="29"/>
                      </a:lnTo>
                      <a:lnTo>
                        <a:pt x="15" y="14"/>
                      </a:lnTo>
                      <a:lnTo>
                        <a:pt x="29" y="4"/>
                      </a:lnTo>
                      <a:lnTo>
                        <a:pt x="48" y="0"/>
                      </a:lnTo>
                      <a:close/>
                    </a:path>
                  </a:pathLst>
                </a:custGeom>
                <a:solidFill>
                  <a:srgbClr val="332F2C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92" name="Freeform 383"/>
                <p:cNvSpPr>
                  <a:spLocks/>
                </p:cNvSpPr>
                <p:nvPr/>
              </p:nvSpPr>
              <p:spPr bwMode="auto">
                <a:xfrm>
                  <a:off x="1879601" y="4672013"/>
                  <a:ext cx="315913" cy="76200"/>
                </a:xfrm>
                <a:custGeom>
                  <a:avLst/>
                  <a:gdLst>
                    <a:gd name="T0" fmla="*/ 0 w 199"/>
                    <a:gd name="T1" fmla="*/ 0 h 48"/>
                    <a:gd name="T2" fmla="*/ 199 w 199"/>
                    <a:gd name="T3" fmla="*/ 0 h 48"/>
                    <a:gd name="T4" fmla="*/ 180 w 199"/>
                    <a:gd name="T5" fmla="*/ 4 h 48"/>
                    <a:gd name="T6" fmla="*/ 166 w 199"/>
                    <a:gd name="T7" fmla="*/ 14 h 48"/>
                    <a:gd name="T8" fmla="*/ 155 w 199"/>
                    <a:gd name="T9" fmla="*/ 29 h 48"/>
                    <a:gd name="T10" fmla="*/ 151 w 199"/>
                    <a:gd name="T11" fmla="*/ 48 h 48"/>
                    <a:gd name="T12" fmla="*/ 19 w 199"/>
                    <a:gd name="T13" fmla="*/ 48 h 48"/>
                    <a:gd name="T14" fmla="*/ 23 w 199"/>
                    <a:gd name="T15" fmla="*/ 48 h 48"/>
                    <a:gd name="T16" fmla="*/ 26 w 199"/>
                    <a:gd name="T17" fmla="*/ 46 h 48"/>
                    <a:gd name="T18" fmla="*/ 26 w 199"/>
                    <a:gd name="T19" fmla="*/ 45 h 48"/>
                    <a:gd name="T20" fmla="*/ 23 w 199"/>
                    <a:gd name="T21" fmla="*/ 40 h 48"/>
                    <a:gd name="T22" fmla="*/ 17 w 199"/>
                    <a:gd name="T23" fmla="*/ 35 h 48"/>
                    <a:gd name="T24" fmla="*/ 8 w 199"/>
                    <a:gd name="T25" fmla="*/ 26 h 48"/>
                    <a:gd name="T26" fmla="*/ 3 w 199"/>
                    <a:gd name="T27" fmla="*/ 17 h 48"/>
                    <a:gd name="T28" fmla="*/ 0 w 199"/>
                    <a:gd name="T29" fmla="*/ 7 h 48"/>
                    <a:gd name="T30" fmla="*/ 0 w 199"/>
                    <a:gd name="T31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99" h="48">
                      <a:moveTo>
                        <a:pt x="0" y="0"/>
                      </a:moveTo>
                      <a:lnTo>
                        <a:pt x="199" y="0"/>
                      </a:lnTo>
                      <a:lnTo>
                        <a:pt x="180" y="4"/>
                      </a:lnTo>
                      <a:lnTo>
                        <a:pt x="166" y="14"/>
                      </a:lnTo>
                      <a:lnTo>
                        <a:pt x="155" y="29"/>
                      </a:lnTo>
                      <a:lnTo>
                        <a:pt x="151" y="48"/>
                      </a:lnTo>
                      <a:lnTo>
                        <a:pt x="19" y="48"/>
                      </a:lnTo>
                      <a:lnTo>
                        <a:pt x="23" y="48"/>
                      </a:lnTo>
                      <a:lnTo>
                        <a:pt x="26" y="46"/>
                      </a:lnTo>
                      <a:lnTo>
                        <a:pt x="26" y="45"/>
                      </a:lnTo>
                      <a:lnTo>
                        <a:pt x="23" y="40"/>
                      </a:lnTo>
                      <a:lnTo>
                        <a:pt x="17" y="35"/>
                      </a:lnTo>
                      <a:lnTo>
                        <a:pt x="8" y="26"/>
                      </a:lnTo>
                      <a:lnTo>
                        <a:pt x="3" y="17"/>
                      </a:lnTo>
                      <a:lnTo>
                        <a:pt x="0" y="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7050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93" name="Freeform 384"/>
                <p:cNvSpPr>
                  <a:spLocks/>
                </p:cNvSpPr>
                <p:nvPr/>
              </p:nvSpPr>
              <p:spPr bwMode="auto">
                <a:xfrm>
                  <a:off x="2378076" y="3448051"/>
                  <a:ext cx="274638" cy="1300163"/>
                </a:xfrm>
                <a:custGeom>
                  <a:avLst/>
                  <a:gdLst>
                    <a:gd name="T0" fmla="*/ 86 w 173"/>
                    <a:gd name="T1" fmla="*/ 0 h 819"/>
                    <a:gd name="T2" fmla="*/ 112 w 173"/>
                    <a:gd name="T3" fmla="*/ 5 h 819"/>
                    <a:gd name="T4" fmla="*/ 134 w 173"/>
                    <a:gd name="T5" fmla="*/ 15 h 819"/>
                    <a:gd name="T6" fmla="*/ 153 w 173"/>
                    <a:gd name="T7" fmla="*/ 32 h 819"/>
                    <a:gd name="T8" fmla="*/ 166 w 173"/>
                    <a:gd name="T9" fmla="*/ 53 h 819"/>
                    <a:gd name="T10" fmla="*/ 172 w 173"/>
                    <a:gd name="T11" fmla="*/ 77 h 819"/>
                    <a:gd name="T12" fmla="*/ 173 w 173"/>
                    <a:gd name="T13" fmla="*/ 83 h 819"/>
                    <a:gd name="T14" fmla="*/ 173 w 173"/>
                    <a:gd name="T15" fmla="*/ 89 h 819"/>
                    <a:gd name="T16" fmla="*/ 173 w 173"/>
                    <a:gd name="T17" fmla="*/ 778 h 819"/>
                    <a:gd name="T18" fmla="*/ 170 w 173"/>
                    <a:gd name="T19" fmla="*/ 794 h 819"/>
                    <a:gd name="T20" fmla="*/ 160 w 173"/>
                    <a:gd name="T21" fmla="*/ 807 h 819"/>
                    <a:gd name="T22" fmla="*/ 147 w 173"/>
                    <a:gd name="T23" fmla="*/ 816 h 819"/>
                    <a:gd name="T24" fmla="*/ 129 w 173"/>
                    <a:gd name="T25" fmla="*/ 819 h 819"/>
                    <a:gd name="T26" fmla="*/ 92 w 173"/>
                    <a:gd name="T27" fmla="*/ 819 h 819"/>
                    <a:gd name="T28" fmla="*/ 76 w 173"/>
                    <a:gd name="T29" fmla="*/ 816 h 819"/>
                    <a:gd name="T30" fmla="*/ 61 w 173"/>
                    <a:gd name="T31" fmla="*/ 807 h 819"/>
                    <a:gd name="T32" fmla="*/ 51 w 173"/>
                    <a:gd name="T33" fmla="*/ 794 h 819"/>
                    <a:gd name="T34" fmla="*/ 48 w 173"/>
                    <a:gd name="T35" fmla="*/ 778 h 819"/>
                    <a:gd name="T36" fmla="*/ 48 w 173"/>
                    <a:gd name="T37" fmla="*/ 163 h 819"/>
                    <a:gd name="T38" fmla="*/ 29 w 173"/>
                    <a:gd name="T39" fmla="*/ 150 h 819"/>
                    <a:gd name="T40" fmla="*/ 13 w 173"/>
                    <a:gd name="T41" fmla="*/ 133 h 819"/>
                    <a:gd name="T42" fmla="*/ 3 w 173"/>
                    <a:gd name="T43" fmla="*/ 111 h 819"/>
                    <a:gd name="T44" fmla="*/ 0 w 173"/>
                    <a:gd name="T45" fmla="*/ 86 h 819"/>
                    <a:gd name="T46" fmla="*/ 4 w 173"/>
                    <a:gd name="T47" fmla="*/ 58 h 819"/>
                    <a:gd name="T48" fmla="*/ 16 w 173"/>
                    <a:gd name="T49" fmla="*/ 35 h 819"/>
                    <a:gd name="T50" fmla="*/ 35 w 173"/>
                    <a:gd name="T51" fmla="*/ 16 h 819"/>
                    <a:gd name="T52" fmla="*/ 58 w 173"/>
                    <a:gd name="T53" fmla="*/ 5 h 819"/>
                    <a:gd name="T54" fmla="*/ 86 w 173"/>
                    <a:gd name="T55" fmla="*/ 0 h 8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173" h="819">
                      <a:moveTo>
                        <a:pt x="86" y="0"/>
                      </a:moveTo>
                      <a:lnTo>
                        <a:pt x="112" y="5"/>
                      </a:lnTo>
                      <a:lnTo>
                        <a:pt x="134" y="15"/>
                      </a:lnTo>
                      <a:lnTo>
                        <a:pt x="153" y="32"/>
                      </a:lnTo>
                      <a:lnTo>
                        <a:pt x="166" y="53"/>
                      </a:lnTo>
                      <a:lnTo>
                        <a:pt x="172" y="77"/>
                      </a:lnTo>
                      <a:lnTo>
                        <a:pt x="173" y="83"/>
                      </a:lnTo>
                      <a:lnTo>
                        <a:pt x="173" y="89"/>
                      </a:lnTo>
                      <a:lnTo>
                        <a:pt x="173" y="778"/>
                      </a:lnTo>
                      <a:lnTo>
                        <a:pt x="170" y="794"/>
                      </a:lnTo>
                      <a:lnTo>
                        <a:pt x="160" y="807"/>
                      </a:lnTo>
                      <a:lnTo>
                        <a:pt x="147" y="816"/>
                      </a:lnTo>
                      <a:lnTo>
                        <a:pt x="129" y="819"/>
                      </a:lnTo>
                      <a:lnTo>
                        <a:pt x="92" y="819"/>
                      </a:lnTo>
                      <a:lnTo>
                        <a:pt x="76" y="816"/>
                      </a:lnTo>
                      <a:lnTo>
                        <a:pt x="61" y="807"/>
                      </a:lnTo>
                      <a:lnTo>
                        <a:pt x="51" y="794"/>
                      </a:lnTo>
                      <a:lnTo>
                        <a:pt x="48" y="778"/>
                      </a:lnTo>
                      <a:lnTo>
                        <a:pt x="48" y="163"/>
                      </a:lnTo>
                      <a:lnTo>
                        <a:pt x="29" y="150"/>
                      </a:lnTo>
                      <a:lnTo>
                        <a:pt x="13" y="133"/>
                      </a:lnTo>
                      <a:lnTo>
                        <a:pt x="3" y="111"/>
                      </a:lnTo>
                      <a:lnTo>
                        <a:pt x="0" y="86"/>
                      </a:lnTo>
                      <a:lnTo>
                        <a:pt x="4" y="58"/>
                      </a:lnTo>
                      <a:lnTo>
                        <a:pt x="16" y="35"/>
                      </a:lnTo>
                      <a:lnTo>
                        <a:pt x="35" y="16"/>
                      </a:lnTo>
                      <a:lnTo>
                        <a:pt x="58" y="5"/>
                      </a:lnTo>
                      <a:lnTo>
                        <a:pt x="86" y="0"/>
                      </a:lnTo>
                      <a:close/>
                    </a:path>
                  </a:pathLst>
                </a:custGeom>
                <a:solidFill>
                  <a:srgbClr val="332F2C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94" name="Rectangle 385"/>
                <p:cNvSpPr>
                  <a:spLocks noChangeArrowheads="1"/>
                </p:cNvSpPr>
                <p:nvPr/>
              </p:nvSpPr>
              <p:spPr bwMode="auto">
                <a:xfrm>
                  <a:off x="1839914" y="3448051"/>
                  <a:ext cx="666750" cy="1223963"/>
                </a:xfrm>
                <a:prstGeom prst="rect">
                  <a:avLst/>
                </a:prstGeom>
                <a:solidFill>
                  <a:srgbClr val="332F2C"/>
                </a:soli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95" name="Freeform 386"/>
                <p:cNvSpPr>
                  <a:spLocks noEditPoints="1"/>
                </p:cNvSpPr>
                <p:nvPr/>
              </p:nvSpPr>
              <p:spPr bwMode="auto">
                <a:xfrm>
                  <a:off x="2506664" y="4371976"/>
                  <a:ext cx="50800" cy="300038"/>
                </a:xfrm>
                <a:custGeom>
                  <a:avLst/>
                  <a:gdLst>
                    <a:gd name="T0" fmla="*/ 0 w 32"/>
                    <a:gd name="T1" fmla="*/ 170 h 189"/>
                    <a:gd name="T2" fmla="*/ 18 w 32"/>
                    <a:gd name="T3" fmla="*/ 177 h 189"/>
                    <a:gd name="T4" fmla="*/ 32 w 32"/>
                    <a:gd name="T5" fmla="*/ 189 h 189"/>
                    <a:gd name="T6" fmla="*/ 0 w 32"/>
                    <a:gd name="T7" fmla="*/ 189 h 189"/>
                    <a:gd name="T8" fmla="*/ 0 w 32"/>
                    <a:gd name="T9" fmla="*/ 170 h 189"/>
                    <a:gd name="T10" fmla="*/ 0 w 32"/>
                    <a:gd name="T11" fmla="*/ 0 h 189"/>
                    <a:gd name="T12" fmla="*/ 5 w 32"/>
                    <a:gd name="T13" fmla="*/ 29 h 189"/>
                    <a:gd name="T14" fmla="*/ 0 w 32"/>
                    <a:gd name="T15" fmla="*/ 27 h 189"/>
                    <a:gd name="T16" fmla="*/ 0 w 32"/>
                    <a:gd name="T17" fmla="*/ 0 h 1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2" h="189">
                      <a:moveTo>
                        <a:pt x="0" y="170"/>
                      </a:moveTo>
                      <a:lnTo>
                        <a:pt x="18" y="177"/>
                      </a:lnTo>
                      <a:lnTo>
                        <a:pt x="32" y="189"/>
                      </a:lnTo>
                      <a:lnTo>
                        <a:pt x="0" y="189"/>
                      </a:lnTo>
                      <a:lnTo>
                        <a:pt x="0" y="170"/>
                      </a:lnTo>
                      <a:close/>
                      <a:moveTo>
                        <a:pt x="0" y="0"/>
                      </a:moveTo>
                      <a:lnTo>
                        <a:pt x="5" y="29"/>
                      </a:lnTo>
                      <a:lnTo>
                        <a:pt x="0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7050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96" name="Freeform 387"/>
                <p:cNvSpPr>
                  <a:spLocks noEditPoints="1"/>
                </p:cNvSpPr>
                <p:nvPr/>
              </p:nvSpPr>
              <p:spPr bwMode="auto">
                <a:xfrm>
                  <a:off x="1879601" y="3448051"/>
                  <a:ext cx="627063" cy="1223963"/>
                </a:xfrm>
                <a:custGeom>
                  <a:avLst/>
                  <a:gdLst>
                    <a:gd name="T0" fmla="*/ 395 w 395"/>
                    <a:gd name="T1" fmla="*/ 609 h 771"/>
                    <a:gd name="T2" fmla="*/ 307 w 395"/>
                    <a:gd name="T3" fmla="*/ 588 h 771"/>
                    <a:gd name="T4" fmla="*/ 340 w 395"/>
                    <a:gd name="T5" fmla="*/ 590 h 771"/>
                    <a:gd name="T6" fmla="*/ 395 w 395"/>
                    <a:gd name="T7" fmla="*/ 582 h 771"/>
                    <a:gd name="T8" fmla="*/ 100 w 395"/>
                    <a:gd name="T9" fmla="*/ 413 h 771"/>
                    <a:gd name="T10" fmla="*/ 99 w 395"/>
                    <a:gd name="T11" fmla="*/ 401 h 771"/>
                    <a:gd name="T12" fmla="*/ 58 w 395"/>
                    <a:gd name="T13" fmla="*/ 0 h 771"/>
                    <a:gd name="T14" fmla="*/ 58 w 395"/>
                    <a:gd name="T15" fmla="*/ 76 h 771"/>
                    <a:gd name="T16" fmla="*/ 62 w 395"/>
                    <a:gd name="T17" fmla="*/ 144 h 771"/>
                    <a:gd name="T18" fmla="*/ 74 w 395"/>
                    <a:gd name="T19" fmla="*/ 194 h 771"/>
                    <a:gd name="T20" fmla="*/ 42 w 395"/>
                    <a:gd name="T21" fmla="*/ 300 h 771"/>
                    <a:gd name="T22" fmla="*/ 40 w 395"/>
                    <a:gd name="T23" fmla="*/ 308 h 771"/>
                    <a:gd name="T24" fmla="*/ 40 w 395"/>
                    <a:gd name="T25" fmla="*/ 308 h 771"/>
                    <a:gd name="T26" fmla="*/ 40 w 395"/>
                    <a:gd name="T27" fmla="*/ 308 h 771"/>
                    <a:gd name="T28" fmla="*/ 40 w 395"/>
                    <a:gd name="T29" fmla="*/ 308 h 771"/>
                    <a:gd name="T30" fmla="*/ 40 w 395"/>
                    <a:gd name="T31" fmla="*/ 308 h 771"/>
                    <a:gd name="T32" fmla="*/ 40 w 395"/>
                    <a:gd name="T33" fmla="*/ 308 h 771"/>
                    <a:gd name="T34" fmla="*/ 40 w 395"/>
                    <a:gd name="T35" fmla="*/ 316 h 771"/>
                    <a:gd name="T36" fmla="*/ 45 w 395"/>
                    <a:gd name="T37" fmla="*/ 321 h 771"/>
                    <a:gd name="T38" fmla="*/ 29 w 395"/>
                    <a:gd name="T39" fmla="*/ 416 h 771"/>
                    <a:gd name="T40" fmla="*/ 27 w 395"/>
                    <a:gd name="T41" fmla="*/ 422 h 771"/>
                    <a:gd name="T42" fmla="*/ 27 w 395"/>
                    <a:gd name="T43" fmla="*/ 426 h 771"/>
                    <a:gd name="T44" fmla="*/ 38 w 395"/>
                    <a:gd name="T45" fmla="*/ 451 h 771"/>
                    <a:gd name="T46" fmla="*/ 52 w 395"/>
                    <a:gd name="T47" fmla="*/ 457 h 771"/>
                    <a:gd name="T48" fmla="*/ 58 w 395"/>
                    <a:gd name="T49" fmla="*/ 457 h 771"/>
                    <a:gd name="T50" fmla="*/ 110 w 395"/>
                    <a:gd name="T51" fmla="*/ 510 h 771"/>
                    <a:gd name="T52" fmla="*/ 112 w 395"/>
                    <a:gd name="T53" fmla="*/ 553 h 771"/>
                    <a:gd name="T54" fmla="*/ 102 w 395"/>
                    <a:gd name="T55" fmla="*/ 605 h 771"/>
                    <a:gd name="T56" fmla="*/ 87 w 395"/>
                    <a:gd name="T57" fmla="*/ 651 h 771"/>
                    <a:gd name="T58" fmla="*/ 81 w 395"/>
                    <a:gd name="T59" fmla="*/ 689 h 771"/>
                    <a:gd name="T60" fmla="*/ 87 w 395"/>
                    <a:gd name="T61" fmla="*/ 715 h 771"/>
                    <a:gd name="T62" fmla="*/ 104 w 395"/>
                    <a:gd name="T63" fmla="*/ 730 h 771"/>
                    <a:gd name="T64" fmla="*/ 382 w 395"/>
                    <a:gd name="T65" fmla="*/ 750 h 771"/>
                    <a:gd name="T66" fmla="*/ 395 w 395"/>
                    <a:gd name="T67" fmla="*/ 752 h 771"/>
                    <a:gd name="T68" fmla="*/ 0 w 395"/>
                    <a:gd name="T69" fmla="*/ 771 h 771"/>
                    <a:gd name="T70" fmla="*/ 4 w 395"/>
                    <a:gd name="T71" fmla="*/ 599 h 771"/>
                    <a:gd name="T72" fmla="*/ 14 w 395"/>
                    <a:gd name="T73" fmla="*/ 602 h 771"/>
                    <a:gd name="T74" fmla="*/ 40 w 395"/>
                    <a:gd name="T75" fmla="*/ 592 h 771"/>
                    <a:gd name="T76" fmla="*/ 59 w 395"/>
                    <a:gd name="T77" fmla="*/ 567 h 771"/>
                    <a:gd name="T78" fmla="*/ 62 w 395"/>
                    <a:gd name="T79" fmla="*/ 541 h 771"/>
                    <a:gd name="T80" fmla="*/ 55 w 395"/>
                    <a:gd name="T81" fmla="*/ 525 h 771"/>
                    <a:gd name="T82" fmla="*/ 42 w 395"/>
                    <a:gd name="T83" fmla="*/ 506 h 771"/>
                    <a:gd name="T84" fmla="*/ 27 w 395"/>
                    <a:gd name="T85" fmla="*/ 483 h 771"/>
                    <a:gd name="T86" fmla="*/ 14 w 395"/>
                    <a:gd name="T87" fmla="*/ 470 h 771"/>
                    <a:gd name="T88" fmla="*/ 10 w 395"/>
                    <a:gd name="T89" fmla="*/ 435 h 771"/>
                    <a:gd name="T90" fmla="*/ 17 w 395"/>
                    <a:gd name="T91" fmla="*/ 397 h 771"/>
                    <a:gd name="T92" fmla="*/ 24 w 395"/>
                    <a:gd name="T93" fmla="*/ 362 h 771"/>
                    <a:gd name="T94" fmla="*/ 35 w 395"/>
                    <a:gd name="T95" fmla="*/ 304 h 771"/>
                    <a:gd name="T96" fmla="*/ 46 w 395"/>
                    <a:gd name="T97" fmla="*/ 237 h 771"/>
                    <a:gd name="T98" fmla="*/ 46 w 395"/>
                    <a:gd name="T99" fmla="*/ 169 h 771"/>
                    <a:gd name="T100" fmla="*/ 35 w 395"/>
                    <a:gd name="T101" fmla="*/ 114 h 771"/>
                    <a:gd name="T102" fmla="*/ 33 w 395"/>
                    <a:gd name="T103" fmla="*/ 42 h 7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395" h="771">
                      <a:moveTo>
                        <a:pt x="395" y="582"/>
                      </a:moveTo>
                      <a:lnTo>
                        <a:pt x="395" y="609"/>
                      </a:lnTo>
                      <a:lnTo>
                        <a:pt x="307" y="592"/>
                      </a:lnTo>
                      <a:lnTo>
                        <a:pt x="307" y="588"/>
                      </a:lnTo>
                      <a:lnTo>
                        <a:pt x="331" y="590"/>
                      </a:lnTo>
                      <a:lnTo>
                        <a:pt x="340" y="590"/>
                      </a:lnTo>
                      <a:lnTo>
                        <a:pt x="368" y="588"/>
                      </a:lnTo>
                      <a:lnTo>
                        <a:pt x="395" y="582"/>
                      </a:lnTo>
                      <a:close/>
                      <a:moveTo>
                        <a:pt x="99" y="401"/>
                      </a:moveTo>
                      <a:lnTo>
                        <a:pt x="100" y="413"/>
                      </a:lnTo>
                      <a:lnTo>
                        <a:pt x="96" y="412"/>
                      </a:lnTo>
                      <a:lnTo>
                        <a:pt x="99" y="401"/>
                      </a:lnTo>
                      <a:close/>
                      <a:moveTo>
                        <a:pt x="35" y="0"/>
                      </a:moveTo>
                      <a:lnTo>
                        <a:pt x="58" y="0"/>
                      </a:lnTo>
                      <a:lnTo>
                        <a:pt x="58" y="38"/>
                      </a:lnTo>
                      <a:lnTo>
                        <a:pt x="58" y="76"/>
                      </a:lnTo>
                      <a:lnTo>
                        <a:pt x="61" y="112"/>
                      </a:lnTo>
                      <a:lnTo>
                        <a:pt x="62" y="144"/>
                      </a:lnTo>
                      <a:lnTo>
                        <a:pt x="68" y="172"/>
                      </a:lnTo>
                      <a:lnTo>
                        <a:pt x="74" y="194"/>
                      </a:lnTo>
                      <a:lnTo>
                        <a:pt x="71" y="202"/>
                      </a:lnTo>
                      <a:lnTo>
                        <a:pt x="42" y="300"/>
                      </a:lnTo>
                      <a:lnTo>
                        <a:pt x="40" y="304"/>
                      </a:lnTo>
                      <a:lnTo>
                        <a:pt x="40" y="308"/>
                      </a:lnTo>
                      <a:lnTo>
                        <a:pt x="40" y="308"/>
                      </a:lnTo>
                      <a:lnTo>
                        <a:pt x="40" y="308"/>
                      </a:lnTo>
                      <a:lnTo>
                        <a:pt x="40" y="308"/>
                      </a:lnTo>
                      <a:lnTo>
                        <a:pt x="40" y="308"/>
                      </a:lnTo>
                      <a:lnTo>
                        <a:pt x="40" y="308"/>
                      </a:lnTo>
                      <a:lnTo>
                        <a:pt x="40" y="308"/>
                      </a:lnTo>
                      <a:lnTo>
                        <a:pt x="40" y="308"/>
                      </a:lnTo>
                      <a:lnTo>
                        <a:pt x="40" y="308"/>
                      </a:lnTo>
                      <a:lnTo>
                        <a:pt x="40" y="308"/>
                      </a:lnTo>
                      <a:lnTo>
                        <a:pt x="40" y="308"/>
                      </a:lnTo>
                      <a:lnTo>
                        <a:pt x="40" y="311"/>
                      </a:lnTo>
                      <a:lnTo>
                        <a:pt x="40" y="316"/>
                      </a:lnTo>
                      <a:lnTo>
                        <a:pt x="42" y="320"/>
                      </a:lnTo>
                      <a:lnTo>
                        <a:pt x="45" y="321"/>
                      </a:lnTo>
                      <a:lnTo>
                        <a:pt x="49" y="323"/>
                      </a:lnTo>
                      <a:lnTo>
                        <a:pt x="29" y="416"/>
                      </a:lnTo>
                      <a:lnTo>
                        <a:pt x="29" y="420"/>
                      </a:lnTo>
                      <a:lnTo>
                        <a:pt x="27" y="422"/>
                      </a:lnTo>
                      <a:lnTo>
                        <a:pt x="27" y="422"/>
                      </a:lnTo>
                      <a:lnTo>
                        <a:pt x="27" y="426"/>
                      </a:lnTo>
                      <a:lnTo>
                        <a:pt x="30" y="441"/>
                      </a:lnTo>
                      <a:lnTo>
                        <a:pt x="38" y="451"/>
                      </a:lnTo>
                      <a:lnTo>
                        <a:pt x="49" y="455"/>
                      </a:lnTo>
                      <a:lnTo>
                        <a:pt x="52" y="457"/>
                      </a:lnTo>
                      <a:lnTo>
                        <a:pt x="54" y="457"/>
                      </a:lnTo>
                      <a:lnTo>
                        <a:pt x="58" y="457"/>
                      </a:lnTo>
                      <a:lnTo>
                        <a:pt x="106" y="465"/>
                      </a:lnTo>
                      <a:lnTo>
                        <a:pt x="110" y="510"/>
                      </a:lnTo>
                      <a:lnTo>
                        <a:pt x="112" y="553"/>
                      </a:lnTo>
                      <a:lnTo>
                        <a:pt x="112" y="553"/>
                      </a:lnTo>
                      <a:lnTo>
                        <a:pt x="109" y="579"/>
                      </a:lnTo>
                      <a:lnTo>
                        <a:pt x="102" y="605"/>
                      </a:lnTo>
                      <a:lnTo>
                        <a:pt x="93" y="630"/>
                      </a:lnTo>
                      <a:lnTo>
                        <a:pt x="87" y="651"/>
                      </a:lnTo>
                      <a:lnTo>
                        <a:pt x="83" y="672"/>
                      </a:lnTo>
                      <a:lnTo>
                        <a:pt x="81" y="689"/>
                      </a:lnTo>
                      <a:lnTo>
                        <a:pt x="83" y="704"/>
                      </a:lnTo>
                      <a:lnTo>
                        <a:pt x="87" y="715"/>
                      </a:lnTo>
                      <a:lnTo>
                        <a:pt x="94" y="724"/>
                      </a:lnTo>
                      <a:lnTo>
                        <a:pt x="104" y="730"/>
                      </a:lnTo>
                      <a:lnTo>
                        <a:pt x="118" y="731"/>
                      </a:lnTo>
                      <a:lnTo>
                        <a:pt x="382" y="750"/>
                      </a:lnTo>
                      <a:lnTo>
                        <a:pt x="388" y="750"/>
                      </a:lnTo>
                      <a:lnTo>
                        <a:pt x="395" y="752"/>
                      </a:lnTo>
                      <a:lnTo>
                        <a:pt x="395" y="771"/>
                      </a:lnTo>
                      <a:lnTo>
                        <a:pt x="0" y="771"/>
                      </a:lnTo>
                      <a:lnTo>
                        <a:pt x="0" y="598"/>
                      </a:lnTo>
                      <a:lnTo>
                        <a:pt x="4" y="599"/>
                      </a:lnTo>
                      <a:lnTo>
                        <a:pt x="8" y="601"/>
                      </a:lnTo>
                      <a:lnTo>
                        <a:pt x="14" y="602"/>
                      </a:lnTo>
                      <a:lnTo>
                        <a:pt x="27" y="599"/>
                      </a:lnTo>
                      <a:lnTo>
                        <a:pt x="40" y="592"/>
                      </a:lnTo>
                      <a:lnTo>
                        <a:pt x="52" y="582"/>
                      </a:lnTo>
                      <a:lnTo>
                        <a:pt x="59" y="567"/>
                      </a:lnTo>
                      <a:lnTo>
                        <a:pt x="62" y="553"/>
                      </a:lnTo>
                      <a:lnTo>
                        <a:pt x="62" y="541"/>
                      </a:lnTo>
                      <a:lnTo>
                        <a:pt x="61" y="532"/>
                      </a:lnTo>
                      <a:lnTo>
                        <a:pt x="55" y="525"/>
                      </a:lnTo>
                      <a:lnTo>
                        <a:pt x="49" y="516"/>
                      </a:lnTo>
                      <a:lnTo>
                        <a:pt x="42" y="506"/>
                      </a:lnTo>
                      <a:lnTo>
                        <a:pt x="33" y="493"/>
                      </a:lnTo>
                      <a:lnTo>
                        <a:pt x="27" y="483"/>
                      </a:lnTo>
                      <a:lnTo>
                        <a:pt x="20" y="477"/>
                      </a:lnTo>
                      <a:lnTo>
                        <a:pt x="14" y="470"/>
                      </a:lnTo>
                      <a:lnTo>
                        <a:pt x="11" y="458"/>
                      </a:lnTo>
                      <a:lnTo>
                        <a:pt x="10" y="435"/>
                      </a:lnTo>
                      <a:lnTo>
                        <a:pt x="13" y="415"/>
                      </a:lnTo>
                      <a:lnTo>
                        <a:pt x="17" y="397"/>
                      </a:lnTo>
                      <a:lnTo>
                        <a:pt x="20" y="387"/>
                      </a:lnTo>
                      <a:lnTo>
                        <a:pt x="24" y="362"/>
                      </a:lnTo>
                      <a:lnTo>
                        <a:pt x="29" y="339"/>
                      </a:lnTo>
                      <a:lnTo>
                        <a:pt x="35" y="304"/>
                      </a:lnTo>
                      <a:lnTo>
                        <a:pt x="40" y="271"/>
                      </a:lnTo>
                      <a:lnTo>
                        <a:pt x="46" y="237"/>
                      </a:lnTo>
                      <a:lnTo>
                        <a:pt x="49" y="204"/>
                      </a:lnTo>
                      <a:lnTo>
                        <a:pt x="46" y="169"/>
                      </a:lnTo>
                      <a:lnTo>
                        <a:pt x="40" y="141"/>
                      </a:lnTo>
                      <a:lnTo>
                        <a:pt x="35" y="114"/>
                      </a:lnTo>
                      <a:lnTo>
                        <a:pt x="32" y="85"/>
                      </a:lnTo>
                      <a:lnTo>
                        <a:pt x="33" y="42"/>
                      </a:lnTo>
                      <a:lnTo>
                        <a:pt x="35" y="0"/>
                      </a:lnTo>
                      <a:close/>
                    </a:path>
                  </a:pathLst>
                </a:custGeom>
                <a:solidFill>
                  <a:srgbClr val="07050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97" name="Freeform 388"/>
                <p:cNvSpPr>
                  <a:spLocks/>
                </p:cNvSpPr>
                <p:nvPr/>
              </p:nvSpPr>
              <p:spPr bwMode="auto">
                <a:xfrm>
                  <a:off x="2195514" y="4672013"/>
                  <a:ext cx="655638" cy="149225"/>
                </a:xfrm>
                <a:custGeom>
                  <a:avLst/>
                  <a:gdLst>
                    <a:gd name="T0" fmla="*/ 0 w 413"/>
                    <a:gd name="T1" fmla="*/ 0 h 94"/>
                    <a:gd name="T2" fmla="*/ 367 w 413"/>
                    <a:gd name="T3" fmla="*/ 0 h 94"/>
                    <a:gd name="T4" fmla="*/ 384 w 413"/>
                    <a:gd name="T5" fmla="*/ 4 h 94"/>
                    <a:gd name="T6" fmla="*/ 400 w 413"/>
                    <a:gd name="T7" fmla="*/ 14 h 94"/>
                    <a:gd name="T8" fmla="*/ 410 w 413"/>
                    <a:gd name="T9" fmla="*/ 29 h 94"/>
                    <a:gd name="T10" fmla="*/ 413 w 413"/>
                    <a:gd name="T11" fmla="*/ 48 h 94"/>
                    <a:gd name="T12" fmla="*/ 410 w 413"/>
                    <a:gd name="T13" fmla="*/ 65 h 94"/>
                    <a:gd name="T14" fmla="*/ 400 w 413"/>
                    <a:gd name="T15" fmla="*/ 81 h 94"/>
                    <a:gd name="T16" fmla="*/ 384 w 413"/>
                    <a:gd name="T17" fmla="*/ 91 h 94"/>
                    <a:gd name="T18" fmla="*/ 367 w 413"/>
                    <a:gd name="T19" fmla="*/ 94 h 94"/>
                    <a:gd name="T20" fmla="*/ 0 w 413"/>
                    <a:gd name="T21" fmla="*/ 94 h 94"/>
                    <a:gd name="T22" fmla="*/ 17 w 413"/>
                    <a:gd name="T23" fmla="*/ 91 h 94"/>
                    <a:gd name="T24" fmla="*/ 33 w 413"/>
                    <a:gd name="T25" fmla="*/ 81 h 94"/>
                    <a:gd name="T26" fmla="*/ 42 w 413"/>
                    <a:gd name="T27" fmla="*/ 65 h 94"/>
                    <a:gd name="T28" fmla="*/ 47 w 413"/>
                    <a:gd name="T29" fmla="*/ 48 h 94"/>
                    <a:gd name="T30" fmla="*/ 42 w 413"/>
                    <a:gd name="T31" fmla="*/ 29 h 94"/>
                    <a:gd name="T32" fmla="*/ 33 w 413"/>
                    <a:gd name="T33" fmla="*/ 14 h 94"/>
                    <a:gd name="T34" fmla="*/ 17 w 413"/>
                    <a:gd name="T35" fmla="*/ 4 h 94"/>
                    <a:gd name="T36" fmla="*/ 0 w 413"/>
                    <a:gd name="T37" fmla="*/ 0 h 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413" h="94">
                      <a:moveTo>
                        <a:pt x="0" y="0"/>
                      </a:moveTo>
                      <a:lnTo>
                        <a:pt x="367" y="0"/>
                      </a:lnTo>
                      <a:lnTo>
                        <a:pt x="384" y="4"/>
                      </a:lnTo>
                      <a:lnTo>
                        <a:pt x="400" y="14"/>
                      </a:lnTo>
                      <a:lnTo>
                        <a:pt x="410" y="29"/>
                      </a:lnTo>
                      <a:lnTo>
                        <a:pt x="413" y="48"/>
                      </a:lnTo>
                      <a:lnTo>
                        <a:pt x="410" y="65"/>
                      </a:lnTo>
                      <a:lnTo>
                        <a:pt x="400" y="81"/>
                      </a:lnTo>
                      <a:lnTo>
                        <a:pt x="384" y="91"/>
                      </a:lnTo>
                      <a:lnTo>
                        <a:pt x="367" y="94"/>
                      </a:lnTo>
                      <a:lnTo>
                        <a:pt x="0" y="94"/>
                      </a:lnTo>
                      <a:lnTo>
                        <a:pt x="17" y="91"/>
                      </a:lnTo>
                      <a:lnTo>
                        <a:pt x="33" y="81"/>
                      </a:lnTo>
                      <a:lnTo>
                        <a:pt x="42" y="65"/>
                      </a:lnTo>
                      <a:lnTo>
                        <a:pt x="47" y="48"/>
                      </a:lnTo>
                      <a:lnTo>
                        <a:pt x="42" y="29"/>
                      </a:lnTo>
                      <a:lnTo>
                        <a:pt x="33" y="14"/>
                      </a:lnTo>
                      <a:lnTo>
                        <a:pt x="17" y="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332F2C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98" name="Freeform 389"/>
                <p:cNvSpPr>
                  <a:spLocks/>
                </p:cNvSpPr>
                <p:nvPr/>
              </p:nvSpPr>
              <p:spPr bwMode="auto">
                <a:xfrm>
                  <a:off x="2119314" y="4748213"/>
                  <a:ext cx="150813" cy="73025"/>
                </a:xfrm>
                <a:custGeom>
                  <a:avLst/>
                  <a:gdLst>
                    <a:gd name="T0" fmla="*/ 0 w 95"/>
                    <a:gd name="T1" fmla="*/ 0 h 46"/>
                    <a:gd name="T2" fmla="*/ 95 w 95"/>
                    <a:gd name="T3" fmla="*/ 0 h 46"/>
                    <a:gd name="T4" fmla="*/ 90 w 95"/>
                    <a:gd name="T5" fmla="*/ 17 h 46"/>
                    <a:gd name="T6" fmla="*/ 81 w 95"/>
                    <a:gd name="T7" fmla="*/ 33 h 46"/>
                    <a:gd name="T8" fmla="*/ 65 w 95"/>
                    <a:gd name="T9" fmla="*/ 43 h 46"/>
                    <a:gd name="T10" fmla="*/ 48 w 95"/>
                    <a:gd name="T11" fmla="*/ 46 h 46"/>
                    <a:gd name="T12" fmla="*/ 29 w 95"/>
                    <a:gd name="T13" fmla="*/ 43 h 46"/>
                    <a:gd name="T14" fmla="*/ 15 w 95"/>
                    <a:gd name="T15" fmla="*/ 33 h 46"/>
                    <a:gd name="T16" fmla="*/ 4 w 95"/>
                    <a:gd name="T17" fmla="*/ 17 h 46"/>
                    <a:gd name="T18" fmla="*/ 0 w 95"/>
                    <a:gd name="T19" fmla="*/ 0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95" h="46">
                      <a:moveTo>
                        <a:pt x="0" y="0"/>
                      </a:moveTo>
                      <a:lnTo>
                        <a:pt x="95" y="0"/>
                      </a:lnTo>
                      <a:lnTo>
                        <a:pt x="90" y="17"/>
                      </a:lnTo>
                      <a:lnTo>
                        <a:pt x="81" y="33"/>
                      </a:lnTo>
                      <a:lnTo>
                        <a:pt x="65" y="43"/>
                      </a:lnTo>
                      <a:lnTo>
                        <a:pt x="48" y="46"/>
                      </a:lnTo>
                      <a:lnTo>
                        <a:pt x="29" y="43"/>
                      </a:lnTo>
                      <a:lnTo>
                        <a:pt x="15" y="33"/>
                      </a:lnTo>
                      <a:lnTo>
                        <a:pt x="4" y="1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7050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499" name="Freeform 390"/>
                <p:cNvSpPr>
                  <a:spLocks/>
                </p:cNvSpPr>
                <p:nvPr/>
              </p:nvSpPr>
              <p:spPr bwMode="auto">
                <a:xfrm>
                  <a:off x="2119314" y="4672013"/>
                  <a:ext cx="150813" cy="76200"/>
                </a:xfrm>
                <a:custGeom>
                  <a:avLst/>
                  <a:gdLst>
                    <a:gd name="T0" fmla="*/ 48 w 95"/>
                    <a:gd name="T1" fmla="*/ 0 h 48"/>
                    <a:gd name="T2" fmla="*/ 65 w 95"/>
                    <a:gd name="T3" fmla="*/ 4 h 48"/>
                    <a:gd name="T4" fmla="*/ 81 w 95"/>
                    <a:gd name="T5" fmla="*/ 14 h 48"/>
                    <a:gd name="T6" fmla="*/ 90 w 95"/>
                    <a:gd name="T7" fmla="*/ 29 h 48"/>
                    <a:gd name="T8" fmla="*/ 95 w 95"/>
                    <a:gd name="T9" fmla="*/ 48 h 48"/>
                    <a:gd name="T10" fmla="*/ 0 w 95"/>
                    <a:gd name="T11" fmla="*/ 48 h 48"/>
                    <a:gd name="T12" fmla="*/ 4 w 95"/>
                    <a:gd name="T13" fmla="*/ 29 h 48"/>
                    <a:gd name="T14" fmla="*/ 15 w 95"/>
                    <a:gd name="T15" fmla="*/ 14 h 48"/>
                    <a:gd name="T16" fmla="*/ 29 w 95"/>
                    <a:gd name="T17" fmla="*/ 4 h 48"/>
                    <a:gd name="T18" fmla="*/ 48 w 95"/>
                    <a:gd name="T19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95" h="48">
                      <a:moveTo>
                        <a:pt x="48" y="0"/>
                      </a:moveTo>
                      <a:lnTo>
                        <a:pt x="65" y="4"/>
                      </a:lnTo>
                      <a:lnTo>
                        <a:pt x="81" y="14"/>
                      </a:lnTo>
                      <a:lnTo>
                        <a:pt x="90" y="29"/>
                      </a:lnTo>
                      <a:lnTo>
                        <a:pt x="95" y="48"/>
                      </a:lnTo>
                      <a:lnTo>
                        <a:pt x="0" y="48"/>
                      </a:lnTo>
                      <a:lnTo>
                        <a:pt x="4" y="29"/>
                      </a:lnTo>
                      <a:lnTo>
                        <a:pt x="15" y="14"/>
                      </a:lnTo>
                      <a:lnTo>
                        <a:pt x="29" y="4"/>
                      </a:lnTo>
                      <a:lnTo>
                        <a:pt x="48" y="0"/>
                      </a:lnTo>
                      <a:close/>
                    </a:path>
                  </a:pathLst>
                </a:custGeom>
                <a:solidFill>
                  <a:srgbClr val="0100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00" name="Freeform 391"/>
                <p:cNvSpPr>
                  <a:spLocks noEditPoints="1"/>
                </p:cNvSpPr>
                <p:nvPr/>
              </p:nvSpPr>
              <p:spPr bwMode="auto">
                <a:xfrm>
                  <a:off x="1703389" y="3448051"/>
                  <a:ext cx="217488" cy="1300163"/>
                </a:xfrm>
                <a:custGeom>
                  <a:avLst/>
                  <a:gdLst>
                    <a:gd name="T0" fmla="*/ 111 w 137"/>
                    <a:gd name="T1" fmla="*/ 87 h 819"/>
                    <a:gd name="T2" fmla="*/ 111 w 137"/>
                    <a:gd name="T3" fmla="*/ 87 h 819"/>
                    <a:gd name="T4" fmla="*/ 111 w 137"/>
                    <a:gd name="T5" fmla="*/ 89 h 819"/>
                    <a:gd name="T6" fmla="*/ 111 w 137"/>
                    <a:gd name="T7" fmla="*/ 89 h 819"/>
                    <a:gd name="T8" fmla="*/ 111 w 137"/>
                    <a:gd name="T9" fmla="*/ 90 h 819"/>
                    <a:gd name="T10" fmla="*/ 111 w 137"/>
                    <a:gd name="T11" fmla="*/ 89 h 819"/>
                    <a:gd name="T12" fmla="*/ 111 w 137"/>
                    <a:gd name="T13" fmla="*/ 87 h 819"/>
                    <a:gd name="T14" fmla="*/ 86 w 137"/>
                    <a:gd name="T15" fmla="*/ 0 h 819"/>
                    <a:gd name="T16" fmla="*/ 96 w 137"/>
                    <a:gd name="T17" fmla="*/ 3 h 819"/>
                    <a:gd name="T18" fmla="*/ 102 w 137"/>
                    <a:gd name="T19" fmla="*/ 12 h 819"/>
                    <a:gd name="T20" fmla="*/ 108 w 137"/>
                    <a:gd name="T21" fmla="*/ 23 h 819"/>
                    <a:gd name="T22" fmla="*/ 111 w 137"/>
                    <a:gd name="T23" fmla="*/ 37 h 819"/>
                    <a:gd name="T24" fmla="*/ 111 w 137"/>
                    <a:gd name="T25" fmla="*/ 53 h 819"/>
                    <a:gd name="T26" fmla="*/ 112 w 137"/>
                    <a:gd name="T27" fmla="*/ 66 h 819"/>
                    <a:gd name="T28" fmla="*/ 112 w 137"/>
                    <a:gd name="T29" fmla="*/ 77 h 819"/>
                    <a:gd name="T30" fmla="*/ 111 w 137"/>
                    <a:gd name="T31" fmla="*/ 86 h 819"/>
                    <a:gd name="T32" fmla="*/ 111 w 137"/>
                    <a:gd name="T33" fmla="*/ 87 h 819"/>
                    <a:gd name="T34" fmla="*/ 111 w 137"/>
                    <a:gd name="T35" fmla="*/ 87 h 819"/>
                    <a:gd name="T36" fmla="*/ 111 w 137"/>
                    <a:gd name="T37" fmla="*/ 89 h 819"/>
                    <a:gd name="T38" fmla="*/ 111 w 137"/>
                    <a:gd name="T39" fmla="*/ 778 h 819"/>
                    <a:gd name="T40" fmla="*/ 114 w 137"/>
                    <a:gd name="T41" fmla="*/ 787 h 819"/>
                    <a:gd name="T42" fmla="*/ 119 w 137"/>
                    <a:gd name="T43" fmla="*/ 795 h 819"/>
                    <a:gd name="T44" fmla="*/ 125 w 137"/>
                    <a:gd name="T45" fmla="*/ 803 h 819"/>
                    <a:gd name="T46" fmla="*/ 133 w 137"/>
                    <a:gd name="T47" fmla="*/ 810 h 819"/>
                    <a:gd name="T48" fmla="*/ 137 w 137"/>
                    <a:gd name="T49" fmla="*/ 814 h 819"/>
                    <a:gd name="T50" fmla="*/ 137 w 137"/>
                    <a:gd name="T51" fmla="*/ 817 h 819"/>
                    <a:gd name="T52" fmla="*/ 130 w 137"/>
                    <a:gd name="T53" fmla="*/ 819 h 819"/>
                    <a:gd name="T54" fmla="*/ 93 w 137"/>
                    <a:gd name="T55" fmla="*/ 819 h 819"/>
                    <a:gd name="T56" fmla="*/ 76 w 137"/>
                    <a:gd name="T57" fmla="*/ 816 h 819"/>
                    <a:gd name="T58" fmla="*/ 61 w 137"/>
                    <a:gd name="T59" fmla="*/ 807 h 819"/>
                    <a:gd name="T60" fmla="*/ 53 w 137"/>
                    <a:gd name="T61" fmla="*/ 794 h 819"/>
                    <a:gd name="T62" fmla="*/ 48 w 137"/>
                    <a:gd name="T63" fmla="*/ 778 h 819"/>
                    <a:gd name="T64" fmla="*/ 48 w 137"/>
                    <a:gd name="T65" fmla="*/ 163 h 819"/>
                    <a:gd name="T66" fmla="*/ 29 w 137"/>
                    <a:gd name="T67" fmla="*/ 150 h 819"/>
                    <a:gd name="T68" fmla="*/ 13 w 137"/>
                    <a:gd name="T69" fmla="*/ 133 h 819"/>
                    <a:gd name="T70" fmla="*/ 5 w 137"/>
                    <a:gd name="T71" fmla="*/ 111 h 819"/>
                    <a:gd name="T72" fmla="*/ 0 w 137"/>
                    <a:gd name="T73" fmla="*/ 86 h 819"/>
                    <a:gd name="T74" fmla="*/ 5 w 137"/>
                    <a:gd name="T75" fmla="*/ 58 h 819"/>
                    <a:gd name="T76" fmla="*/ 18 w 137"/>
                    <a:gd name="T77" fmla="*/ 35 h 819"/>
                    <a:gd name="T78" fmla="*/ 35 w 137"/>
                    <a:gd name="T79" fmla="*/ 16 h 819"/>
                    <a:gd name="T80" fmla="*/ 60 w 137"/>
                    <a:gd name="T81" fmla="*/ 5 h 819"/>
                    <a:gd name="T82" fmla="*/ 86 w 137"/>
                    <a:gd name="T83" fmla="*/ 0 h 8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137" h="819">
                      <a:moveTo>
                        <a:pt x="111" y="87"/>
                      </a:moveTo>
                      <a:lnTo>
                        <a:pt x="111" y="87"/>
                      </a:lnTo>
                      <a:lnTo>
                        <a:pt x="111" y="89"/>
                      </a:lnTo>
                      <a:lnTo>
                        <a:pt x="111" y="89"/>
                      </a:lnTo>
                      <a:lnTo>
                        <a:pt x="111" y="90"/>
                      </a:lnTo>
                      <a:lnTo>
                        <a:pt x="111" y="89"/>
                      </a:lnTo>
                      <a:lnTo>
                        <a:pt x="111" y="87"/>
                      </a:lnTo>
                      <a:close/>
                      <a:moveTo>
                        <a:pt x="86" y="0"/>
                      </a:moveTo>
                      <a:lnTo>
                        <a:pt x="96" y="3"/>
                      </a:lnTo>
                      <a:lnTo>
                        <a:pt x="102" y="12"/>
                      </a:lnTo>
                      <a:lnTo>
                        <a:pt x="108" y="23"/>
                      </a:lnTo>
                      <a:lnTo>
                        <a:pt x="111" y="37"/>
                      </a:lnTo>
                      <a:lnTo>
                        <a:pt x="111" y="53"/>
                      </a:lnTo>
                      <a:lnTo>
                        <a:pt x="112" y="66"/>
                      </a:lnTo>
                      <a:lnTo>
                        <a:pt x="112" y="77"/>
                      </a:lnTo>
                      <a:lnTo>
                        <a:pt x="111" y="86"/>
                      </a:lnTo>
                      <a:lnTo>
                        <a:pt x="111" y="87"/>
                      </a:lnTo>
                      <a:lnTo>
                        <a:pt x="111" y="87"/>
                      </a:lnTo>
                      <a:lnTo>
                        <a:pt x="111" y="89"/>
                      </a:lnTo>
                      <a:lnTo>
                        <a:pt x="111" y="778"/>
                      </a:lnTo>
                      <a:lnTo>
                        <a:pt x="114" y="787"/>
                      </a:lnTo>
                      <a:lnTo>
                        <a:pt x="119" y="795"/>
                      </a:lnTo>
                      <a:lnTo>
                        <a:pt x="125" y="803"/>
                      </a:lnTo>
                      <a:lnTo>
                        <a:pt x="133" y="810"/>
                      </a:lnTo>
                      <a:lnTo>
                        <a:pt x="137" y="814"/>
                      </a:lnTo>
                      <a:lnTo>
                        <a:pt x="137" y="817"/>
                      </a:lnTo>
                      <a:lnTo>
                        <a:pt x="130" y="819"/>
                      </a:lnTo>
                      <a:lnTo>
                        <a:pt x="93" y="819"/>
                      </a:lnTo>
                      <a:lnTo>
                        <a:pt x="76" y="816"/>
                      </a:lnTo>
                      <a:lnTo>
                        <a:pt x="61" y="807"/>
                      </a:lnTo>
                      <a:lnTo>
                        <a:pt x="53" y="794"/>
                      </a:lnTo>
                      <a:lnTo>
                        <a:pt x="48" y="778"/>
                      </a:lnTo>
                      <a:lnTo>
                        <a:pt x="48" y="163"/>
                      </a:lnTo>
                      <a:lnTo>
                        <a:pt x="29" y="150"/>
                      </a:lnTo>
                      <a:lnTo>
                        <a:pt x="13" y="133"/>
                      </a:lnTo>
                      <a:lnTo>
                        <a:pt x="5" y="111"/>
                      </a:lnTo>
                      <a:lnTo>
                        <a:pt x="0" y="86"/>
                      </a:lnTo>
                      <a:lnTo>
                        <a:pt x="5" y="58"/>
                      </a:lnTo>
                      <a:lnTo>
                        <a:pt x="18" y="35"/>
                      </a:lnTo>
                      <a:lnTo>
                        <a:pt x="35" y="16"/>
                      </a:lnTo>
                      <a:lnTo>
                        <a:pt x="60" y="5"/>
                      </a:lnTo>
                      <a:lnTo>
                        <a:pt x="86" y="0"/>
                      </a:lnTo>
                      <a:close/>
                    </a:path>
                  </a:pathLst>
                </a:custGeom>
                <a:solidFill>
                  <a:srgbClr val="332F2C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01" name="Freeform 392"/>
                <p:cNvSpPr>
                  <a:spLocks/>
                </p:cNvSpPr>
                <p:nvPr/>
              </p:nvSpPr>
              <p:spPr bwMode="auto">
                <a:xfrm>
                  <a:off x="1703389" y="3448051"/>
                  <a:ext cx="217488" cy="1300163"/>
                </a:xfrm>
                <a:custGeom>
                  <a:avLst/>
                  <a:gdLst>
                    <a:gd name="T0" fmla="*/ 86 w 137"/>
                    <a:gd name="T1" fmla="*/ 0 h 819"/>
                    <a:gd name="T2" fmla="*/ 96 w 137"/>
                    <a:gd name="T3" fmla="*/ 3 h 819"/>
                    <a:gd name="T4" fmla="*/ 102 w 137"/>
                    <a:gd name="T5" fmla="*/ 12 h 819"/>
                    <a:gd name="T6" fmla="*/ 108 w 137"/>
                    <a:gd name="T7" fmla="*/ 22 h 819"/>
                    <a:gd name="T8" fmla="*/ 111 w 137"/>
                    <a:gd name="T9" fmla="*/ 37 h 819"/>
                    <a:gd name="T10" fmla="*/ 111 w 137"/>
                    <a:gd name="T11" fmla="*/ 51 h 819"/>
                    <a:gd name="T12" fmla="*/ 112 w 137"/>
                    <a:gd name="T13" fmla="*/ 66 h 819"/>
                    <a:gd name="T14" fmla="*/ 112 w 137"/>
                    <a:gd name="T15" fmla="*/ 73 h 819"/>
                    <a:gd name="T16" fmla="*/ 111 w 137"/>
                    <a:gd name="T17" fmla="*/ 79 h 819"/>
                    <a:gd name="T18" fmla="*/ 111 w 137"/>
                    <a:gd name="T19" fmla="*/ 85 h 819"/>
                    <a:gd name="T20" fmla="*/ 111 w 137"/>
                    <a:gd name="T21" fmla="*/ 87 h 819"/>
                    <a:gd name="T22" fmla="*/ 111 w 137"/>
                    <a:gd name="T23" fmla="*/ 89 h 819"/>
                    <a:gd name="T24" fmla="*/ 111 w 137"/>
                    <a:gd name="T25" fmla="*/ 778 h 819"/>
                    <a:gd name="T26" fmla="*/ 114 w 137"/>
                    <a:gd name="T27" fmla="*/ 788 h 819"/>
                    <a:gd name="T28" fmla="*/ 119 w 137"/>
                    <a:gd name="T29" fmla="*/ 797 h 819"/>
                    <a:gd name="T30" fmla="*/ 128 w 137"/>
                    <a:gd name="T31" fmla="*/ 806 h 819"/>
                    <a:gd name="T32" fmla="*/ 134 w 137"/>
                    <a:gd name="T33" fmla="*/ 811 h 819"/>
                    <a:gd name="T34" fmla="*/ 137 w 137"/>
                    <a:gd name="T35" fmla="*/ 816 h 819"/>
                    <a:gd name="T36" fmla="*/ 137 w 137"/>
                    <a:gd name="T37" fmla="*/ 817 h 819"/>
                    <a:gd name="T38" fmla="*/ 134 w 137"/>
                    <a:gd name="T39" fmla="*/ 819 h 819"/>
                    <a:gd name="T40" fmla="*/ 130 w 137"/>
                    <a:gd name="T41" fmla="*/ 819 h 819"/>
                    <a:gd name="T42" fmla="*/ 93 w 137"/>
                    <a:gd name="T43" fmla="*/ 819 h 819"/>
                    <a:gd name="T44" fmla="*/ 76 w 137"/>
                    <a:gd name="T45" fmla="*/ 816 h 819"/>
                    <a:gd name="T46" fmla="*/ 61 w 137"/>
                    <a:gd name="T47" fmla="*/ 807 h 819"/>
                    <a:gd name="T48" fmla="*/ 53 w 137"/>
                    <a:gd name="T49" fmla="*/ 794 h 819"/>
                    <a:gd name="T50" fmla="*/ 48 w 137"/>
                    <a:gd name="T51" fmla="*/ 778 h 819"/>
                    <a:gd name="T52" fmla="*/ 48 w 137"/>
                    <a:gd name="T53" fmla="*/ 163 h 819"/>
                    <a:gd name="T54" fmla="*/ 29 w 137"/>
                    <a:gd name="T55" fmla="*/ 150 h 819"/>
                    <a:gd name="T56" fmla="*/ 13 w 137"/>
                    <a:gd name="T57" fmla="*/ 133 h 819"/>
                    <a:gd name="T58" fmla="*/ 5 w 137"/>
                    <a:gd name="T59" fmla="*/ 111 h 819"/>
                    <a:gd name="T60" fmla="*/ 0 w 137"/>
                    <a:gd name="T61" fmla="*/ 86 h 819"/>
                    <a:gd name="T62" fmla="*/ 5 w 137"/>
                    <a:gd name="T63" fmla="*/ 58 h 819"/>
                    <a:gd name="T64" fmla="*/ 18 w 137"/>
                    <a:gd name="T65" fmla="*/ 35 h 819"/>
                    <a:gd name="T66" fmla="*/ 35 w 137"/>
                    <a:gd name="T67" fmla="*/ 16 h 819"/>
                    <a:gd name="T68" fmla="*/ 60 w 137"/>
                    <a:gd name="T69" fmla="*/ 5 h 819"/>
                    <a:gd name="T70" fmla="*/ 86 w 137"/>
                    <a:gd name="T71" fmla="*/ 0 h 8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37" h="819">
                      <a:moveTo>
                        <a:pt x="86" y="0"/>
                      </a:moveTo>
                      <a:lnTo>
                        <a:pt x="96" y="3"/>
                      </a:lnTo>
                      <a:lnTo>
                        <a:pt x="102" y="12"/>
                      </a:lnTo>
                      <a:lnTo>
                        <a:pt x="108" y="22"/>
                      </a:lnTo>
                      <a:lnTo>
                        <a:pt x="111" y="37"/>
                      </a:lnTo>
                      <a:lnTo>
                        <a:pt x="111" y="51"/>
                      </a:lnTo>
                      <a:lnTo>
                        <a:pt x="112" y="66"/>
                      </a:lnTo>
                      <a:lnTo>
                        <a:pt x="112" y="73"/>
                      </a:lnTo>
                      <a:lnTo>
                        <a:pt x="111" y="79"/>
                      </a:lnTo>
                      <a:lnTo>
                        <a:pt x="111" y="85"/>
                      </a:lnTo>
                      <a:lnTo>
                        <a:pt x="111" y="87"/>
                      </a:lnTo>
                      <a:lnTo>
                        <a:pt x="111" y="89"/>
                      </a:lnTo>
                      <a:lnTo>
                        <a:pt x="111" y="778"/>
                      </a:lnTo>
                      <a:lnTo>
                        <a:pt x="114" y="788"/>
                      </a:lnTo>
                      <a:lnTo>
                        <a:pt x="119" y="797"/>
                      </a:lnTo>
                      <a:lnTo>
                        <a:pt x="128" y="806"/>
                      </a:lnTo>
                      <a:lnTo>
                        <a:pt x="134" y="811"/>
                      </a:lnTo>
                      <a:lnTo>
                        <a:pt x="137" y="816"/>
                      </a:lnTo>
                      <a:lnTo>
                        <a:pt x="137" y="817"/>
                      </a:lnTo>
                      <a:lnTo>
                        <a:pt x="134" y="819"/>
                      </a:lnTo>
                      <a:lnTo>
                        <a:pt x="130" y="819"/>
                      </a:lnTo>
                      <a:lnTo>
                        <a:pt x="93" y="819"/>
                      </a:lnTo>
                      <a:lnTo>
                        <a:pt x="76" y="816"/>
                      </a:lnTo>
                      <a:lnTo>
                        <a:pt x="61" y="807"/>
                      </a:lnTo>
                      <a:lnTo>
                        <a:pt x="53" y="794"/>
                      </a:lnTo>
                      <a:lnTo>
                        <a:pt x="48" y="778"/>
                      </a:lnTo>
                      <a:lnTo>
                        <a:pt x="48" y="163"/>
                      </a:lnTo>
                      <a:lnTo>
                        <a:pt x="29" y="150"/>
                      </a:lnTo>
                      <a:lnTo>
                        <a:pt x="13" y="133"/>
                      </a:lnTo>
                      <a:lnTo>
                        <a:pt x="5" y="111"/>
                      </a:lnTo>
                      <a:lnTo>
                        <a:pt x="0" y="86"/>
                      </a:lnTo>
                      <a:lnTo>
                        <a:pt x="5" y="58"/>
                      </a:lnTo>
                      <a:lnTo>
                        <a:pt x="18" y="35"/>
                      </a:lnTo>
                      <a:lnTo>
                        <a:pt x="35" y="16"/>
                      </a:lnTo>
                      <a:lnTo>
                        <a:pt x="60" y="5"/>
                      </a:lnTo>
                      <a:lnTo>
                        <a:pt x="86" y="0"/>
                      </a:lnTo>
                      <a:close/>
                    </a:path>
                  </a:pathLst>
                </a:custGeom>
                <a:solidFill>
                  <a:srgbClr val="07050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02" name="Freeform 393"/>
                <p:cNvSpPr>
                  <a:spLocks/>
                </p:cNvSpPr>
                <p:nvPr/>
              </p:nvSpPr>
              <p:spPr bwMode="auto">
                <a:xfrm>
                  <a:off x="1879601" y="3586163"/>
                  <a:ext cx="0" cy="4763"/>
                </a:xfrm>
                <a:custGeom>
                  <a:avLst/>
                  <a:gdLst>
                    <a:gd name="T0" fmla="*/ 0 h 3"/>
                    <a:gd name="T1" fmla="*/ 0 h 3"/>
                    <a:gd name="T2" fmla="*/ 2 h 3"/>
                    <a:gd name="T3" fmla="*/ 2 h 3"/>
                    <a:gd name="T4" fmla="*/ 3 h 3"/>
                    <a:gd name="T5" fmla="*/ 2 h 3"/>
                    <a:gd name="T6" fmla="*/ 2 h 3"/>
                    <a:gd name="T7" fmla="*/ 0 h 3"/>
                    <a:gd name="T8" fmla="*/ 0 h 3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  <a:cxn ang="0">
                      <a:pos x="0" y="T6"/>
                    </a:cxn>
                    <a:cxn ang="0">
                      <a:pos x="0" y="T7"/>
                    </a:cxn>
                    <a:cxn ang="0">
                      <a:pos x="0" y="T8"/>
                    </a:cxn>
                  </a:cxnLst>
                  <a:rect l="0" t="0" r="r" b="b"/>
                  <a:pathLst>
                    <a:path h="3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7050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03" name="Freeform 394"/>
                <p:cNvSpPr>
                  <a:spLocks/>
                </p:cNvSpPr>
                <p:nvPr/>
              </p:nvSpPr>
              <p:spPr bwMode="auto">
                <a:xfrm>
                  <a:off x="2257426" y="4362451"/>
                  <a:ext cx="571500" cy="295275"/>
                </a:xfrm>
                <a:custGeom>
                  <a:avLst/>
                  <a:gdLst>
                    <a:gd name="T0" fmla="*/ 19 w 360"/>
                    <a:gd name="T1" fmla="*/ 0 h 186"/>
                    <a:gd name="T2" fmla="*/ 22 w 360"/>
                    <a:gd name="T3" fmla="*/ 0 h 186"/>
                    <a:gd name="T4" fmla="*/ 28 w 360"/>
                    <a:gd name="T5" fmla="*/ 3 h 186"/>
                    <a:gd name="T6" fmla="*/ 38 w 360"/>
                    <a:gd name="T7" fmla="*/ 7 h 186"/>
                    <a:gd name="T8" fmla="*/ 56 w 360"/>
                    <a:gd name="T9" fmla="*/ 13 h 186"/>
                    <a:gd name="T10" fmla="*/ 314 w 360"/>
                    <a:gd name="T11" fmla="*/ 65 h 186"/>
                    <a:gd name="T12" fmla="*/ 332 w 360"/>
                    <a:gd name="T13" fmla="*/ 73 h 186"/>
                    <a:gd name="T14" fmla="*/ 345 w 360"/>
                    <a:gd name="T15" fmla="*/ 84 h 186"/>
                    <a:gd name="T16" fmla="*/ 354 w 360"/>
                    <a:gd name="T17" fmla="*/ 99 h 186"/>
                    <a:gd name="T18" fmla="*/ 358 w 360"/>
                    <a:gd name="T19" fmla="*/ 116 h 186"/>
                    <a:gd name="T20" fmla="*/ 360 w 360"/>
                    <a:gd name="T21" fmla="*/ 132 h 186"/>
                    <a:gd name="T22" fmla="*/ 358 w 360"/>
                    <a:gd name="T23" fmla="*/ 150 h 186"/>
                    <a:gd name="T24" fmla="*/ 355 w 360"/>
                    <a:gd name="T25" fmla="*/ 164 h 186"/>
                    <a:gd name="T26" fmla="*/ 352 w 360"/>
                    <a:gd name="T27" fmla="*/ 174 h 186"/>
                    <a:gd name="T28" fmla="*/ 348 w 360"/>
                    <a:gd name="T29" fmla="*/ 182 h 186"/>
                    <a:gd name="T30" fmla="*/ 341 w 360"/>
                    <a:gd name="T31" fmla="*/ 186 h 186"/>
                    <a:gd name="T32" fmla="*/ 329 w 360"/>
                    <a:gd name="T33" fmla="*/ 186 h 186"/>
                    <a:gd name="T34" fmla="*/ 312 w 360"/>
                    <a:gd name="T35" fmla="*/ 184 h 186"/>
                    <a:gd name="T36" fmla="*/ 32 w 360"/>
                    <a:gd name="T37" fmla="*/ 128 h 186"/>
                    <a:gd name="T38" fmla="*/ 16 w 360"/>
                    <a:gd name="T39" fmla="*/ 122 h 186"/>
                    <a:gd name="T40" fmla="*/ 8 w 360"/>
                    <a:gd name="T41" fmla="*/ 112 h 186"/>
                    <a:gd name="T42" fmla="*/ 2 w 360"/>
                    <a:gd name="T43" fmla="*/ 100 h 186"/>
                    <a:gd name="T44" fmla="*/ 0 w 360"/>
                    <a:gd name="T45" fmla="*/ 87 h 186"/>
                    <a:gd name="T46" fmla="*/ 2 w 360"/>
                    <a:gd name="T47" fmla="*/ 71 h 186"/>
                    <a:gd name="T48" fmla="*/ 5 w 360"/>
                    <a:gd name="T49" fmla="*/ 57 h 186"/>
                    <a:gd name="T50" fmla="*/ 9 w 360"/>
                    <a:gd name="T51" fmla="*/ 42 h 186"/>
                    <a:gd name="T52" fmla="*/ 13 w 360"/>
                    <a:gd name="T53" fmla="*/ 27 h 186"/>
                    <a:gd name="T54" fmla="*/ 16 w 360"/>
                    <a:gd name="T55" fmla="*/ 16 h 186"/>
                    <a:gd name="T56" fmla="*/ 18 w 360"/>
                    <a:gd name="T57" fmla="*/ 4 h 186"/>
                    <a:gd name="T58" fmla="*/ 19 w 360"/>
                    <a:gd name="T59" fmla="*/ 0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360" h="186">
                      <a:moveTo>
                        <a:pt x="19" y="0"/>
                      </a:moveTo>
                      <a:lnTo>
                        <a:pt x="22" y="0"/>
                      </a:lnTo>
                      <a:lnTo>
                        <a:pt x="28" y="3"/>
                      </a:lnTo>
                      <a:lnTo>
                        <a:pt x="38" y="7"/>
                      </a:lnTo>
                      <a:lnTo>
                        <a:pt x="56" y="13"/>
                      </a:lnTo>
                      <a:lnTo>
                        <a:pt x="314" y="65"/>
                      </a:lnTo>
                      <a:lnTo>
                        <a:pt x="332" y="73"/>
                      </a:lnTo>
                      <a:lnTo>
                        <a:pt x="345" y="84"/>
                      </a:lnTo>
                      <a:lnTo>
                        <a:pt x="354" y="99"/>
                      </a:lnTo>
                      <a:lnTo>
                        <a:pt x="358" y="116"/>
                      </a:lnTo>
                      <a:lnTo>
                        <a:pt x="360" y="132"/>
                      </a:lnTo>
                      <a:lnTo>
                        <a:pt x="358" y="150"/>
                      </a:lnTo>
                      <a:lnTo>
                        <a:pt x="355" y="164"/>
                      </a:lnTo>
                      <a:lnTo>
                        <a:pt x="352" y="174"/>
                      </a:lnTo>
                      <a:lnTo>
                        <a:pt x="348" y="182"/>
                      </a:lnTo>
                      <a:lnTo>
                        <a:pt x="341" y="186"/>
                      </a:lnTo>
                      <a:lnTo>
                        <a:pt x="329" y="186"/>
                      </a:lnTo>
                      <a:lnTo>
                        <a:pt x="312" y="184"/>
                      </a:lnTo>
                      <a:lnTo>
                        <a:pt x="32" y="128"/>
                      </a:lnTo>
                      <a:lnTo>
                        <a:pt x="16" y="122"/>
                      </a:lnTo>
                      <a:lnTo>
                        <a:pt x="8" y="112"/>
                      </a:lnTo>
                      <a:lnTo>
                        <a:pt x="2" y="100"/>
                      </a:lnTo>
                      <a:lnTo>
                        <a:pt x="0" y="87"/>
                      </a:lnTo>
                      <a:lnTo>
                        <a:pt x="2" y="71"/>
                      </a:lnTo>
                      <a:lnTo>
                        <a:pt x="5" y="57"/>
                      </a:lnTo>
                      <a:lnTo>
                        <a:pt x="9" y="42"/>
                      </a:lnTo>
                      <a:lnTo>
                        <a:pt x="13" y="27"/>
                      </a:lnTo>
                      <a:lnTo>
                        <a:pt x="16" y="16"/>
                      </a:lnTo>
                      <a:lnTo>
                        <a:pt x="18" y="4"/>
                      </a:lnTo>
                      <a:lnTo>
                        <a:pt x="19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04" name="Freeform 395"/>
                <p:cNvSpPr>
                  <a:spLocks/>
                </p:cNvSpPr>
                <p:nvPr/>
              </p:nvSpPr>
              <p:spPr bwMode="auto">
                <a:xfrm>
                  <a:off x="1971676" y="3024188"/>
                  <a:ext cx="539750" cy="785813"/>
                </a:xfrm>
                <a:custGeom>
                  <a:avLst/>
                  <a:gdLst>
                    <a:gd name="T0" fmla="*/ 224 w 340"/>
                    <a:gd name="T1" fmla="*/ 4 h 495"/>
                    <a:gd name="T2" fmla="*/ 265 w 340"/>
                    <a:gd name="T3" fmla="*/ 39 h 495"/>
                    <a:gd name="T4" fmla="*/ 292 w 340"/>
                    <a:gd name="T5" fmla="*/ 99 h 495"/>
                    <a:gd name="T6" fmla="*/ 302 w 340"/>
                    <a:gd name="T7" fmla="*/ 176 h 495"/>
                    <a:gd name="T8" fmla="*/ 300 w 340"/>
                    <a:gd name="T9" fmla="*/ 228 h 495"/>
                    <a:gd name="T10" fmla="*/ 310 w 340"/>
                    <a:gd name="T11" fmla="*/ 257 h 495"/>
                    <a:gd name="T12" fmla="*/ 326 w 340"/>
                    <a:gd name="T13" fmla="*/ 290 h 495"/>
                    <a:gd name="T14" fmla="*/ 337 w 340"/>
                    <a:gd name="T15" fmla="*/ 327 h 495"/>
                    <a:gd name="T16" fmla="*/ 337 w 340"/>
                    <a:gd name="T17" fmla="*/ 362 h 495"/>
                    <a:gd name="T18" fmla="*/ 316 w 340"/>
                    <a:gd name="T19" fmla="*/ 395 h 495"/>
                    <a:gd name="T20" fmla="*/ 288 w 340"/>
                    <a:gd name="T21" fmla="*/ 414 h 495"/>
                    <a:gd name="T22" fmla="*/ 275 w 340"/>
                    <a:gd name="T23" fmla="*/ 426 h 495"/>
                    <a:gd name="T24" fmla="*/ 254 w 340"/>
                    <a:gd name="T25" fmla="*/ 440 h 495"/>
                    <a:gd name="T26" fmla="*/ 220 w 340"/>
                    <a:gd name="T27" fmla="*/ 452 h 495"/>
                    <a:gd name="T28" fmla="*/ 161 w 340"/>
                    <a:gd name="T29" fmla="*/ 458 h 495"/>
                    <a:gd name="T30" fmla="*/ 102 w 340"/>
                    <a:gd name="T31" fmla="*/ 459 h 495"/>
                    <a:gd name="T32" fmla="*/ 78 w 340"/>
                    <a:gd name="T33" fmla="*/ 466 h 495"/>
                    <a:gd name="T34" fmla="*/ 68 w 340"/>
                    <a:gd name="T35" fmla="*/ 478 h 495"/>
                    <a:gd name="T36" fmla="*/ 67 w 340"/>
                    <a:gd name="T37" fmla="*/ 490 h 495"/>
                    <a:gd name="T38" fmla="*/ 64 w 340"/>
                    <a:gd name="T39" fmla="*/ 495 h 495"/>
                    <a:gd name="T40" fmla="*/ 54 w 340"/>
                    <a:gd name="T41" fmla="*/ 493 h 495"/>
                    <a:gd name="T42" fmla="*/ 28 w 340"/>
                    <a:gd name="T43" fmla="*/ 477 h 495"/>
                    <a:gd name="T44" fmla="*/ 12 w 340"/>
                    <a:gd name="T45" fmla="*/ 449 h 495"/>
                    <a:gd name="T46" fmla="*/ 4 w 340"/>
                    <a:gd name="T47" fmla="*/ 398 h 495"/>
                    <a:gd name="T48" fmla="*/ 0 w 340"/>
                    <a:gd name="T49" fmla="*/ 334 h 495"/>
                    <a:gd name="T50" fmla="*/ 0 w 340"/>
                    <a:gd name="T51" fmla="*/ 267 h 495"/>
                    <a:gd name="T52" fmla="*/ 1 w 340"/>
                    <a:gd name="T53" fmla="*/ 203 h 495"/>
                    <a:gd name="T54" fmla="*/ 1 w 340"/>
                    <a:gd name="T55" fmla="*/ 155 h 495"/>
                    <a:gd name="T56" fmla="*/ 10 w 340"/>
                    <a:gd name="T57" fmla="*/ 93 h 495"/>
                    <a:gd name="T58" fmla="*/ 38 w 340"/>
                    <a:gd name="T59" fmla="*/ 48 h 495"/>
                    <a:gd name="T60" fmla="*/ 84 w 340"/>
                    <a:gd name="T61" fmla="*/ 20 h 495"/>
                    <a:gd name="T62" fmla="*/ 118 w 340"/>
                    <a:gd name="T63" fmla="*/ 13 h 495"/>
                    <a:gd name="T64" fmla="*/ 126 w 340"/>
                    <a:gd name="T65" fmla="*/ 14 h 495"/>
                    <a:gd name="T66" fmla="*/ 135 w 340"/>
                    <a:gd name="T67" fmla="*/ 16 h 495"/>
                    <a:gd name="T68" fmla="*/ 141 w 340"/>
                    <a:gd name="T69" fmla="*/ 16 h 495"/>
                    <a:gd name="T70" fmla="*/ 166 w 340"/>
                    <a:gd name="T71" fmla="*/ 4 h 495"/>
                    <a:gd name="T72" fmla="*/ 201 w 340"/>
                    <a:gd name="T73" fmla="*/ 0 h 4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340" h="495">
                      <a:moveTo>
                        <a:pt x="201" y="0"/>
                      </a:moveTo>
                      <a:lnTo>
                        <a:pt x="224" y="4"/>
                      </a:lnTo>
                      <a:lnTo>
                        <a:pt x="246" y="17"/>
                      </a:lnTo>
                      <a:lnTo>
                        <a:pt x="265" y="39"/>
                      </a:lnTo>
                      <a:lnTo>
                        <a:pt x="281" y="65"/>
                      </a:lnTo>
                      <a:lnTo>
                        <a:pt x="292" y="99"/>
                      </a:lnTo>
                      <a:lnTo>
                        <a:pt x="300" y="135"/>
                      </a:lnTo>
                      <a:lnTo>
                        <a:pt x="302" y="176"/>
                      </a:lnTo>
                      <a:lnTo>
                        <a:pt x="300" y="218"/>
                      </a:lnTo>
                      <a:lnTo>
                        <a:pt x="300" y="228"/>
                      </a:lnTo>
                      <a:lnTo>
                        <a:pt x="304" y="241"/>
                      </a:lnTo>
                      <a:lnTo>
                        <a:pt x="310" y="257"/>
                      </a:lnTo>
                      <a:lnTo>
                        <a:pt x="318" y="273"/>
                      </a:lnTo>
                      <a:lnTo>
                        <a:pt x="326" y="290"/>
                      </a:lnTo>
                      <a:lnTo>
                        <a:pt x="333" y="308"/>
                      </a:lnTo>
                      <a:lnTo>
                        <a:pt x="337" y="327"/>
                      </a:lnTo>
                      <a:lnTo>
                        <a:pt x="340" y="344"/>
                      </a:lnTo>
                      <a:lnTo>
                        <a:pt x="337" y="362"/>
                      </a:lnTo>
                      <a:lnTo>
                        <a:pt x="330" y="379"/>
                      </a:lnTo>
                      <a:lnTo>
                        <a:pt x="316" y="395"/>
                      </a:lnTo>
                      <a:lnTo>
                        <a:pt x="294" y="410"/>
                      </a:lnTo>
                      <a:lnTo>
                        <a:pt x="288" y="414"/>
                      </a:lnTo>
                      <a:lnTo>
                        <a:pt x="281" y="420"/>
                      </a:lnTo>
                      <a:lnTo>
                        <a:pt x="275" y="426"/>
                      </a:lnTo>
                      <a:lnTo>
                        <a:pt x="266" y="433"/>
                      </a:lnTo>
                      <a:lnTo>
                        <a:pt x="254" y="440"/>
                      </a:lnTo>
                      <a:lnTo>
                        <a:pt x="238" y="446"/>
                      </a:lnTo>
                      <a:lnTo>
                        <a:pt x="220" y="452"/>
                      </a:lnTo>
                      <a:lnTo>
                        <a:pt x="193" y="456"/>
                      </a:lnTo>
                      <a:lnTo>
                        <a:pt x="161" y="458"/>
                      </a:lnTo>
                      <a:lnTo>
                        <a:pt x="122" y="459"/>
                      </a:lnTo>
                      <a:lnTo>
                        <a:pt x="102" y="459"/>
                      </a:lnTo>
                      <a:lnTo>
                        <a:pt x="87" y="462"/>
                      </a:lnTo>
                      <a:lnTo>
                        <a:pt x="78" y="466"/>
                      </a:lnTo>
                      <a:lnTo>
                        <a:pt x="71" y="472"/>
                      </a:lnTo>
                      <a:lnTo>
                        <a:pt x="68" y="478"/>
                      </a:lnTo>
                      <a:lnTo>
                        <a:pt x="67" y="484"/>
                      </a:lnTo>
                      <a:lnTo>
                        <a:pt x="67" y="490"/>
                      </a:lnTo>
                      <a:lnTo>
                        <a:pt x="65" y="494"/>
                      </a:lnTo>
                      <a:lnTo>
                        <a:pt x="64" y="495"/>
                      </a:lnTo>
                      <a:lnTo>
                        <a:pt x="61" y="495"/>
                      </a:lnTo>
                      <a:lnTo>
                        <a:pt x="54" y="493"/>
                      </a:lnTo>
                      <a:lnTo>
                        <a:pt x="44" y="487"/>
                      </a:lnTo>
                      <a:lnTo>
                        <a:pt x="28" y="477"/>
                      </a:lnTo>
                      <a:lnTo>
                        <a:pt x="19" y="466"/>
                      </a:lnTo>
                      <a:lnTo>
                        <a:pt x="12" y="449"/>
                      </a:lnTo>
                      <a:lnTo>
                        <a:pt x="7" y="426"/>
                      </a:lnTo>
                      <a:lnTo>
                        <a:pt x="4" y="398"/>
                      </a:lnTo>
                      <a:lnTo>
                        <a:pt x="1" y="368"/>
                      </a:lnTo>
                      <a:lnTo>
                        <a:pt x="0" y="334"/>
                      </a:lnTo>
                      <a:lnTo>
                        <a:pt x="0" y="301"/>
                      </a:lnTo>
                      <a:lnTo>
                        <a:pt x="0" y="267"/>
                      </a:lnTo>
                      <a:lnTo>
                        <a:pt x="1" y="234"/>
                      </a:lnTo>
                      <a:lnTo>
                        <a:pt x="1" y="203"/>
                      </a:lnTo>
                      <a:lnTo>
                        <a:pt x="1" y="177"/>
                      </a:lnTo>
                      <a:lnTo>
                        <a:pt x="1" y="155"/>
                      </a:lnTo>
                      <a:lnTo>
                        <a:pt x="3" y="122"/>
                      </a:lnTo>
                      <a:lnTo>
                        <a:pt x="10" y="93"/>
                      </a:lnTo>
                      <a:lnTo>
                        <a:pt x="22" y="68"/>
                      </a:lnTo>
                      <a:lnTo>
                        <a:pt x="38" y="48"/>
                      </a:lnTo>
                      <a:lnTo>
                        <a:pt x="58" y="32"/>
                      </a:lnTo>
                      <a:lnTo>
                        <a:pt x="84" y="20"/>
                      </a:lnTo>
                      <a:lnTo>
                        <a:pt x="115" y="13"/>
                      </a:lnTo>
                      <a:lnTo>
                        <a:pt x="118" y="13"/>
                      </a:lnTo>
                      <a:lnTo>
                        <a:pt x="122" y="13"/>
                      </a:lnTo>
                      <a:lnTo>
                        <a:pt x="126" y="14"/>
                      </a:lnTo>
                      <a:lnTo>
                        <a:pt x="131" y="16"/>
                      </a:lnTo>
                      <a:lnTo>
                        <a:pt x="135" y="16"/>
                      </a:lnTo>
                      <a:lnTo>
                        <a:pt x="138" y="16"/>
                      </a:lnTo>
                      <a:lnTo>
                        <a:pt x="141" y="16"/>
                      </a:lnTo>
                      <a:lnTo>
                        <a:pt x="153" y="8"/>
                      </a:lnTo>
                      <a:lnTo>
                        <a:pt x="166" y="4"/>
                      </a:lnTo>
                      <a:lnTo>
                        <a:pt x="180" y="0"/>
                      </a:lnTo>
                      <a:lnTo>
                        <a:pt x="201" y="0"/>
                      </a:lnTo>
                      <a:close/>
                    </a:path>
                  </a:pathLst>
                </a:custGeom>
                <a:solidFill>
                  <a:srgbClr val="D2794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05" name="Freeform 396"/>
                <p:cNvSpPr>
                  <a:spLocks/>
                </p:cNvSpPr>
                <p:nvPr/>
              </p:nvSpPr>
              <p:spPr bwMode="auto">
                <a:xfrm>
                  <a:off x="2159001" y="3570288"/>
                  <a:ext cx="147638" cy="196850"/>
                </a:xfrm>
                <a:custGeom>
                  <a:avLst/>
                  <a:gdLst>
                    <a:gd name="T0" fmla="*/ 1 w 93"/>
                    <a:gd name="T1" fmla="*/ 0 h 124"/>
                    <a:gd name="T2" fmla="*/ 81 w 93"/>
                    <a:gd name="T3" fmla="*/ 19 h 124"/>
                    <a:gd name="T4" fmla="*/ 93 w 93"/>
                    <a:gd name="T5" fmla="*/ 109 h 124"/>
                    <a:gd name="T6" fmla="*/ 90 w 93"/>
                    <a:gd name="T7" fmla="*/ 111 h 124"/>
                    <a:gd name="T8" fmla="*/ 84 w 93"/>
                    <a:gd name="T9" fmla="*/ 115 h 124"/>
                    <a:gd name="T10" fmla="*/ 74 w 93"/>
                    <a:gd name="T11" fmla="*/ 119 h 124"/>
                    <a:gd name="T12" fmla="*/ 61 w 93"/>
                    <a:gd name="T13" fmla="*/ 122 h 124"/>
                    <a:gd name="T14" fmla="*/ 46 w 93"/>
                    <a:gd name="T15" fmla="*/ 124 h 124"/>
                    <a:gd name="T16" fmla="*/ 30 w 93"/>
                    <a:gd name="T17" fmla="*/ 121 h 124"/>
                    <a:gd name="T18" fmla="*/ 14 w 93"/>
                    <a:gd name="T19" fmla="*/ 114 h 124"/>
                    <a:gd name="T20" fmla="*/ 0 w 93"/>
                    <a:gd name="T21" fmla="*/ 101 h 124"/>
                    <a:gd name="T22" fmla="*/ 1 w 93"/>
                    <a:gd name="T23" fmla="*/ 0 h 1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93" h="124">
                      <a:moveTo>
                        <a:pt x="1" y="0"/>
                      </a:moveTo>
                      <a:lnTo>
                        <a:pt x="81" y="19"/>
                      </a:lnTo>
                      <a:lnTo>
                        <a:pt x="93" y="109"/>
                      </a:lnTo>
                      <a:lnTo>
                        <a:pt x="90" y="111"/>
                      </a:lnTo>
                      <a:lnTo>
                        <a:pt x="84" y="115"/>
                      </a:lnTo>
                      <a:lnTo>
                        <a:pt x="74" y="119"/>
                      </a:lnTo>
                      <a:lnTo>
                        <a:pt x="61" y="122"/>
                      </a:lnTo>
                      <a:lnTo>
                        <a:pt x="46" y="124"/>
                      </a:lnTo>
                      <a:lnTo>
                        <a:pt x="30" y="121"/>
                      </a:lnTo>
                      <a:lnTo>
                        <a:pt x="14" y="114"/>
                      </a:lnTo>
                      <a:lnTo>
                        <a:pt x="0" y="101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solidFill>
                  <a:srgbClr val="F2D2B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06" name="Freeform 397"/>
                <p:cNvSpPr>
                  <a:spLocks noEditPoints="1"/>
                </p:cNvSpPr>
                <p:nvPr/>
              </p:nvSpPr>
              <p:spPr bwMode="auto">
                <a:xfrm>
                  <a:off x="2159001" y="3600451"/>
                  <a:ext cx="0" cy="61913"/>
                </a:xfrm>
                <a:custGeom>
                  <a:avLst/>
                  <a:gdLst>
                    <a:gd name="T0" fmla="*/ 38 h 39"/>
                    <a:gd name="T1" fmla="*/ 38 h 39"/>
                    <a:gd name="T2" fmla="*/ 39 h 39"/>
                    <a:gd name="T3" fmla="*/ 39 h 39"/>
                    <a:gd name="T4" fmla="*/ 38 h 39"/>
                    <a:gd name="T5" fmla="*/ 0 h 39"/>
                    <a:gd name="T6" fmla="*/ 0 h 39"/>
                    <a:gd name="T7" fmla="*/ 28 h 39"/>
                    <a:gd name="T8" fmla="*/ 18 h 39"/>
                    <a:gd name="T9" fmla="*/ 6 h 39"/>
                    <a:gd name="T10" fmla="*/ 0 h 39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  <a:cxn ang="0">
                      <a:pos x="0" y="T6"/>
                    </a:cxn>
                    <a:cxn ang="0">
                      <a:pos x="0" y="T7"/>
                    </a:cxn>
                    <a:cxn ang="0">
                      <a:pos x="0" y="T8"/>
                    </a:cxn>
                    <a:cxn ang="0">
                      <a:pos x="0" y="T9"/>
                    </a:cxn>
                    <a:cxn ang="0">
                      <a:pos x="0" y="T10"/>
                    </a:cxn>
                  </a:cxnLst>
                  <a:rect l="0" t="0" r="r" b="b"/>
                  <a:pathLst>
                    <a:path h="39">
                      <a:moveTo>
                        <a:pt x="0" y="38"/>
                      </a:moveTo>
                      <a:lnTo>
                        <a:pt x="0" y="38"/>
                      </a:lnTo>
                      <a:lnTo>
                        <a:pt x="0" y="39"/>
                      </a:lnTo>
                      <a:lnTo>
                        <a:pt x="0" y="39"/>
                      </a:lnTo>
                      <a:lnTo>
                        <a:pt x="0" y="38"/>
                      </a:lnTo>
                      <a:close/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28"/>
                      </a:lnTo>
                      <a:lnTo>
                        <a:pt x="0" y="18"/>
                      </a:lnTo>
                      <a:lnTo>
                        <a:pt x="0" y="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76438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07" name="Freeform 398"/>
                <p:cNvSpPr>
                  <a:spLocks/>
                </p:cNvSpPr>
                <p:nvPr/>
              </p:nvSpPr>
              <p:spPr bwMode="auto">
                <a:xfrm>
                  <a:off x="2159001" y="3600451"/>
                  <a:ext cx="128588" cy="90488"/>
                </a:xfrm>
                <a:custGeom>
                  <a:avLst/>
                  <a:gdLst>
                    <a:gd name="T0" fmla="*/ 0 w 81"/>
                    <a:gd name="T1" fmla="*/ 0 h 57"/>
                    <a:gd name="T2" fmla="*/ 20 w 81"/>
                    <a:gd name="T3" fmla="*/ 10 h 57"/>
                    <a:gd name="T4" fmla="*/ 40 w 81"/>
                    <a:gd name="T5" fmla="*/ 15 h 57"/>
                    <a:gd name="T6" fmla="*/ 61 w 81"/>
                    <a:gd name="T7" fmla="*/ 12 h 57"/>
                    <a:gd name="T8" fmla="*/ 80 w 81"/>
                    <a:gd name="T9" fmla="*/ 2 h 57"/>
                    <a:gd name="T10" fmla="*/ 81 w 81"/>
                    <a:gd name="T11" fmla="*/ 3 h 57"/>
                    <a:gd name="T12" fmla="*/ 43 w 81"/>
                    <a:gd name="T13" fmla="*/ 22 h 57"/>
                    <a:gd name="T14" fmla="*/ 42 w 81"/>
                    <a:gd name="T15" fmla="*/ 25 h 57"/>
                    <a:gd name="T16" fmla="*/ 40 w 81"/>
                    <a:gd name="T17" fmla="*/ 34 h 57"/>
                    <a:gd name="T18" fmla="*/ 35 w 81"/>
                    <a:gd name="T19" fmla="*/ 44 h 57"/>
                    <a:gd name="T20" fmla="*/ 29 w 81"/>
                    <a:gd name="T21" fmla="*/ 57 h 57"/>
                    <a:gd name="T22" fmla="*/ 13 w 81"/>
                    <a:gd name="T23" fmla="*/ 50 h 57"/>
                    <a:gd name="T24" fmla="*/ 0 w 81"/>
                    <a:gd name="T25" fmla="*/ 39 h 57"/>
                    <a:gd name="T26" fmla="*/ 0 w 81"/>
                    <a:gd name="T27" fmla="*/ 38 h 57"/>
                    <a:gd name="T28" fmla="*/ 0 w 81"/>
                    <a:gd name="T29" fmla="*/ 37 h 57"/>
                    <a:gd name="T30" fmla="*/ 0 w 81"/>
                    <a:gd name="T31" fmla="*/ 32 h 57"/>
                    <a:gd name="T32" fmla="*/ 0 w 81"/>
                    <a:gd name="T33" fmla="*/ 28 h 57"/>
                    <a:gd name="T34" fmla="*/ 0 w 81"/>
                    <a:gd name="T35" fmla="*/ 0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81" h="57">
                      <a:moveTo>
                        <a:pt x="0" y="0"/>
                      </a:moveTo>
                      <a:lnTo>
                        <a:pt x="20" y="10"/>
                      </a:lnTo>
                      <a:lnTo>
                        <a:pt x="40" y="15"/>
                      </a:lnTo>
                      <a:lnTo>
                        <a:pt x="61" y="12"/>
                      </a:lnTo>
                      <a:lnTo>
                        <a:pt x="80" y="2"/>
                      </a:lnTo>
                      <a:lnTo>
                        <a:pt x="81" y="3"/>
                      </a:lnTo>
                      <a:lnTo>
                        <a:pt x="43" y="22"/>
                      </a:lnTo>
                      <a:lnTo>
                        <a:pt x="42" y="25"/>
                      </a:lnTo>
                      <a:lnTo>
                        <a:pt x="40" y="34"/>
                      </a:lnTo>
                      <a:lnTo>
                        <a:pt x="35" y="44"/>
                      </a:lnTo>
                      <a:lnTo>
                        <a:pt x="29" y="57"/>
                      </a:lnTo>
                      <a:lnTo>
                        <a:pt x="13" y="50"/>
                      </a:lnTo>
                      <a:lnTo>
                        <a:pt x="0" y="39"/>
                      </a:lnTo>
                      <a:lnTo>
                        <a:pt x="0" y="38"/>
                      </a:lnTo>
                      <a:lnTo>
                        <a:pt x="0" y="37"/>
                      </a:lnTo>
                      <a:lnTo>
                        <a:pt x="0" y="32"/>
                      </a:lnTo>
                      <a:lnTo>
                        <a:pt x="0" y="2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6AD7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08" name="Freeform 399"/>
                <p:cNvSpPr>
                  <a:spLocks/>
                </p:cNvSpPr>
                <p:nvPr/>
              </p:nvSpPr>
              <p:spPr bwMode="auto">
                <a:xfrm>
                  <a:off x="2260601" y="3814763"/>
                  <a:ext cx="214313" cy="173038"/>
                </a:xfrm>
                <a:custGeom>
                  <a:avLst/>
                  <a:gdLst>
                    <a:gd name="T0" fmla="*/ 67 w 135"/>
                    <a:gd name="T1" fmla="*/ 0 h 109"/>
                    <a:gd name="T2" fmla="*/ 88 w 135"/>
                    <a:gd name="T3" fmla="*/ 3 h 109"/>
                    <a:gd name="T4" fmla="*/ 107 w 135"/>
                    <a:gd name="T5" fmla="*/ 11 h 109"/>
                    <a:gd name="T6" fmla="*/ 122 w 135"/>
                    <a:gd name="T7" fmla="*/ 24 h 109"/>
                    <a:gd name="T8" fmla="*/ 131 w 135"/>
                    <a:gd name="T9" fmla="*/ 38 h 109"/>
                    <a:gd name="T10" fmla="*/ 135 w 135"/>
                    <a:gd name="T11" fmla="*/ 54 h 109"/>
                    <a:gd name="T12" fmla="*/ 131 w 135"/>
                    <a:gd name="T13" fmla="*/ 72 h 109"/>
                    <a:gd name="T14" fmla="*/ 122 w 135"/>
                    <a:gd name="T15" fmla="*/ 86 h 109"/>
                    <a:gd name="T16" fmla="*/ 107 w 135"/>
                    <a:gd name="T17" fmla="*/ 99 h 109"/>
                    <a:gd name="T18" fmla="*/ 88 w 135"/>
                    <a:gd name="T19" fmla="*/ 106 h 109"/>
                    <a:gd name="T20" fmla="*/ 67 w 135"/>
                    <a:gd name="T21" fmla="*/ 109 h 109"/>
                    <a:gd name="T22" fmla="*/ 46 w 135"/>
                    <a:gd name="T23" fmla="*/ 106 h 109"/>
                    <a:gd name="T24" fmla="*/ 27 w 135"/>
                    <a:gd name="T25" fmla="*/ 99 h 109"/>
                    <a:gd name="T26" fmla="*/ 13 w 135"/>
                    <a:gd name="T27" fmla="*/ 86 h 109"/>
                    <a:gd name="T28" fmla="*/ 3 w 135"/>
                    <a:gd name="T29" fmla="*/ 72 h 109"/>
                    <a:gd name="T30" fmla="*/ 0 w 135"/>
                    <a:gd name="T31" fmla="*/ 54 h 109"/>
                    <a:gd name="T32" fmla="*/ 3 w 135"/>
                    <a:gd name="T33" fmla="*/ 38 h 109"/>
                    <a:gd name="T34" fmla="*/ 13 w 135"/>
                    <a:gd name="T35" fmla="*/ 24 h 109"/>
                    <a:gd name="T36" fmla="*/ 27 w 135"/>
                    <a:gd name="T37" fmla="*/ 11 h 109"/>
                    <a:gd name="T38" fmla="*/ 46 w 135"/>
                    <a:gd name="T39" fmla="*/ 3 h 109"/>
                    <a:gd name="T40" fmla="*/ 67 w 135"/>
                    <a:gd name="T41" fmla="*/ 0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35" h="109">
                      <a:moveTo>
                        <a:pt x="67" y="0"/>
                      </a:moveTo>
                      <a:lnTo>
                        <a:pt x="88" y="3"/>
                      </a:lnTo>
                      <a:lnTo>
                        <a:pt x="107" y="11"/>
                      </a:lnTo>
                      <a:lnTo>
                        <a:pt x="122" y="24"/>
                      </a:lnTo>
                      <a:lnTo>
                        <a:pt x="131" y="38"/>
                      </a:lnTo>
                      <a:lnTo>
                        <a:pt x="135" y="54"/>
                      </a:lnTo>
                      <a:lnTo>
                        <a:pt x="131" y="72"/>
                      </a:lnTo>
                      <a:lnTo>
                        <a:pt x="122" y="86"/>
                      </a:lnTo>
                      <a:lnTo>
                        <a:pt x="107" y="99"/>
                      </a:lnTo>
                      <a:lnTo>
                        <a:pt x="88" y="106"/>
                      </a:lnTo>
                      <a:lnTo>
                        <a:pt x="67" y="109"/>
                      </a:lnTo>
                      <a:lnTo>
                        <a:pt x="46" y="106"/>
                      </a:lnTo>
                      <a:lnTo>
                        <a:pt x="27" y="99"/>
                      </a:lnTo>
                      <a:lnTo>
                        <a:pt x="13" y="86"/>
                      </a:lnTo>
                      <a:lnTo>
                        <a:pt x="3" y="72"/>
                      </a:lnTo>
                      <a:lnTo>
                        <a:pt x="0" y="54"/>
                      </a:lnTo>
                      <a:lnTo>
                        <a:pt x="3" y="38"/>
                      </a:lnTo>
                      <a:lnTo>
                        <a:pt x="13" y="24"/>
                      </a:lnTo>
                      <a:lnTo>
                        <a:pt x="27" y="11"/>
                      </a:lnTo>
                      <a:lnTo>
                        <a:pt x="46" y="3"/>
                      </a:lnTo>
                      <a:lnTo>
                        <a:pt x="67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09" name="Freeform 400"/>
                <p:cNvSpPr>
                  <a:spLocks/>
                </p:cNvSpPr>
                <p:nvPr/>
              </p:nvSpPr>
              <p:spPr bwMode="auto">
                <a:xfrm>
                  <a:off x="2073276" y="3814763"/>
                  <a:ext cx="212725" cy="173038"/>
                </a:xfrm>
                <a:custGeom>
                  <a:avLst/>
                  <a:gdLst>
                    <a:gd name="T0" fmla="*/ 67 w 134"/>
                    <a:gd name="T1" fmla="*/ 0 h 109"/>
                    <a:gd name="T2" fmla="*/ 89 w 134"/>
                    <a:gd name="T3" fmla="*/ 3 h 109"/>
                    <a:gd name="T4" fmla="*/ 106 w 134"/>
                    <a:gd name="T5" fmla="*/ 11 h 109"/>
                    <a:gd name="T6" fmla="*/ 121 w 134"/>
                    <a:gd name="T7" fmla="*/ 24 h 109"/>
                    <a:gd name="T8" fmla="*/ 131 w 134"/>
                    <a:gd name="T9" fmla="*/ 38 h 109"/>
                    <a:gd name="T10" fmla="*/ 134 w 134"/>
                    <a:gd name="T11" fmla="*/ 54 h 109"/>
                    <a:gd name="T12" fmla="*/ 131 w 134"/>
                    <a:gd name="T13" fmla="*/ 72 h 109"/>
                    <a:gd name="T14" fmla="*/ 121 w 134"/>
                    <a:gd name="T15" fmla="*/ 86 h 109"/>
                    <a:gd name="T16" fmla="*/ 106 w 134"/>
                    <a:gd name="T17" fmla="*/ 99 h 109"/>
                    <a:gd name="T18" fmla="*/ 89 w 134"/>
                    <a:gd name="T19" fmla="*/ 106 h 109"/>
                    <a:gd name="T20" fmla="*/ 67 w 134"/>
                    <a:gd name="T21" fmla="*/ 109 h 109"/>
                    <a:gd name="T22" fmla="*/ 45 w 134"/>
                    <a:gd name="T23" fmla="*/ 106 h 109"/>
                    <a:gd name="T24" fmla="*/ 28 w 134"/>
                    <a:gd name="T25" fmla="*/ 99 h 109"/>
                    <a:gd name="T26" fmla="*/ 13 w 134"/>
                    <a:gd name="T27" fmla="*/ 86 h 109"/>
                    <a:gd name="T28" fmla="*/ 3 w 134"/>
                    <a:gd name="T29" fmla="*/ 72 h 109"/>
                    <a:gd name="T30" fmla="*/ 0 w 134"/>
                    <a:gd name="T31" fmla="*/ 54 h 109"/>
                    <a:gd name="T32" fmla="*/ 3 w 134"/>
                    <a:gd name="T33" fmla="*/ 38 h 109"/>
                    <a:gd name="T34" fmla="*/ 13 w 134"/>
                    <a:gd name="T35" fmla="*/ 24 h 109"/>
                    <a:gd name="T36" fmla="*/ 28 w 134"/>
                    <a:gd name="T37" fmla="*/ 11 h 109"/>
                    <a:gd name="T38" fmla="*/ 45 w 134"/>
                    <a:gd name="T39" fmla="*/ 3 h 109"/>
                    <a:gd name="T40" fmla="*/ 67 w 134"/>
                    <a:gd name="T41" fmla="*/ 0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34" h="109">
                      <a:moveTo>
                        <a:pt x="67" y="0"/>
                      </a:moveTo>
                      <a:lnTo>
                        <a:pt x="89" y="3"/>
                      </a:lnTo>
                      <a:lnTo>
                        <a:pt x="106" y="11"/>
                      </a:lnTo>
                      <a:lnTo>
                        <a:pt x="121" y="24"/>
                      </a:lnTo>
                      <a:lnTo>
                        <a:pt x="131" y="38"/>
                      </a:lnTo>
                      <a:lnTo>
                        <a:pt x="134" y="54"/>
                      </a:lnTo>
                      <a:lnTo>
                        <a:pt x="131" y="72"/>
                      </a:lnTo>
                      <a:lnTo>
                        <a:pt x="121" y="86"/>
                      </a:lnTo>
                      <a:lnTo>
                        <a:pt x="106" y="99"/>
                      </a:lnTo>
                      <a:lnTo>
                        <a:pt x="89" y="106"/>
                      </a:lnTo>
                      <a:lnTo>
                        <a:pt x="67" y="109"/>
                      </a:lnTo>
                      <a:lnTo>
                        <a:pt x="45" y="106"/>
                      </a:lnTo>
                      <a:lnTo>
                        <a:pt x="28" y="99"/>
                      </a:lnTo>
                      <a:lnTo>
                        <a:pt x="13" y="86"/>
                      </a:lnTo>
                      <a:lnTo>
                        <a:pt x="3" y="72"/>
                      </a:lnTo>
                      <a:lnTo>
                        <a:pt x="0" y="54"/>
                      </a:lnTo>
                      <a:lnTo>
                        <a:pt x="3" y="38"/>
                      </a:lnTo>
                      <a:lnTo>
                        <a:pt x="13" y="24"/>
                      </a:lnTo>
                      <a:lnTo>
                        <a:pt x="28" y="11"/>
                      </a:lnTo>
                      <a:lnTo>
                        <a:pt x="45" y="3"/>
                      </a:lnTo>
                      <a:lnTo>
                        <a:pt x="67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10" name="Freeform 401"/>
                <p:cNvSpPr>
                  <a:spLocks/>
                </p:cNvSpPr>
                <p:nvPr/>
              </p:nvSpPr>
              <p:spPr bwMode="auto">
                <a:xfrm>
                  <a:off x="2032001" y="3055938"/>
                  <a:ext cx="382588" cy="568325"/>
                </a:xfrm>
                <a:custGeom>
                  <a:avLst/>
                  <a:gdLst>
                    <a:gd name="T0" fmla="*/ 120 w 241"/>
                    <a:gd name="T1" fmla="*/ 0 h 358"/>
                    <a:gd name="T2" fmla="*/ 148 w 241"/>
                    <a:gd name="T3" fmla="*/ 4 h 358"/>
                    <a:gd name="T4" fmla="*/ 174 w 241"/>
                    <a:gd name="T5" fmla="*/ 18 h 358"/>
                    <a:gd name="T6" fmla="*/ 196 w 241"/>
                    <a:gd name="T7" fmla="*/ 38 h 358"/>
                    <a:gd name="T8" fmla="*/ 215 w 241"/>
                    <a:gd name="T9" fmla="*/ 64 h 358"/>
                    <a:gd name="T10" fmla="*/ 230 w 241"/>
                    <a:gd name="T11" fmla="*/ 96 h 358"/>
                    <a:gd name="T12" fmla="*/ 238 w 241"/>
                    <a:gd name="T13" fmla="*/ 132 h 358"/>
                    <a:gd name="T14" fmla="*/ 241 w 241"/>
                    <a:gd name="T15" fmla="*/ 172 h 358"/>
                    <a:gd name="T16" fmla="*/ 238 w 241"/>
                    <a:gd name="T17" fmla="*/ 212 h 358"/>
                    <a:gd name="T18" fmla="*/ 228 w 241"/>
                    <a:gd name="T19" fmla="*/ 250 h 358"/>
                    <a:gd name="T20" fmla="*/ 214 w 241"/>
                    <a:gd name="T21" fmla="*/ 285 h 358"/>
                    <a:gd name="T22" fmla="*/ 193 w 241"/>
                    <a:gd name="T23" fmla="*/ 314 h 358"/>
                    <a:gd name="T24" fmla="*/ 171 w 241"/>
                    <a:gd name="T25" fmla="*/ 337 h 358"/>
                    <a:gd name="T26" fmla="*/ 147 w 241"/>
                    <a:gd name="T27" fmla="*/ 352 h 358"/>
                    <a:gd name="T28" fmla="*/ 120 w 241"/>
                    <a:gd name="T29" fmla="*/ 358 h 358"/>
                    <a:gd name="T30" fmla="*/ 100 w 241"/>
                    <a:gd name="T31" fmla="*/ 353 h 358"/>
                    <a:gd name="T32" fmla="*/ 78 w 241"/>
                    <a:gd name="T33" fmla="*/ 342 h 358"/>
                    <a:gd name="T34" fmla="*/ 58 w 241"/>
                    <a:gd name="T35" fmla="*/ 324 h 358"/>
                    <a:gd name="T36" fmla="*/ 39 w 241"/>
                    <a:gd name="T37" fmla="*/ 300 h 358"/>
                    <a:gd name="T38" fmla="*/ 23 w 241"/>
                    <a:gd name="T39" fmla="*/ 272 h 358"/>
                    <a:gd name="T40" fmla="*/ 10 w 241"/>
                    <a:gd name="T41" fmla="*/ 241 h 358"/>
                    <a:gd name="T42" fmla="*/ 3 w 241"/>
                    <a:gd name="T43" fmla="*/ 207 h 358"/>
                    <a:gd name="T44" fmla="*/ 0 w 241"/>
                    <a:gd name="T45" fmla="*/ 172 h 358"/>
                    <a:gd name="T46" fmla="*/ 3 w 241"/>
                    <a:gd name="T47" fmla="*/ 132 h 358"/>
                    <a:gd name="T48" fmla="*/ 11 w 241"/>
                    <a:gd name="T49" fmla="*/ 96 h 358"/>
                    <a:gd name="T50" fmla="*/ 26 w 241"/>
                    <a:gd name="T51" fmla="*/ 64 h 358"/>
                    <a:gd name="T52" fmla="*/ 45 w 241"/>
                    <a:gd name="T53" fmla="*/ 38 h 358"/>
                    <a:gd name="T54" fmla="*/ 67 w 241"/>
                    <a:gd name="T55" fmla="*/ 18 h 358"/>
                    <a:gd name="T56" fmla="*/ 93 w 241"/>
                    <a:gd name="T57" fmla="*/ 4 h 358"/>
                    <a:gd name="T58" fmla="*/ 120 w 241"/>
                    <a:gd name="T59" fmla="*/ 0 h 3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241" h="358">
                      <a:moveTo>
                        <a:pt x="120" y="0"/>
                      </a:moveTo>
                      <a:lnTo>
                        <a:pt x="148" y="4"/>
                      </a:lnTo>
                      <a:lnTo>
                        <a:pt x="174" y="18"/>
                      </a:lnTo>
                      <a:lnTo>
                        <a:pt x="196" y="38"/>
                      </a:lnTo>
                      <a:lnTo>
                        <a:pt x="215" y="64"/>
                      </a:lnTo>
                      <a:lnTo>
                        <a:pt x="230" y="96"/>
                      </a:lnTo>
                      <a:lnTo>
                        <a:pt x="238" y="132"/>
                      </a:lnTo>
                      <a:lnTo>
                        <a:pt x="241" y="172"/>
                      </a:lnTo>
                      <a:lnTo>
                        <a:pt x="238" y="212"/>
                      </a:lnTo>
                      <a:lnTo>
                        <a:pt x="228" y="250"/>
                      </a:lnTo>
                      <a:lnTo>
                        <a:pt x="214" y="285"/>
                      </a:lnTo>
                      <a:lnTo>
                        <a:pt x="193" y="314"/>
                      </a:lnTo>
                      <a:lnTo>
                        <a:pt x="171" y="337"/>
                      </a:lnTo>
                      <a:lnTo>
                        <a:pt x="147" y="352"/>
                      </a:lnTo>
                      <a:lnTo>
                        <a:pt x="120" y="358"/>
                      </a:lnTo>
                      <a:lnTo>
                        <a:pt x="100" y="353"/>
                      </a:lnTo>
                      <a:lnTo>
                        <a:pt x="78" y="342"/>
                      </a:lnTo>
                      <a:lnTo>
                        <a:pt x="58" y="324"/>
                      </a:lnTo>
                      <a:lnTo>
                        <a:pt x="39" y="300"/>
                      </a:lnTo>
                      <a:lnTo>
                        <a:pt x="23" y="272"/>
                      </a:lnTo>
                      <a:lnTo>
                        <a:pt x="10" y="241"/>
                      </a:lnTo>
                      <a:lnTo>
                        <a:pt x="3" y="207"/>
                      </a:lnTo>
                      <a:lnTo>
                        <a:pt x="0" y="172"/>
                      </a:lnTo>
                      <a:lnTo>
                        <a:pt x="3" y="132"/>
                      </a:lnTo>
                      <a:lnTo>
                        <a:pt x="11" y="96"/>
                      </a:lnTo>
                      <a:lnTo>
                        <a:pt x="26" y="64"/>
                      </a:lnTo>
                      <a:lnTo>
                        <a:pt x="45" y="38"/>
                      </a:lnTo>
                      <a:lnTo>
                        <a:pt x="67" y="18"/>
                      </a:lnTo>
                      <a:lnTo>
                        <a:pt x="93" y="4"/>
                      </a:lnTo>
                      <a:lnTo>
                        <a:pt x="120" y="0"/>
                      </a:lnTo>
                      <a:close/>
                    </a:path>
                  </a:pathLst>
                </a:custGeom>
                <a:solidFill>
                  <a:srgbClr val="F2D2B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11" name="Freeform 402"/>
                <p:cNvSpPr>
                  <a:spLocks/>
                </p:cNvSpPr>
                <p:nvPr/>
              </p:nvSpPr>
              <p:spPr bwMode="auto">
                <a:xfrm>
                  <a:off x="2408239" y="3354388"/>
                  <a:ext cx="6350" cy="50800"/>
                </a:xfrm>
                <a:custGeom>
                  <a:avLst/>
                  <a:gdLst>
                    <a:gd name="T0" fmla="*/ 4 w 4"/>
                    <a:gd name="T1" fmla="*/ 0 h 32"/>
                    <a:gd name="T2" fmla="*/ 4 w 4"/>
                    <a:gd name="T3" fmla="*/ 1 h 32"/>
                    <a:gd name="T4" fmla="*/ 4 w 4"/>
                    <a:gd name="T5" fmla="*/ 14 h 32"/>
                    <a:gd name="T6" fmla="*/ 0 w 4"/>
                    <a:gd name="T7" fmla="*/ 32 h 32"/>
                    <a:gd name="T8" fmla="*/ 0 w 4"/>
                    <a:gd name="T9" fmla="*/ 30 h 32"/>
                    <a:gd name="T10" fmla="*/ 4 w 4"/>
                    <a:gd name="T11" fmla="*/ 0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" h="32">
                      <a:moveTo>
                        <a:pt x="4" y="0"/>
                      </a:moveTo>
                      <a:lnTo>
                        <a:pt x="4" y="1"/>
                      </a:lnTo>
                      <a:lnTo>
                        <a:pt x="4" y="14"/>
                      </a:lnTo>
                      <a:lnTo>
                        <a:pt x="0" y="32"/>
                      </a:lnTo>
                      <a:lnTo>
                        <a:pt x="0" y="3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C76438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12" name="Freeform 403"/>
                <p:cNvSpPr>
                  <a:spLocks noEditPoints="1"/>
                </p:cNvSpPr>
                <p:nvPr/>
              </p:nvSpPr>
              <p:spPr bwMode="auto">
                <a:xfrm>
                  <a:off x="2057401" y="3181351"/>
                  <a:ext cx="357188" cy="442913"/>
                </a:xfrm>
                <a:custGeom>
                  <a:avLst/>
                  <a:gdLst>
                    <a:gd name="T0" fmla="*/ 29 w 225"/>
                    <a:gd name="T1" fmla="*/ 114 h 279"/>
                    <a:gd name="T2" fmla="*/ 30 w 225"/>
                    <a:gd name="T3" fmla="*/ 149 h 279"/>
                    <a:gd name="T4" fmla="*/ 36 w 225"/>
                    <a:gd name="T5" fmla="*/ 181 h 279"/>
                    <a:gd name="T6" fmla="*/ 46 w 225"/>
                    <a:gd name="T7" fmla="*/ 207 h 279"/>
                    <a:gd name="T8" fmla="*/ 58 w 225"/>
                    <a:gd name="T9" fmla="*/ 229 h 279"/>
                    <a:gd name="T10" fmla="*/ 71 w 225"/>
                    <a:gd name="T11" fmla="*/ 248 h 279"/>
                    <a:gd name="T12" fmla="*/ 84 w 225"/>
                    <a:gd name="T13" fmla="*/ 261 h 279"/>
                    <a:gd name="T14" fmla="*/ 94 w 225"/>
                    <a:gd name="T15" fmla="*/ 271 h 279"/>
                    <a:gd name="T16" fmla="*/ 102 w 225"/>
                    <a:gd name="T17" fmla="*/ 276 h 279"/>
                    <a:gd name="T18" fmla="*/ 104 w 225"/>
                    <a:gd name="T19" fmla="*/ 279 h 279"/>
                    <a:gd name="T20" fmla="*/ 84 w 225"/>
                    <a:gd name="T21" fmla="*/ 274 h 279"/>
                    <a:gd name="T22" fmla="*/ 64 w 225"/>
                    <a:gd name="T23" fmla="*/ 264 h 279"/>
                    <a:gd name="T24" fmla="*/ 64 w 225"/>
                    <a:gd name="T25" fmla="*/ 264 h 279"/>
                    <a:gd name="T26" fmla="*/ 40 w 225"/>
                    <a:gd name="T27" fmla="*/ 242 h 279"/>
                    <a:gd name="T28" fmla="*/ 19 w 225"/>
                    <a:gd name="T29" fmla="*/ 213 h 279"/>
                    <a:gd name="T30" fmla="*/ 0 w 225"/>
                    <a:gd name="T31" fmla="*/ 177 h 279"/>
                    <a:gd name="T32" fmla="*/ 16 w 225"/>
                    <a:gd name="T33" fmla="*/ 148 h 279"/>
                    <a:gd name="T34" fmla="*/ 29 w 225"/>
                    <a:gd name="T35" fmla="*/ 114 h 279"/>
                    <a:gd name="T36" fmla="*/ 59 w 225"/>
                    <a:gd name="T37" fmla="*/ 0 h 279"/>
                    <a:gd name="T38" fmla="*/ 74 w 225"/>
                    <a:gd name="T39" fmla="*/ 4 h 279"/>
                    <a:gd name="T40" fmla="*/ 91 w 225"/>
                    <a:gd name="T41" fmla="*/ 8 h 279"/>
                    <a:gd name="T42" fmla="*/ 110 w 225"/>
                    <a:gd name="T43" fmla="*/ 13 h 279"/>
                    <a:gd name="T44" fmla="*/ 129 w 225"/>
                    <a:gd name="T45" fmla="*/ 19 h 279"/>
                    <a:gd name="T46" fmla="*/ 150 w 225"/>
                    <a:gd name="T47" fmla="*/ 27 h 279"/>
                    <a:gd name="T48" fmla="*/ 170 w 225"/>
                    <a:gd name="T49" fmla="*/ 40 h 279"/>
                    <a:gd name="T50" fmla="*/ 190 w 225"/>
                    <a:gd name="T51" fmla="*/ 56 h 279"/>
                    <a:gd name="T52" fmla="*/ 209 w 225"/>
                    <a:gd name="T53" fmla="*/ 80 h 279"/>
                    <a:gd name="T54" fmla="*/ 225 w 225"/>
                    <a:gd name="T55" fmla="*/ 109 h 279"/>
                    <a:gd name="T56" fmla="*/ 221 w 225"/>
                    <a:gd name="T57" fmla="*/ 139 h 279"/>
                    <a:gd name="T58" fmla="*/ 214 w 225"/>
                    <a:gd name="T59" fmla="*/ 113 h 279"/>
                    <a:gd name="T60" fmla="*/ 199 w 225"/>
                    <a:gd name="T61" fmla="*/ 90 h 279"/>
                    <a:gd name="T62" fmla="*/ 179 w 225"/>
                    <a:gd name="T63" fmla="*/ 68 h 279"/>
                    <a:gd name="T64" fmla="*/ 155 w 225"/>
                    <a:gd name="T65" fmla="*/ 49 h 279"/>
                    <a:gd name="T66" fmla="*/ 131 w 225"/>
                    <a:gd name="T67" fmla="*/ 35 h 279"/>
                    <a:gd name="T68" fmla="*/ 106 w 225"/>
                    <a:gd name="T69" fmla="*/ 23 h 279"/>
                    <a:gd name="T70" fmla="*/ 84 w 225"/>
                    <a:gd name="T71" fmla="*/ 16 h 279"/>
                    <a:gd name="T72" fmla="*/ 65 w 225"/>
                    <a:gd name="T73" fmla="*/ 13 h 279"/>
                    <a:gd name="T74" fmla="*/ 61 w 225"/>
                    <a:gd name="T75" fmla="*/ 13 h 279"/>
                    <a:gd name="T76" fmla="*/ 56 w 225"/>
                    <a:gd name="T77" fmla="*/ 14 h 279"/>
                    <a:gd name="T78" fmla="*/ 58 w 225"/>
                    <a:gd name="T79" fmla="*/ 8 h 279"/>
                    <a:gd name="T80" fmla="*/ 58 w 225"/>
                    <a:gd name="T81" fmla="*/ 4 h 279"/>
                    <a:gd name="T82" fmla="*/ 59 w 225"/>
                    <a:gd name="T83" fmla="*/ 0 h 2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225" h="279">
                      <a:moveTo>
                        <a:pt x="29" y="114"/>
                      </a:moveTo>
                      <a:lnTo>
                        <a:pt x="30" y="149"/>
                      </a:lnTo>
                      <a:lnTo>
                        <a:pt x="36" y="181"/>
                      </a:lnTo>
                      <a:lnTo>
                        <a:pt x="46" y="207"/>
                      </a:lnTo>
                      <a:lnTo>
                        <a:pt x="58" y="229"/>
                      </a:lnTo>
                      <a:lnTo>
                        <a:pt x="71" y="248"/>
                      </a:lnTo>
                      <a:lnTo>
                        <a:pt x="84" y="261"/>
                      </a:lnTo>
                      <a:lnTo>
                        <a:pt x="94" y="271"/>
                      </a:lnTo>
                      <a:lnTo>
                        <a:pt x="102" y="276"/>
                      </a:lnTo>
                      <a:lnTo>
                        <a:pt x="104" y="279"/>
                      </a:lnTo>
                      <a:lnTo>
                        <a:pt x="84" y="274"/>
                      </a:lnTo>
                      <a:lnTo>
                        <a:pt x="64" y="264"/>
                      </a:lnTo>
                      <a:lnTo>
                        <a:pt x="64" y="264"/>
                      </a:lnTo>
                      <a:lnTo>
                        <a:pt x="40" y="242"/>
                      </a:lnTo>
                      <a:lnTo>
                        <a:pt x="19" y="213"/>
                      </a:lnTo>
                      <a:lnTo>
                        <a:pt x="0" y="177"/>
                      </a:lnTo>
                      <a:lnTo>
                        <a:pt x="16" y="148"/>
                      </a:lnTo>
                      <a:lnTo>
                        <a:pt x="29" y="114"/>
                      </a:lnTo>
                      <a:close/>
                      <a:moveTo>
                        <a:pt x="59" y="0"/>
                      </a:moveTo>
                      <a:lnTo>
                        <a:pt x="74" y="4"/>
                      </a:lnTo>
                      <a:lnTo>
                        <a:pt x="91" y="8"/>
                      </a:lnTo>
                      <a:lnTo>
                        <a:pt x="110" y="13"/>
                      </a:lnTo>
                      <a:lnTo>
                        <a:pt x="129" y="19"/>
                      </a:lnTo>
                      <a:lnTo>
                        <a:pt x="150" y="27"/>
                      </a:lnTo>
                      <a:lnTo>
                        <a:pt x="170" y="40"/>
                      </a:lnTo>
                      <a:lnTo>
                        <a:pt x="190" y="56"/>
                      </a:lnTo>
                      <a:lnTo>
                        <a:pt x="209" y="80"/>
                      </a:lnTo>
                      <a:lnTo>
                        <a:pt x="225" y="109"/>
                      </a:lnTo>
                      <a:lnTo>
                        <a:pt x="221" y="139"/>
                      </a:lnTo>
                      <a:lnTo>
                        <a:pt x="214" y="113"/>
                      </a:lnTo>
                      <a:lnTo>
                        <a:pt x="199" y="90"/>
                      </a:lnTo>
                      <a:lnTo>
                        <a:pt x="179" y="68"/>
                      </a:lnTo>
                      <a:lnTo>
                        <a:pt x="155" y="49"/>
                      </a:lnTo>
                      <a:lnTo>
                        <a:pt x="131" y="35"/>
                      </a:lnTo>
                      <a:lnTo>
                        <a:pt x="106" y="23"/>
                      </a:lnTo>
                      <a:lnTo>
                        <a:pt x="84" y="16"/>
                      </a:lnTo>
                      <a:lnTo>
                        <a:pt x="65" y="13"/>
                      </a:lnTo>
                      <a:lnTo>
                        <a:pt x="61" y="13"/>
                      </a:lnTo>
                      <a:lnTo>
                        <a:pt x="56" y="14"/>
                      </a:lnTo>
                      <a:lnTo>
                        <a:pt x="58" y="8"/>
                      </a:lnTo>
                      <a:lnTo>
                        <a:pt x="58" y="4"/>
                      </a:lnTo>
                      <a:lnTo>
                        <a:pt x="59" y="0"/>
                      </a:lnTo>
                      <a:close/>
                    </a:path>
                  </a:pathLst>
                </a:custGeom>
                <a:solidFill>
                  <a:srgbClr val="E6AD7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13" name="Freeform 404"/>
                <p:cNvSpPr>
                  <a:spLocks/>
                </p:cNvSpPr>
                <p:nvPr/>
              </p:nvSpPr>
              <p:spPr bwMode="auto">
                <a:xfrm>
                  <a:off x="2112964" y="3024188"/>
                  <a:ext cx="396875" cy="468313"/>
                </a:xfrm>
                <a:custGeom>
                  <a:avLst/>
                  <a:gdLst>
                    <a:gd name="T0" fmla="*/ 123 w 250"/>
                    <a:gd name="T1" fmla="*/ 0 h 295"/>
                    <a:gd name="T2" fmla="*/ 154 w 250"/>
                    <a:gd name="T3" fmla="*/ 3 h 295"/>
                    <a:gd name="T4" fmla="*/ 180 w 250"/>
                    <a:gd name="T5" fmla="*/ 11 h 295"/>
                    <a:gd name="T6" fmla="*/ 202 w 250"/>
                    <a:gd name="T7" fmla="*/ 24 h 295"/>
                    <a:gd name="T8" fmla="*/ 219 w 250"/>
                    <a:gd name="T9" fmla="*/ 42 h 295"/>
                    <a:gd name="T10" fmla="*/ 232 w 250"/>
                    <a:gd name="T11" fmla="*/ 61 h 295"/>
                    <a:gd name="T12" fmla="*/ 243 w 250"/>
                    <a:gd name="T13" fmla="*/ 83 h 295"/>
                    <a:gd name="T14" fmla="*/ 248 w 250"/>
                    <a:gd name="T15" fmla="*/ 106 h 295"/>
                    <a:gd name="T16" fmla="*/ 250 w 250"/>
                    <a:gd name="T17" fmla="*/ 128 h 295"/>
                    <a:gd name="T18" fmla="*/ 250 w 250"/>
                    <a:gd name="T19" fmla="*/ 144 h 295"/>
                    <a:gd name="T20" fmla="*/ 250 w 250"/>
                    <a:gd name="T21" fmla="*/ 163 h 295"/>
                    <a:gd name="T22" fmla="*/ 248 w 250"/>
                    <a:gd name="T23" fmla="*/ 184 h 295"/>
                    <a:gd name="T24" fmla="*/ 247 w 250"/>
                    <a:gd name="T25" fmla="*/ 206 h 295"/>
                    <a:gd name="T26" fmla="*/ 244 w 250"/>
                    <a:gd name="T27" fmla="*/ 228 h 295"/>
                    <a:gd name="T28" fmla="*/ 241 w 250"/>
                    <a:gd name="T29" fmla="*/ 248 h 295"/>
                    <a:gd name="T30" fmla="*/ 238 w 250"/>
                    <a:gd name="T31" fmla="*/ 266 h 295"/>
                    <a:gd name="T32" fmla="*/ 234 w 250"/>
                    <a:gd name="T33" fmla="*/ 280 h 295"/>
                    <a:gd name="T34" fmla="*/ 229 w 250"/>
                    <a:gd name="T35" fmla="*/ 290 h 295"/>
                    <a:gd name="T36" fmla="*/ 225 w 250"/>
                    <a:gd name="T37" fmla="*/ 295 h 295"/>
                    <a:gd name="T38" fmla="*/ 221 w 250"/>
                    <a:gd name="T39" fmla="*/ 292 h 295"/>
                    <a:gd name="T40" fmla="*/ 215 w 250"/>
                    <a:gd name="T41" fmla="*/ 280 h 295"/>
                    <a:gd name="T42" fmla="*/ 209 w 250"/>
                    <a:gd name="T43" fmla="*/ 261 h 295"/>
                    <a:gd name="T44" fmla="*/ 197 w 250"/>
                    <a:gd name="T45" fmla="*/ 224 h 295"/>
                    <a:gd name="T46" fmla="*/ 183 w 250"/>
                    <a:gd name="T47" fmla="*/ 195 h 295"/>
                    <a:gd name="T48" fmla="*/ 167 w 250"/>
                    <a:gd name="T49" fmla="*/ 170 h 295"/>
                    <a:gd name="T50" fmla="*/ 149 w 250"/>
                    <a:gd name="T51" fmla="*/ 151 h 295"/>
                    <a:gd name="T52" fmla="*/ 132 w 250"/>
                    <a:gd name="T53" fmla="*/ 136 h 295"/>
                    <a:gd name="T54" fmla="*/ 113 w 250"/>
                    <a:gd name="T55" fmla="*/ 126 h 295"/>
                    <a:gd name="T56" fmla="*/ 96 w 250"/>
                    <a:gd name="T57" fmla="*/ 118 h 295"/>
                    <a:gd name="T58" fmla="*/ 77 w 250"/>
                    <a:gd name="T59" fmla="*/ 112 h 295"/>
                    <a:gd name="T60" fmla="*/ 59 w 250"/>
                    <a:gd name="T61" fmla="*/ 107 h 295"/>
                    <a:gd name="T62" fmla="*/ 43 w 250"/>
                    <a:gd name="T63" fmla="*/ 104 h 295"/>
                    <a:gd name="T64" fmla="*/ 29 w 250"/>
                    <a:gd name="T65" fmla="*/ 102 h 295"/>
                    <a:gd name="T66" fmla="*/ 17 w 250"/>
                    <a:gd name="T67" fmla="*/ 97 h 295"/>
                    <a:gd name="T68" fmla="*/ 8 w 250"/>
                    <a:gd name="T69" fmla="*/ 91 h 295"/>
                    <a:gd name="T70" fmla="*/ 1 w 250"/>
                    <a:gd name="T71" fmla="*/ 83 h 295"/>
                    <a:gd name="T72" fmla="*/ 0 w 250"/>
                    <a:gd name="T73" fmla="*/ 78 h 295"/>
                    <a:gd name="T74" fmla="*/ 0 w 250"/>
                    <a:gd name="T75" fmla="*/ 72 h 295"/>
                    <a:gd name="T76" fmla="*/ 0 w 250"/>
                    <a:gd name="T77" fmla="*/ 56 h 295"/>
                    <a:gd name="T78" fmla="*/ 3 w 250"/>
                    <a:gd name="T79" fmla="*/ 43 h 295"/>
                    <a:gd name="T80" fmla="*/ 11 w 250"/>
                    <a:gd name="T81" fmla="*/ 27 h 295"/>
                    <a:gd name="T82" fmla="*/ 24 w 250"/>
                    <a:gd name="T83" fmla="*/ 16 h 295"/>
                    <a:gd name="T84" fmla="*/ 42 w 250"/>
                    <a:gd name="T85" fmla="*/ 8 h 295"/>
                    <a:gd name="T86" fmla="*/ 64 w 250"/>
                    <a:gd name="T87" fmla="*/ 3 h 295"/>
                    <a:gd name="T88" fmla="*/ 91 w 250"/>
                    <a:gd name="T89" fmla="*/ 0 h 295"/>
                    <a:gd name="T90" fmla="*/ 123 w 250"/>
                    <a:gd name="T91" fmla="*/ 0 h 2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250" h="295">
                      <a:moveTo>
                        <a:pt x="123" y="0"/>
                      </a:moveTo>
                      <a:lnTo>
                        <a:pt x="154" y="3"/>
                      </a:lnTo>
                      <a:lnTo>
                        <a:pt x="180" y="11"/>
                      </a:lnTo>
                      <a:lnTo>
                        <a:pt x="202" y="24"/>
                      </a:lnTo>
                      <a:lnTo>
                        <a:pt x="219" y="42"/>
                      </a:lnTo>
                      <a:lnTo>
                        <a:pt x="232" y="61"/>
                      </a:lnTo>
                      <a:lnTo>
                        <a:pt x="243" y="83"/>
                      </a:lnTo>
                      <a:lnTo>
                        <a:pt x="248" y="106"/>
                      </a:lnTo>
                      <a:lnTo>
                        <a:pt x="250" y="128"/>
                      </a:lnTo>
                      <a:lnTo>
                        <a:pt x="250" y="144"/>
                      </a:lnTo>
                      <a:lnTo>
                        <a:pt x="250" y="163"/>
                      </a:lnTo>
                      <a:lnTo>
                        <a:pt x="248" y="184"/>
                      </a:lnTo>
                      <a:lnTo>
                        <a:pt x="247" y="206"/>
                      </a:lnTo>
                      <a:lnTo>
                        <a:pt x="244" y="228"/>
                      </a:lnTo>
                      <a:lnTo>
                        <a:pt x="241" y="248"/>
                      </a:lnTo>
                      <a:lnTo>
                        <a:pt x="238" y="266"/>
                      </a:lnTo>
                      <a:lnTo>
                        <a:pt x="234" y="280"/>
                      </a:lnTo>
                      <a:lnTo>
                        <a:pt x="229" y="290"/>
                      </a:lnTo>
                      <a:lnTo>
                        <a:pt x="225" y="295"/>
                      </a:lnTo>
                      <a:lnTo>
                        <a:pt x="221" y="292"/>
                      </a:lnTo>
                      <a:lnTo>
                        <a:pt x="215" y="280"/>
                      </a:lnTo>
                      <a:lnTo>
                        <a:pt x="209" y="261"/>
                      </a:lnTo>
                      <a:lnTo>
                        <a:pt x="197" y="224"/>
                      </a:lnTo>
                      <a:lnTo>
                        <a:pt x="183" y="195"/>
                      </a:lnTo>
                      <a:lnTo>
                        <a:pt x="167" y="170"/>
                      </a:lnTo>
                      <a:lnTo>
                        <a:pt x="149" y="151"/>
                      </a:lnTo>
                      <a:lnTo>
                        <a:pt x="132" y="136"/>
                      </a:lnTo>
                      <a:lnTo>
                        <a:pt x="113" y="126"/>
                      </a:lnTo>
                      <a:lnTo>
                        <a:pt x="96" y="118"/>
                      </a:lnTo>
                      <a:lnTo>
                        <a:pt x="77" y="112"/>
                      </a:lnTo>
                      <a:lnTo>
                        <a:pt x="59" y="107"/>
                      </a:lnTo>
                      <a:lnTo>
                        <a:pt x="43" y="104"/>
                      </a:lnTo>
                      <a:lnTo>
                        <a:pt x="29" y="102"/>
                      </a:lnTo>
                      <a:lnTo>
                        <a:pt x="17" y="97"/>
                      </a:lnTo>
                      <a:lnTo>
                        <a:pt x="8" y="91"/>
                      </a:lnTo>
                      <a:lnTo>
                        <a:pt x="1" y="83"/>
                      </a:lnTo>
                      <a:lnTo>
                        <a:pt x="0" y="78"/>
                      </a:lnTo>
                      <a:lnTo>
                        <a:pt x="0" y="72"/>
                      </a:lnTo>
                      <a:lnTo>
                        <a:pt x="0" y="56"/>
                      </a:lnTo>
                      <a:lnTo>
                        <a:pt x="3" y="43"/>
                      </a:lnTo>
                      <a:lnTo>
                        <a:pt x="11" y="27"/>
                      </a:lnTo>
                      <a:lnTo>
                        <a:pt x="24" y="16"/>
                      </a:lnTo>
                      <a:lnTo>
                        <a:pt x="42" y="8"/>
                      </a:lnTo>
                      <a:lnTo>
                        <a:pt x="64" y="3"/>
                      </a:lnTo>
                      <a:lnTo>
                        <a:pt x="91" y="0"/>
                      </a:lnTo>
                      <a:lnTo>
                        <a:pt x="123" y="0"/>
                      </a:lnTo>
                      <a:close/>
                    </a:path>
                  </a:pathLst>
                </a:custGeom>
                <a:solidFill>
                  <a:srgbClr val="D2794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14" name="Freeform 405"/>
                <p:cNvSpPr>
                  <a:spLocks/>
                </p:cNvSpPr>
                <p:nvPr/>
              </p:nvSpPr>
              <p:spPr bwMode="auto">
                <a:xfrm>
                  <a:off x="1987551" y="3086101"/>
                  <a:ext cx="163513" cy="423863"/>
                </a:xfrm>
                <a:custGeom>
                  <a:avLst/>
                  <a:gdLst>
                    <a:gd name="T0" fmla="*/ 92 w 103"/>
                    <a:gd name="T1" fmla="*/ 0 h 267"/>
                    <a:gd name="T2" fmla="*/ 98 w 103"/>
                    <a:gd name="T3" fmla="*/ 4 h 267"/>
                    <a:gd name="T4" fmla="*/ 100 w 103"/>
                    <a:gd name="T5" fmla="*/ 15 h 267"/>
                    <a:gd name="T6" fmla="*/ 102 w 103"/>
                    <a:gd name="T7" fmla="*/ 29 h 267"/>
                    <a:gd name="T8" fmla="*/ 102 w 103"/>
                    <a:gd name="T9" fmla="*/ 45 h 267"/>
                    <a:gd name="T10" fmla="*/ 103 w 103"/>
                    <a:gd name="T11" fmla="*/ 58 h 267"/>
                    <a:gd name="T12" fmla="*/ 102 w 103"/>
                    <a:gd name="T13" fmla="*/ 67 h 267"/>
                    <a:gd name="T14" fmla="*/ 99 w 103"/>
                    <a:gd name="T15" fmla="*/ 83 h 267"/>
                    <a:gd name="T16" fmla="*/ 95 w 103"/>
                    <a:gd name="T17" fmla="*/ 103 h 267"/>
                    <a:gd name="T18" fmla="*/ 87 w 103"/>
                    <a:gd name="T19" fmla="*/ 126 h 267"/>
                    <a:gd name="T20" fmla="*/ 80 w 103"/>
                    <a:gd name="T21" fmla="*/ 151 h 267"/>
                    <a:gd name="T22" fmla="*/ 71 w 103"/>
                    <a:gd name="T23" fmla="*/ 177 h 267"/>
                    <a:gd name="T24" fmla="*/ 61 w 103"/>
                    <a:gd name="T25" fmla="*/ 204 h 267"/>
                    <a:gd name="T26" fmla="*/ 51 w 103"/>
                    <a:gd name="T27" fmla="*/ 225 h 267"/>
                    <a:gd name="T28" fmla="*/ 39 w 103"/>
                    <a:gd name="T29" fmla="*/ 246 h 267"/>
                    <a:gd name="T30" fmla="*/ 26 w 103"/>
                    <a:gd name="T31" fmla="*/ 259 h 267"/>
                    <a:gd name="T32" fmla="*/ 15 w 103"/>
                    <a:gd name="T33" fmla="*/ 267 h 267"/>
                    <a:gd name="T34" fmla="*/ 2 w 103"/>
                    <a:gd name="T35" fmla="*/ 266 h 267"/>
                    <a:gd name="T36" fmla="*/ 0 w 103"/>
                    <a:gd name="T37" fmla="*/ 262 h 267"/>
                    <a:gd name="T38" fmla="*/ 0 w 103"/>
                    <a:gd name="T39" fmla="*/ 249 h 267"/>
                    <a:gd name="T40" fmla="*/ 0 w 103"/>
                    <a:gd name="T41" fmla="*/ 230 h 267"/>
                    <a:gd name="T42" fmla="*/ 0 w 103"/>
                    <a:gd name="T43" fmla="*/ 208 h 267"/>
                    <a:gd name="T44" fmla="*/ 2 w 103"/>
                    <a:gd name="T45" fmla="*/ 182 h 267"/>
                    <a:gd name="T46" fmla="*/ 3 w 103"/>
                    <a:gd name="T47" fmla="*/ 156 h 267"/>
                    <a:gd name="T48" fmla="*/ 4 w 103"/>
                    <a:gd name="T49" fmla="*/ 129 h 267"/>
                    <a:gd name="T50" fmla="*/ 7 w 103"/>
                    <a:gd name="T51" fmla="*/ 105 h 267"/>
                    <a:gd name="T52" fmla="*/ 9 w 103"/>
                    <a:gd name="T53" fmla="*/ 83 h 267"/>
                    <a:gd name="T54" fmla="*/ 9 w 103"/>
                    <a:gd name="T55" fmla="*/ 67 h 267"/>
                    <a:gd name="T56" fmla="*/ 10 w 103"/>
                    <a:gd name="T57" fmla="*/ 58 h 267"/>
                    <a:gd name="T58" fmla="*/ 13 w 103"/>
                    <a:gd name="T59" fmla="*/ 49 h 267"/>
                    <a:gd name="T60" fmla="*/ 20 w 103"/>
                    <a:gd name="T61" fmla="*/ 41 h 267"/>
                    <a:gd name="T62" fmla="*/ 34 w 103"/>
                    <a:gd name="T63" fmla="*/ 31 h 267"/>
                    <a:gd name="T64" fmla="*/ 47 w 103"/>
                    <a:gd name="T65" fmla="*/ 22 h 267"/>
                    <a:gd name="T66" fmla="*/ 61 w 103"/>
                    <a:gd name="T67" fmla="*/ 13 h 267"/>
                    <a:gd name="T68" fmla="*/ 74 w 103"/>
                    <a:gd name="T69" fmla="*/ 6 h 267"/>
                    <a:gd name="T70" fmla="*/ 86 w 103"/>
                    <a:gd name="T71" fmla="*/ 1 h 267"/>
                    <a:gd name="T72" fmla="*/ 92 w 103"/>
                    <a:gd name="T73" fmla="*/ 0 h 2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03" h="267">
                      <a:moveTo>
                        <a:pt x="92" y="0"/>
                      </a:moveTo>
                      <a:lnTo>
                        <a:pt x="98" y="4"/>
                      </a:lnTo>
                      <a:lnTo>
                        <a:pt x="100" y="15"/>
                      </a:lnTo>
                      <a:lnTo>
                        <a:pt x="102" y="29"/>
                      </a:lnTo>
                      <a:lnTo>
                        <a:pt x="102" y="45"/>
                      </a:lnTo>
                      <a:lnTo>
                        <a:pt x="103" y="58"/>
                      </a:lnTo>
                      <a:lnTo>
                        <a:pt x="102" y="67"/>
                      </a:lnTo>
                      <a:lnTo>
                        <a:pt x="99" y="83"/>
                      </a:lnTo>
                      <a:lnTo>
                        <a:pt x="95" y="103"/>
                      </a:lnTo>
                      <a:lnTo>
                        <a:pt x="87" y="126"/>
                      </a:lnTo>
                      <a:lnTo>
                        <a:pt x="80" y="151"/>
                      </a:lnTo>
                      <a:lnTo>
                        <a:pt x="71" y="177"/>
                      </a:lnTo>
                      <a:lnTo>
                        <a:pt x="61" y="204"/>
                      </a:lnTo>
                      <a:lnTo>
                        <a:pt x="51" y="225"/>
                      </a:lnTo>
                      <a:lnTo>
                        <a:pt x="39" y="246"/>
                      </a:lnTo>
                      <a:lnTo>
                        <a:pt x="26" y="259"/>
                      </a:lnTo>
                      <a:lnTo>
                        <a:pt x="15" y="267"/>
                      </a:lnTo>
                      <a:lnTo>
                        <a:pt x="2" y="266"/>
                      </a:lnTo>
                      <a:lnTo>
                        <a:pt x="0" y="262"/>
                      </a:lnTo>
                      <a:lnTo>
                        <a:pt x="0" y="249"/>
                      </a:lnTo>
                      <a:lnTo>
                        <a:pt x="0" y="230"/>
                      </a:lnTo>
                      <a:lnTo>
                        <a:pt x="0" y="208"/>
                      </a:lnTo>
                      <a:lnTo>
                        <a:pt x="2" y="182"/>
                      </a:lnTo>
                      <a:lnTo>
                        <a:pt x="3" y="156"/>
                      </a:lnTo>
                      <a:lnTo>
                        <a:pt x="4" y="129"/>
                      </a:lnTo>
                      <a:lnTo>
                        <a:pt x="7" y="105"/>
                      </a:lnTo>
                      <a:lnTo>
                        <a:pt x="9" y="83"/>
                      </a:lnTo>
                      <a:lnTo>
                        <a:pt x="9" y="67"/>
                      </a:lnTo>
                      <a:lnTo>
                        <a:pt x="10" y="58"/>
                      </a:lnTo>
                      <a:lnTo>
                        <a:pt x="13" y="49"/>
                      </a:lnTo>
                      <a:lnTo>
                        <a:pt x="20" y="41"/>
                      </a:lnTo>
                      <a:lnTo>
                        <a:pt x="34" y="31"/>
                      </a:lnTo>
                      <a:lnTo>
                        <a:pt x="47" y="22"/>
                      </a:lnTo>
                      <a:lnTo>
                        <a:pt x="61" y="13"/>
                      </a:lnTo>
                      <a:lnTo>
                        <a:pt x="74" y="6"/>
                      </a:lnTo>
                      <a:lnTo>
                        <a:pt x="86" y="1"/>
                      </a:lnTo>
                      <a:lnTo>
                        <a:pt x="92" y="0"/>
                      </a:lnTo>
                      <a:close/>
                    </a:path>
                  </a:pathLst>
                </a:custGeom>
                <a:solidFill>
                  <a:srgbClr val="D2794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15" name="Freeform 407"/>
                <p:cNvSpPr>
                  <a:spLocks/>
                </p:cNvSpPr>
                <p:nvPr/>
              </p:nvSpPr>
              <p:spPr bwMode="auto">
                <a:xfrm>
                  <a:off x="1971676" y="3044825"/>
                  <a:ext cx="188913" cy="711200"/>
                </a:xfrm>
                <a:custGeom>
                  <a:avLst/>
                  <a:gdLst>
                    <a:gd name="T0" fmla="*/ 116 w 119"/>
                    <a:gd name="T1" fmla="*/ 0 h 448"/>
                    <a:gd name="T2" fmla="*/ 119 w 119"/>
                    <a:gd name="T3" fmla="*/ 0 h 448"/>
                    <a:gd name="T4" fmla="*/ 118 w 119"/>
                    <a:gd name="T5" fmla="*/ 0 h 448"/>
                    <a:gd name="T6" fmla="*/ 103 w 119"/>
                    <a:gd name="T7" fmla="*/ 11 h 448"/>
                    <a:gd name="T8" fmla="*/ 93 w 119"/>
                    <a:gd name="T9" fmla="*/ 29 h 448"/>
                    <a:gd name="T10" fmla="*/ 80 w 119"/>
                    <a:gd name="T11" fmla="*/ 35 h 448"/>
                    <a:gd name="T12" fmla="*/ 64 w 119"/>
                    <a:gd name="T13" fmla="*/ 43 h 448"/>
                    <a:gd name="T14" fmla="*/ 48 w 119"/>
                    <a:gd name="T15" fmla="*/ 54 h 448"/>
                    <a:gd name="T16" fmla="*/ 33 w 119"/>
                    <a:gd name="T17" fmla="*/ 64 h 448"/>
                    <a:gd name="T18" fmla="*/ 23 w 119"/>
                    <a:gd name="T19" fmla="*/ 74 h 448"/>
                    <a:gd name="T20" fmla="*/ 20 w 119"/>
                    <a:gd name="T21" fmla="*/ 84 h 448"/>
                    <a:gd name="T22" fmla="*/ 19 w 119"/>
                    <a:gd name="T23" fmla="*/ 93 h 448"/>
                    <a:gd name="T24" fmla="*/ 19 w 119"/>
                    <a:gd name="T25" fmla="*/ 109 h 448"/>
                    <a:gd name="T26" fmla="*/ 17 w 119"/>
                    <a:gd name="T27" fmla="*/ 131 h 448"/>
                    <a:gd name="T28" fmla="*/ 14 w 119"/>
                    <a:gd name="T29" fmla="*/ 155 h 448"/>
                    <a:gd name="T30" fmla="*/ 13 w 119"/>
                    <a:gd name="T31" fmla="*/ 182 h 448"/>
                    <a:gd name="T32" fmla="*/ 12 w 119"/>
                    <a:gd name="T33" fmla="*/ 208 h 448"/>
                    <a:gd name="T34" fmla="*/ 10 w 119"/>
                    <a:gd name="T35" fmla="*/ 234 h 448"/>
                    <a:gd name="T36" fmla="*/ 10 w 119"/>
                    <a:gd name="T37" fmla="*/ 256 h 448"/>
                    <a:gd name="T38" fmla="*/ 10 w 119"/>
                    <a:gd name="T39" fmla="*/ 275 h 448"/>
                    <a:gd name="T40" fmla="*/ 10 w 119"/>
                    <a:gd name="T41" fmla="*/ 288 h 448"/>
                    <a:gd name="T42" fmla="*/ 12 w 119"/>
                    <a:gd name="T43" fmla="*/ 292 h 448"/>
                    <a:gd name="T44" fmla="*/ 19 w 119"/>
                    <a:gd name="T45" fmla="*/ 293 h 448"/>
                    <a:gd name="T46" fmla="*/ 30 w 119"/>
                    <a:gd name="T47" fmla="*/ 291 h 448"/>
                    <a:gd name="T48" fmla="*/ 42 w 119"/>
                    <a:gd name="T49" fmla="*/ 279 h 448"/>
                    <a:gd name="T50" fmla="*/ 54 w 119"/>
                    <a:gd name="T51" fmla="*/ 263 h 448"/>
                    <a:gd name="T52" fmla="*/ 73 w 119"/>
                    <a:gd name="T53" fmla="*/ 299 h 448"/>
                    <a:gd name="T54" fmla="*/ 94 w 119"/>
                    <a:gd name="T55" fmla="*/ 328 h 448"/>
                    <a:gd name="T56" fmla="*/ 118 w 119"/>
                    <a:gd name="T57" fmla="*/ 350 h 448"/>
                    <a:gd name="T58" fmla="*/ 118 w 119"/>
                    <a:gd name="T59" fmla="*/ 356 h 448"/>
                    <a:gd name="T60" fmla="*/ 118 w 119"/>
                    <a:gd name="T61" fmla="*/ 388 h 448"/>
                    <a:gd name="T62" fmla="*/ 116 w 119"/>
                    <a:gd name="T63" fmla="*/ 388 h 448"/>
                    <a:gd name="T64" fmla="*/ 116 w 119"/>
                    <a:gd name="T65" fmla="*/ 388 h 448"/>
                    <a:gd name="T66" fmla="*/ 116 w 119"/>
                    <a:gd name="T67" fmla="*/ 388 h 448"/>
                    <a:gd name="T68" fmla="*/ 115 w 119"/>
                    <a:gd name="T69" fmla="*/ 388 h 448"/>
                    <a:gd name="T70" fmla="*/ 90 w 119"/>
                    <a:gd name="T71" fmla="*/ 392 h 448"/>
                    <a:gd name="T72" fmla="*/ 70 w 119"/>
                    <a:gd name="T73" fmla="*/ 400 h 448"/>
                    <a:gd name="T74" fmla="*/ 52 w 119"/>
                    <a:gd name="T75" fmla="*/ 408 h 448"/>
                    <a:gd name="T76" fmla="*/ 52 w 119"/>
                    <a:gd name="T77" fmla="*/ 408 h 448"/>
                    <a:gd name="T78" fmla="*/ 45 w 119"/>
                    <a:gd name="T79" fmla="*/ 414 h 448"/>
                    <a:gd name="T80" fmla="*/ 38 w 119"/>
                    <a:gd name="T81" fmla="*/ 420 h 448"/>
                    <a:gd name="T82" fmla="*/ 33 w 119"/>
                    <a:gd name="T83" fmla="*/ 426 h 448"/>
                    <a:gd name="T84" fmla="*/ 28 w 119"/>
                    <a:gd name="T85" fmla="*/ 432 h 448"/>
                    <a:gd name="T86" fmla="*/ 22 w 119"/>
                    <a:gd name="T87" fmla="*/ 439 h 448"/>
                    <a:gd name="T88" fmla="*/ 16 w 119"/>
                    <a:gd name="T89" fmla="*/ 448 h 448"/>
                    <a:gd name="T90" fmla="*/ 10 w 119"/>
                    <a:gd name="T91" fmla="*/ 427 h 448"/>
                    <a:gd name="T92" fmla="*/ 6 w 119"/>
                    <a:gd name="T93" fmla="*/ 401 h 448"/>
                    <a:gd name="T94" fmla="*/ 3 w 119"/>
                    <a:gd name="T95" fmla="*/ 369 h 448"/>
                    <a:gd name="T96" fmla="*/ 1 w 119"/>
                    <a:gd name="T97" fmla="*/ 336 h 448"/>
                    <a:gd name="T98" fmla="*/ 0 w 119"/>
                    <a:gd name="T99" fmla="*/ 299 h 448"/>
                    <a:gd name="T100" fmla="*/ 0 w 119"/>
                    <a:gd name="T101" fmla="*/ 263 h 448"/>
                    <a:gd name="T102" fmla="*/ 1 w 119"/>
                    <a:gd name="T103" fmla="*/ 228 h 448"/>
                    <a:gd name="T104" fmla="*/ 1 w 119"/>
                    <a:gd name="T105" fmla="*/ 195 h 448"/>
                    <a:gd name="T106" fmla="*/ 1 w 119"/>
                    <a:gd name="T107" fmla="*/ 166 h 448"/>
                    <a:gd name="T108" fmla="*/ 1 w 119"/>
                    <a:gd name="T109" fmla="*/ 142 h 448"/>
                    <a:gd name="T110" fmla="*/ 3 w 119"/>
                    <a:gd name="T111" fmla="*/ 109 h 448"/>
                    <a:gd name="T112" fmla="*/ 10 w 119"/>
                    <a:gd name="T113" fmla="*/ 80 h 448"/>
                    <a:gd name="T114" fmla="*/ 22 w 119"/>
                    <a:gd name="T115" fmla="*/ 55 h 448"/>
                    <a:gd name="T116" fmla="*/ 38 w 119"/>
                    <a:gd name="T117" fmla="*/ 35 h 448"/>
                    <a:gd name="T118" fmla="*/ 58 w 119"/>
                    <a:gd name="T119" fmla="*/ 19 h 448"/>
                    <a:gd name="T120" fmla="*/ 84 w 119"/>
                    <a:gd name="T121" fmla="*/ 7 h 448"/>
                    <a:gd name="T122" fmla="*/ 115 w 119"/>
                    <a:gd name="T123" fmla="*/ 0 h 448"/>
                    <a:gd name="T124" fmla="*/ 116 w 119"/>
                    <a:gd name="T125" fmla="*/ 0 h 4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19" h="448">
                      <a:moveTo>
                        <a:pt x="116" y="0"/>
                      </a:moveTo>
                      <a:lnTo>
                        <a:pt x="119" y="0"/>
                      </a:lnTo>
                      <a:lnTo>
                        <a:pt x="118" y="0"/>
                      </a:lnTo>
                      <a:lnTo>
                        <a:pt x="103" y="11"/>
                      </a:lnTo>
                      <a:lnTo>
                        <a:pt x="93" y="29"/>
                      </a:lnTo>
                      <a:lnTo>
                        <a:pt x="80" y="35"/>
                      </a:lnTo>
                      <a:lnTo>
                        <a:pt x="64" y="43"/>
                      </a:lnTo>
                      <a:lnTo>
                        <a:pt x="48" y="54"/>
                      </a:lnTo>
                      <a:lnTo>
                        <a:pt x="33" y="64"/>
                      </a:lnTo>
                      <a:lnTo>
                        <a:pt x="23" y="74"/>
                      </a:lnTo>
                      <a:lnTo>
                        <a:pt x="20" y="84"/>
                      </a:lnTo>
                      <a:lnTo>
                        <a:pt x="19" y="93"/>
                      </a:lnTo>
                      <a:lnTo>
                        <a:pt x="19" y="109"/>
                      </a:lnTo>
                      <a:lnTo>
                        <a:pt x="17" y="131"/>
                      </a:lnTo>
                      <a:lnTo>
                        <a:pt x="14" y="155"/>
                      </a:lnTo>
                      <a:lnTo>
                        <a:pt x="13" y="182"/>
                      </a:lnTo>
                      <a:lnTo>
                        <a:pt x="12" y="208"/>
                      </a:lnTo>
                      <a:lnTo>
                        <a:pt x="10" y="234"/>
                      </a:lnTo>
                      <a:lnTo>
                        <a:pt x="10" y="256"/>
                      </a:lnTo>
                      <a:lnTo>
                        <a:pt x="10" y="275"/>
                      </a:lnTo>
                      <a:lnTo>
                        <a:pt x="10" y="288"/>
                      </a:lnTo>
                      <a:lnTo>
                        <a:pt x="12" y="292"/>
                      </a:lnTo>
                      <a:lnTo>
                        <a:pt x="19" y="293"/>
                      </a:lnTo>
                      <a:lnTo>
                        <a:pt x="30" y="291"/>
                      </a:lnTo>
                      <a:lnTo>
                        <a:pt x="42" y="279"/>
                      </a:lnTo>
                      <a:lnTo>
                        <a:pt x="54" y="263"/>
                      </a:lnTo>
                      <a:lnTo>
                        <a:pt x="73" y="299"/>
                      </a:lnTo>
                      <a:lnTo>
                        <a:pt x="94" y="328"/>
                      </a:lnTo>
                      <a:lnTo>
                        <a:pt x="118" y="350"/>
                      </a:lnTo>
                      <a:lnTo>
                        <a:pt x="118" y="356"/>
                      </a:lnTo>
                      <a:lnTo>
                        <a:pt x="118" y="388"/>
                      </a:lnTo>
                      <a:lnTo>
                        <a:pt x="116" y="388"/>
                      </a:lnTo>
                      <a:lnTo>
                        <a:pt x="116" y="388"/>
                      </a:lnTo>
                      <a:lnTo>
                        <a:pt x="116" y="388"/>
                      </a:lnTo>
                      <a:lnTo>
                        <a:pt x="115" y="388"/>
                      </a:lnTo>
                      <a:lnTo>
                        <a:pt x="90" y="392"/>
                      </a:lnTo>
                      <a:lnTo>
                        <a:pt x="70" y="400"/>
                      </a:lnTo>
                      <a:lnTo>
                        <a:pt x="52" y="408"/>
                      </a:lnTo>
                      <a:lnTo>
                        <a:pt x="52" y="408"/>
                      </a:lnTo>
                      <a:lnTo>
                        <a:pt x="45" y="414"/>
                      </a:lnTo>
                      <a:lnTo>
                        <a:pt x="38" y="420"/>
                      </a:lnTo>
                      <a:lnTo>
                        <a:pt x="33" y="426"/>
                      </a:lnTo>
                      <a:lnTo>
                        <a:pt x="28" y="432"/>
                      </a:lnTo>
                      <a:lnTo>
                        <a:pt x="22" y="439"/>
                      </a:lnTo>
                      <a:lnTo>
                        <a:pt x="16" y="448"/>
                      </a:lnTo>
                      <a:lnTo>
                        <a:pt x="10" y="427"/>
                      </a:lnTo>
                      <a:lnTo>
                        <a:pt x="6" y="401"/>
                      </a:lnTo>
                      <a:lnTo>
                        <a:pt x="3" y="369"/>
                      </a:lnTo>
                      <a:lnTo>
                        <a:pt x="1" y="336"/>
                      </a:lnTo>
                      <a:lnTo>
                        <a:pt x="0" y="299"/>
                      </a:lnTo>
                      <a:lnTo>
                        <a:pt x="0" y="263"/>
                      </a:lnTo>
                      <a:lnTo>
                        <a:pt x="1" y="228"/>
                      </a:lnTo>
                      <a:lnTo>
                        <a:pt x="1" y="195"/>
                      </a:lnTo>
                      <a:lnTo>
                        <a:pt x="1" y="166"/>
                      </a:lnTo>
                      <a:lnTo>
                        <a:pt x="1" y="142"/>
                      </a:lnTo>
                      <a:lnTo>
                        <a:pt x="3" y="109"/>
                      </a:lnTo>
                      <a:lnTo>
                        <a:pt x="10" y="80"/>
                      </a:lnTo>
                      <a:lnTo>
                        <a:pt x="22" y="55"/>
                      </a:lnTo>
                      <a:lnTo>
                        <a:pt x="38" y="35"/>
                      </a:lnTo>
                      <a:lnTo>
                        <a:pt x="58" y="19"/>
                      </a:lnTo>
                      <a:lnTo>
                        <a:pt x="84" y="7"/>
                      </a:lnTo>
                      <a:lnTo>
                        <a:pt x="115" y="0"/>
                      </a:lnTo>
                      <a:lnTo>
                        <a:pt x="116" y="0"/>
                      </a:lnTo>
                      <a:close/>
                    </a:path>
                  </a:pathLst>
                </a:custGeom>
                <a:solidFill>
                  <a:srgbClr val="AD3918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16" name="Freeform 408"/>
                <p:cNvSpPr>
                  <a:spLocks/>
                </p:cNvSpPr>
                <p:nvPr/>
              </p:nvSpPr>
              <p:spPr bwMode="auto">
                <a:xfrm>
                  <a:off x="2159001" y="3609975"/>
                  <a:ext cx="0" cy="50800"/>
                </a:xfrm>
                <a:custGeom>
                  <a:avLst/>
                  <a:gdLst>
                    <a:gd name="T0" fmla="*/ 0 h 32"/>
                    <a:gd name="T1" fmla="*/ 12 h 32"/>
                    <a:gd name="T2" fmla="*/ 22 h 32"/>
                    <a:gd name="T3" fmla="*/ 32 h 32"/>
                    <a:gd name="T4" fmla="*/ 32 h 32"/>
                    <a:gd name="T5" fmla="*/ 0 h 32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</a:cxnLst>
                  <a:rect l="0" t="0" r="r" b="b"/>
                  <a:pathLst>
                    <a:path h="32">
                      <a:moveTo>
                        <a:pt x="0" y="0"/>
                      </a:moveTo>
                      <a:lnTo>
                        <a:pt x="0" y="12"/>
                      </a:lnTo>
                      <a:lnTo>
                        <a:pt x="0" y="22"/>
                      </a:lnTo>
                      <a:lnTo>
                        <a:pt x="0" y="32"/>
                      </a:lnTo>
                      <a:lnTo>
                        <a:pt x="0" y="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A42F1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17" name="Freeform 409"/>
                <p:cNvSpPr>
                  <a:spLocks/>
                </p:cNvSpPr>
                <p:nvPr/>
              </p:nvSpPr>
              <p:spPr bwMode="auto">
                <a:xfrm>
                  <a:off x="2159001" y="3644900"/>
                  <a:ext cx="0" cy="15875"/>
                </a:xfrm>
                <a:custGeom>
                  <a:avLst/>
                  <a:gdLst>
                    <a:gd name="T0" fmla="*/ 0 h 10"/>
                    <a:gd name="T1" fmla="*/ 10 h 10"/>
                    <a:gd name="T2" fmla="*/ 9 h 10"/>
                    <a:gd name="T3" fmla="*/ 4 h 10"/>
                    <a:gd name="T4" fmla="*/ 0 h 10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</a:cxnLst>
                  <a:rect l="0" t="0" r="r" b="b"/>
                  <a:pathLst>
                    <a:path h="10">
                      <a:moveTo>
                        <a:pt x="0" y="0"/>
                      </a:moveTo>
                      <a:lnTo>
                        <a:pt x="0" y="10"/>
                      </a:lnTo>
                      <a:lnTo>
                        <a:pt x="0" y="9"/>
                      </a:lnTo>
                      <a:lnTo>
                        <a:pt x="0" y="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D522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18" name="Freeform 410"/>
                <p:cNvSpPr>
                  <a:spLocks/>
                </p:cNvSpPr>
                <p:nvPr/>
              </p:nvSpPr>
              <p:spPr bwMode="auto">
                <a:xfrm>
                  <a:off x="2057401" y="3462338"/>
                  <a:ext cx="101600" cy="138113"/>
                </a:xfrm>
                <a:custGeom>
                  <a:avLst/>
                  <a:gdLst>
                    <a:gd name="T0" fmla="*/ 0 w 64"/>
                    <a:gd name="T1" fmla="*/ 0 h 87"/>
                    <a:gd name="T2" fmla="*/ 19 w 64"/>
                    <a:gd name="T3" fmla="*/ 36 h 87"/>
                    <a:gd name="T4" fmla="*/ 40 w 64"/>
                    <a:gd name="T5" fmla="*/ 65 h 87"/>
                    <a:gd name="T6" fmla="*/ 64 w 64"/>
                    <a:gd name="T7" fmla="*/ 87 h 87"/>
                    <a:gd name="T8" fmla="*/ 64 w 64"/>
                    <a:gd name="T9" fmla="*/ 87 h 87"/>
                    <a:gd name="T10" fmla="*/ 40 w 64"/>
                    <a:gd name="T11" fmla="*/ 65 h 87"/>
                    <a:gd name="T12" fmla="*/ 19 w 64"/>
                    <a:gd name="T13" fmla="*/ 36 h 87"/>
                    <a:gd name="T14" fmla="*/ 0 w 64"/>
                    <a:gd name="T15" fmla="*/ 0 h 87"/>
                    <a:gd name="T16" fmla="*/ 0 w 64"/>
                    <a:gd name="T17" fmla="*/ 0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4" h="87">
                      <a:moveTo>
                        <a:pt x="0" y="0"/>
                      </a:moveTo>
                      <a:lnTo>
                        <a:pt x="19" y="36"/>
                      </a:lnTo>
                      <a:lnTo>
                        <a:pt x="40" y="65"/>
                      </a:lnTo>
                      <a:lnTo>
                        <a:pt x="64" y="87"/>
                      </a:lnTo>
                      <a:lnTo>
                        <a:pt x="64" y="87"/>
                      </a:lnTo>
                      <a:lnTo>
                        <a:pt x="40" y="65"/>
                      </a:lnTo>
                      <a:lnTo>
                        <a:pt x="19" y="36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D522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19" name="Freeform 411"/>
                <p:cNvSpPr>
                  <a:spLocks noEditPoints="1"/>
                </p:cNvSpPr>
                <p:nvPr/>
              </p:nvSpPr>
              <p:spPr bwMode="auto">
                <a:xfrm>
                  <a:off x="2119313" y="3044825"/>
                  <a:ext cx="39688" cy="138113"/>
                </a:xfrm>
                <a:custGeom>
                  <a:avLst/>
                  <a:gdLst>
                    <a:gd name="T0" fmla="*/ 20 w 25"/>
                    <a:gd name="T1" fmla="*/ 84 h 87"/>
                    <a:gd name="T2" fmla="*/ 20 w 25"/>
                    <a:gd name="T3" fmla="*/ 87 h 87"/>
                    <a:gd name="T4" fmla="*/ 20 w 25"/>
                    <a:gd name="T5" fmla="*/ 86 h 87"/>
                    <a:gd name="T6" fmla="*/ 20 w 25"/>
                    <a:gd name="T7" fmla="*/ 84 h 87"/>
                    <a:gd name="T8" fmla="*/ 25 w 25"/>
                    <a:gd name="T9" fmla="*/ 0 h 87"/>
                    <a:gd name="T10" fmla="*/ 20 w 25"/>
                    <a:gd name="T11" fmla="*/ 10 h 87"/>
                    <a:gd name="T12" fmla="*/ 16 w 25"/>
                    <a:gd name="T13" fmla="*/ 20 h 87"/>
                    <a:gd name="T14" fmla="*/ 13 w 25"/>
                    <a:gd name="T15" fmla="*/ 29 h 87"/>
                    <a:gd name="T16" fmla="*/ 12 w 25"/>
                    <a:gd name="T17" fmla="*/ 26 h 87"/>
                    <a:gd name="T18" fmla="*/ 9 w 25"/>
                    <a:gd name="T19" fmla="*/ 26 h 87"/>
                    <a:gd name="T20" fmla="*/ 7 w 25"/>
                    <a:gd name="T21" fmla="*/ 26 h 87"/>
                    <a:gd name="T22" fmla="*/ 4 w 25"/>
                    <a:gd name="T23" fmla="*/ 27 h 87"/>
                    <a:gd name="T24" fmla="*/ 0 w 25"/>
                    <a:gd name="T25" fmla="*/ 29 h 87"/>
                    <a:gd name="T26" fmla="*/ 10 w 25"/>
                    <a:gd name="T27" fmla="*/ 11 h 87"/>
                    <a:gd name="T28" fmla="*/ 25 w 25"/>
                    <a:gd name="T29" fmla="*/ 0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5" h="87">
                      <a:moveTo>
                        <a:pt x="20" y="84"/>
                      </a:moveTo>
                      <a:lnTo>
                        <a:pt x="20" y="87"/>
                      </a:lnTo>
                      <a:lnTo>
                        <a:pt x="20" y="86"/>
                      </a:lnTo>
                      <a:lnTo>
                        <a:pt x="20" y="84"/>
                      </a:lnTo>
                      <a:close/>
                      <a:moveTo>
                        <a:pt x="25" y="0"/>
                      </a:moveTo>
                      <a:lnTo>
                        <a:pt x="20" y="10"/>
                      </a:lnTo>
                      <a:lnTo>
                        <a:pt x="16" y="20"/>
                      </a:lnTo>
                      <a:lnTo>
                        <a:pt x="13" y="29"/>
                      </a:lnTo>
                      <a:lnTo>
                        <a:pt x="12" y="26"/>
                      </a:lnTo>
                      <a:lnTo>
                        <a:pt x="9" y="26"/>
                      </a:lnTo>
                      <a:lnTo>
                        <a:pt x="7" y="26"/>
                      </a:lnTo>
                      <a:lnTo>
                        <a:pt x="4" y="27"/>
                      </a:lnTo>
                      <a:lnTo>
                        <a:pt x="0" y="29"/>
                      </a:lnTo>
                      <a:lnTo>
                        <a:pt x="10" y="11"/>
                      </a:lnTo>
                      <a:lnTo>
                        <a:pt x="25" y="0"/>
                      </a:lnTo>
                      <a:close/>
                    </a:path>
                  </a:pathLst>
                </a:custGeom>
                <a:solidFill>
                  <a:srgbClr val="AD3918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20" name="Freeform 412"/>
                <p:cNvSpPr>
                  <a:spLocks/>
                </p:cNvSpPr>
                <p:nvPr/>
              </p:nvSpPr>
              <p:spPr bwMode="auto">
                <a:xfrm>
                  <a:off x="1987551" y="3086100"/>
                  <a:ext cx="163513" cy="423863"/>
                </a:xfrm>
                <a:custGeom>
                  <a:avLst/>
                  <a:gdLst>
                    <a:gd name="T0" fmla="*/ 92 w 103"/>
                    <a:gd name="T1" fmla="*/ 0 h 267"/>
                    <a:gd name="T2" fmla="*/ 95 w 103"/>
                    <a:gd name="T3" fmla="*/ 0 h 267"/>
                    <a:gd name="T4" fmla="*/ 96 w 103"/>
                    <a:gd name="T5" fmla="*/ 3 h 267"/>
                    <a:gd name="T6" fmla="*/ 93 w 103"/>
                    <a:gd name="T7" fmla="*/ 22 h 267"/>
                    <a:gd name="T8" fmla="*/ 95 w 103"/>
                    <a:gd name="T9" fmla="*/ 41 h 267"/>
                    <a:gd name="T10" fmla="*/ 103 w 103"/>
                    <a:gd name="T11" fmla="*/ 58 h 267"/>
                    <a:gd name="T12" fmla="*/ 103 w 103"/>
                    <a:gd name="T13" fmla="*/ 60 h 267"/>
                    <a:gd name="T14" fmla="*/ 103 w 103"/>
                    <a:gd name="T15" fmla="*/ 60 h 267"/>
                    <a:gd name="T16" fmla="*/ 100 w 103"/>
                    <a:gd name="T17" fmla="*/ 71 h 267"/>
                    <a:gd name="T18" fmla="*/ 98 w 103"/>
                    <a:gd name="T19" fmla="*/ 89 h 267"/>
                    <a:gd name="T20" fmla="*/ 92 w 103"/>
                    <a:gd name="T21" fmla="*/ 110 h 267"/>
                    <a:gd name="T22" fmla="*/ 84 w 103"/>
                    <a:gd name="T23" fmla="*/ 137 h 267"/>
                    <a:gd name="T24" fmla="*/ 76 w 103"/>
                    <a:gd name="T25" fmla="*/ 163 h 267"/>
                    <a:gd name="T26" fmla="*/ 67 w 103"/>
                    <a:gd name="T27" fmla="*/ 190 h 267"/>
                    <a:gd name="T28" fmla="*/ 55 w 103"/>
                    <a:gd name="T29" fmla="*/ 215 h 267"/>
                    <a:gd name="T30" fmla="*/ 44 w 103"/>
                    <a:gd name="T31" fmla="*/ 237 h 267"/>
                    <a:gd name="T32" fmla="*/ 44 w 103"/>
                    <a:gd name="T33" fmla="*/ 237 h 267"/>
                    <a:gd name="T34" fmla="*/ 44 w 103"/>
                    <a:gd name="T35" fmla="*/ 237 h 267"/>
                    <a:gd name="T36" fmla="*/ 32 w 103"/>
                    <a:gd name="T37" fmla="*/ 253 h 267"/>
                    <a:gd name="T38" fmla="*/ 20 w 103"/>
                    <a:gd name="T39" fmla="*/ 265 h 267"/>
                    <a:gd name="T40" fmla="*/ 9 w 103"/>
                    <a:gd name="T41" fmla="*/ 267 h 267"/>
                    <a:gd name="T42" fmla="*/ 2 w 103"/>
                    <a:gd name="T43" fmla="*/ 266 h 267"/>
                    <a:gd name="T44" fmla="*/ 0 w 103"/>
                    <a:gd name="T45" fmla="*/ 262 h 267"/>
                    <a:gd name="T46" fmla="*/ 0 w 103"/>
                    <a:gd name="T47" fmla="*/ 249 h 267"/>
                    <a:gd name="T48" fmla="*/ 0 w 103"/>
                    <a:gd name="T49" fmla="*/ 230 h 267"/>
                    <a:gd name="T50" fmla="*/ 0 w 103"/>
                    <a:gd name="T51" fmla="*/ 208 h 267"/>
                    <a:gd name="T52" fmla="*/ 2 w 103"/>
                    <a:gd name="T53" fmla="*/ 182 h 267"/>
                    <a:gd name="T54" fmla="*/ 3 w 103"/>
                    <a:gd name="T55" fmla="*/ 156 h 267"/>
                    <a:gd name="T56" fmla="*/ 4 w 103"/>
                    <a:gd name="T57" fmla="*/ 129 h 267"/>
                    <a:gd name="T58" fmla="*/ 7 w 103"/>
                    <a:gd name="T59" fmla="*/ 105 h 267"/>
                    <a:gd name="T60" fmla="*/ 9 w 103"/>
                    <a:gd name="T61" fmla="*/ 83 h 267"/>
                    <a:gd name="T62" fmla="*/ 9 w 103"/>
                    <a:gd name="T63" fmla="*/ 67 h 267"/>
                    <a:gd name="T64" fmla="*/ 10 w 103"/>
                    <a:gd name="T65" fmla="*/ 58 h 267"/>
                    <a:gd name="T66" fmla="*/ 13 w 103"/>
                    <a:gd name="T67" fmla="*/ 48 h 267"/>
                    <a:gd name="T68" fmla="*/ 23 w 103"/>
                    <a:gd name="T69" fmla="*/ 38 h 267"/>
                    <a:gd name="T70" fmla="*/ 38 w 103"/>
                    <a:gd name="T71" fmla="*/ 28 h 267"/>
                    <a:gd name="T72" fmla="*/ 54 w 103"/>
                    <a:gd name="T73" fmla="*/ 17 h 267"/>
                    <a:gd name="T74" fmla="*/ 70 w 103"/>
                    <a:gd name="T75" fmla="*/ 9 h 267"/>
                    <a:gd name="T76" fmla="*/ 83 w 103"/>
                    <a:gd name="T77" fmla="*/ 3 h 267"/>
                    <a:gd name="T78" fmla="*/ 87 w 103"/>
                    <a:gd name="T79" fmla="*/ 1 h 267"/>
                    <a:gd name="T80" fmla="*/ 90 w 103"/>
                    <a:gd name="T81" fmla="*/ 0 h 267"/>
                    <a:gd name="T82" fmla="*/ 92 w 103"/>
                    <a:gd name="T83" fmla="*/ 0 h 2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103" h="267">
                      <a:moveTo>
                        <a:pt x="92" y="0"/>
                      </a:moveTo>
                      <a:lnTo>
                        <a:pt x="95" y="0"/>
                      </a:lnTo>
                      <a:lnTo>
                        <a:pt x="96" y="3"/>
                      </a:lnTo>
                      <a:lnTo>
                        <a:pt x="93" y="22"/>
                      </a:lnTo>
                      <a:lnTo>
                        <a:pt x="95" y="41"/>
                      </a:lnTo>
                      <a:lnTo>
                        <a:pt x="103" y="58"/>
                      </a:lnTo>
                      <a:lnTo>
                        <a:pt x="103" y="60"/>
                      </a:lnTo>
                      <a:lnTo>
                        <a:pt x="103" y="60"/>
                      </a:lnTo>
                      <a:lnTo>
                        <a:pt x="100" y="71"/>
                      </a:lnTo>
                      <a:lnTo>
                        <a:pt x="98" y="89"/>
                      </a:lnTo>
                      <a:lnTo>
                        <a:pt x="92" y="110"/>
                      </a:lnTo>
                      <a:lnTo>
                        <a:pt x="84" y="137"/>
                      </a:lnTo>
                      <a:lnTo>
                        <a:pt x="76" y="163"/>
                      </a:lnTo>
                      <a:lnTo>
                        <a:pt x="67" y="190"/>
                      </a:lnTo>
                      <a:lnTo>
                        <a:pt x="55" y="215"/>
                      </a:lnTo>
                      <a:lnTo>
                        <a:pt x="44" y="237"/>
                      </a:lnTo>
                      <a:lnTo>
                        <a:pt x="44" y="237"/>
                      </a:lnTo>
                      <a:lnTo>
                        <a:pt x="44" y="237"/>
                      </a:lnTo>
                      <a:lnTo>
                        <a:pt x="32" y="253"/>
                      </a:lnTo>
                      <a:lnTo>
                        <a:pt x="20" y="265"/>
                      </a:lnTo>
                      <a:lnTo>
                        <a:pt x="9" y="267"/>
                      </a:lnTo>
                      <a:lnTo>
                        <a:pt x="2" y="266"/>
                      </a:lnTo>
                      <a:lnTo>
                        <a:pt x="0" y="262"/>
                      </a:lnTo>
                      <a:lnTo>
                        <a:pt x="0" y="249"/>
                      </a:lnTo>
                      <a:lnTo>
                        <a:pt x="0" y="230"/>
                      </a:lnTo>
                      <a:lnTo>
                        <a:pt x="0" y="208"/>
                      </a:lnTo>
                      <a:lnTo>
                        <a:pt x="2" y="182"/>
                      </a:lnTo>
                      <a:lnTo>
                        <a:pt x="3" y="156"/>
                      </a:lnTo>
                      <a:lnTo>
                        <a:pt x="4" y="129"/>
                      </a:lnTo>
                      <a:lnTo>
                        <a:pt x="7" y="105"/>
                      </a:lnTo>
                      <a:lnTo>
                        <a:pt x="9" y="83"/>
                      </a:lnTo>
                      <a:lnTo>
                        <a:pt x="9" y="67"/>
                      </a:lnTo>
                      <a:lnTo>
                        <a:pt x="10" y="58"/>
                      </a:lnTo>
                      <a:lnTo>
                        <a:pt x="13" y="48"/>
                      </a:lnTo>
                      <a:lnTo>
                        <a:pt x="23" y="38"/>
                      </a:lnTo>
                      <a:lnTo>
                        <a:pt x="38" y="28"/>
                      </a:lnTo>
                      <a:lnTo>
                        <a:pt x="54" y="17"/>
                      </a:lnTo>
                      <a:lnTo>
                        <a:pt x="70" y="9"/>
                      </a:lnTo>
                      <a:lnTo>
                        <a:pt x="83" y="3"/>
                      </a:lnTo>
                      <a:lnTo>
                        <a:pt x="87" y="1"/>
                      </a:lnTo>
                      <a:lnTo>
                        <a:pt x="90" y="0"/>
                      </a:lnTo>
                      <a:lnTo>
                        <a:pt x="92" y="0"/>
                      </a:lnTo>
                      <a:close/>
                    </a:path>
                  </a:pathLst>
                </a:custGeom>
                <a:solidFill>
                  <a:srgbClr val="AD3918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21" name="Freeform 413"/>
                <p:cNvSpPr>
                  <a:spLocks/>
                </p:cNvSpPr>
                <p:nvPr/>
              </p:nvSpPr>
              <p:spPr bwMode="auto">
                <a:xfrm>
                  <a:off x="2687638" y="4468813"/>
                  <a:ext cx="471488" cy="849313"/>
                </a:xfrm>
                <a:custGeom>
                  <a:avLst/>
                  <a:gdLst>
                    <a:gd name="T0" fmla="*/ 49 w 297"/>
                    <a:gd name="T1" fmla="*/ 0 h 535"/>
                    <a:gd name="T2" fmla="*/ 64 w 297"/>
                    <a:gd name="T3" fmla="*/ 6 h 535"/>
                    <a:gd name="T4" fmla="*/ 80 w 297"/>
                    <a:gd name="T5" fmla="*/ 17 h 535"/>
                    <a:gd name="T6" fmla="*/ 94 w 297"/>
                    <a:gd name="T7" fmla="*/ 35 h 535"/>
                    <a:gd name="T8" fmla="*/ 285 w 297"/>
                    <a:gd name="T9" fmla="*/ 497 h 535"/>
                    <a:gd name="T10" fmla="*/ 292 w 297"/>
                    <a:gd name="T11" fmla="*/ 509 h 535"/>
                    <a:gd name="T12" fmla="*/ 297 w 297"/>
                    <a:gd name="T13" fmla="*/ 517 h 535"/>
                    <a:gd name="T14" fmla="*/ 297 w 297"/>
                    <a:gd name="T15" fmla="*/ 520 h 535"/>
                    <a:gd name="T16" fmla="*/ 295 w 297"/>
                    <a:gd name="T17" fmla="*/ 523 h 535"/>
                    <a:gd name="T18" fmla="*/ 291 w 297"/>
                    <a:gd name="T19" fmla="*/ 525 h 535"/>
                    <a:gd name="T20" fmla="*/ 283 w 297"/>
                    <a:gd name="T21" fmla="*/ 529 h 535"/>
                    <a:gd name="T22" fmla="*/ 273 w 297"/>
                    <a:gd name="T23" fmla="*/ 535 h 535"/>
                    <a:gd name="T24" fmla="*/ 265 w 297"/>
                    <a:gd name="T25" fmla="*/ 525 h 535"/>
                    <a:gd name="T26" fmla="*/ 254 w 297"/>
                    <a:gd name="T27" fmla="*/ 529 h 535"/>
                    <a:gd name="T28" fmla="*/ 246 w 297"/>
                    <a:gd name="T29" fmla="*/ 526 h 535"/>
                    <a:gd name="T30" fmla="*/ 238 w 297"/>
                    <a:gd name="T31" fmla="*/ 517 h 535"/>
                    <a:gd name="T32" fmla="*/ 231 w 297"/>
                    <a:gd name="T33" fmla="*/ 506 h 535"/>
                    <a:gd name="T34" fmla="*/ 224 w 297"/>
                    <a:gd name="T35" fmla="*/ 491 h 535"/>
                    <a:gd name="T36" fmla="*/ 217 w 297"/>
                    <a:gd name="T37" fmla="*/ 477 h 535"/>
                    <a:gd name="T38" fmla="*/ 206 w 297"/>
                    <a:gd name="T39" fmla="*/ 461 h 535"/>
                    <a:gd name="T40" fmla="*/ 26 w 297"/>
                    <a:gd name="T41" fmla="*/ 152 h 535"/>
                    <a:gd name="T42" fmla="*/ 19 w 297"/>
                    <a:gd name="T43" fmla="*/ 138 h 535"/>
                    <a:gd name="T44" fmla="*/ 11 w 297"/>
                    <a:gd name="T45" fmla="*/ 120 h 535"/>
                    <a:gd name="T46" fmla="*/ 6 w 297"/>
                    <a:gd name="T47" fmla="*/ 100 h 535"/>
                    <a:gd name="T48" fmla="*/ 1 w 297"/>
                    <a:gd name="T49" fmla="*/ 78 h 535"/>
                    <a:gd name="T50" fmla="*/ 0 w 297"/>
                    <a:gd name="T51" fmla="*/ 58 h 535"/>
                    <a:gd name="T52" fmla="*/ 1 w 297"/>
                    <a:gd name="T53" fmla="*/ 40 h 535"/>
                    <a:gd name="T54" fmla="*/ 6 w 297"/>
                    <a:gd name="T55" fmla="*/ 24 h 535"/>
                    <a:gd name="T56" fmla="*/ 13 w 297"/>
                    <a:gd name="T57" fmla="*/ 14 h 535"/>
                    <a:gd name="T58" fmla="*/ 16 w 297"/>
                    <a:gd name="T59" fmla="*/ 8 h 535"/>
                    <a:gd name="T60" fmla="*/ 32 w 297"/>
                    <a:gd name="T61" fmla="*/ 0 h 535"/>
                    <a:gd name="T62" fmla="*/ 49 w 297"/>
                    <a:gd name="T63" fmla="*/ 0 h 5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97" h="535">
                      <a:moveTo>
                        <a:pt x="49" y="0"/>
                      </a:moveTo>
                      <a:lnTo>
                        <a:pt x="64" y="6"/>
                      </a:lnTo>
                      <a:lnTo>
                        <a:pt x="80" y="17"/>
                      </a:lnTo>
                      <a:lnTo>
                        <a:pt x="94" y="35"/>
                      </a:lnTo>
                      <a:lnTo>
                        <a:pt x="285" y="497"/>
                      </a:lnTo>
                      <a:lnTo>
                        <a:pt x="292" y="509"/>
                      </a:lnTo>
                      <a:lnTo>
                        <a:pt x="297" y="517"/>
                      </a:lnTo>
                      <a:lnTo>
                        <a:pt x="297" y="520"/>
                      </a:lnTo>
                      <a:lnTo>
                        <a:pt x="295" y="523"/>
                      </a:lnTo>
                      <a:lnTo>
                        <a:pt x="291" y="525"/>
                      </a:lnTo>
                      <a:lnTo>
                        <a:pt x="283" y="529"/>
                      </a:lnTo>
                      <a:lnTo>
                        <a:pt x="273" y="535"/>
                      </a:lnTo>
                      <a:lnTo>
                        <a:pt x="265" y="525"/>
                      </a:lnTo>
                      <a:lnTo>
                        <a:pt x="254" y="529"/>
                      </a:lnTo>
                      <a:lnTo>
                        <a:pt x="246" y="526"/>
                      </a:lnTo>
                      <a:lnTo>
                        <a:pt x="238" y="517"/>
                      </a:lnTo>
                      <a:lnTo>
                        <a:pt x="231" y="506"/>
                      </a:lnTo>
                      <a:lnTo>
                        <a:pt x="224" y="491"/>
                      </a:lnTo>
                      <a:lnTo>
                        <a:pt x="217" y="477"/>
                      </a:lnTo>
                      <a:lnTo>
                        <a:pt x="206" y="461"/>
                      </a:lnTo>
                      <a:lnTo>
                        <a:pt x="26" y="152"/>
                      </a:lnTo>
                      <a:lnTo>
                        <a:pt x="19" y="138"/>
                      </a:lnTo>
                      <a:lnTo>
                        <a:pt x="11" y="120"/>
                      </a:lnTo>
                      <a:lnTo>
                        <a:pt x="6" y="100"/>
                      </a:lnTo>
                      <a:lnTo>
                        <a:pt x="1" y="78"/>
                      </a:lnTo>
                      <a:lnTo>
                        <a:pt x="0" y="58"/>
                      </a:lnTo>
                      <a:lnTo>
                        <a:pt x="1" y="40"/>
                      </a:lnTo>
                      <a:lnTo>
                        <a:pt x="6" y="24"/>
                      </a:lnTo>
                      <a:lnTo>
                        <a:pt x="13" y="14"/>
                      </a:lnTo>
                      <a:lnTo>
                        <a:pt x="16" y="8"/>
                      </a:lnTo>
                      <a:lnTo>
                        <a:pt x="32" y="0"/>
                      </a:lnTo>
                      <a:lnTo>
                        <a:pt x="49" y="0"/>
                      </a:lnTo>
                      <a:close/>
                    </a:path>
                  </a:pathLst>
                </a:custGeom>
                <a:solidFill>
                  <a:srgbClr val="F2D2B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22" name="Freeform 414"/>
                <p:cNvSpPr>
                  <a:spLocks/>
                </p:cNvSpPr>
                <p:nvPr/>
              </p:nvSpPr>
              <p:spPr bwMode="auto">
                <a:xfrm>
                  <a:off x="2922588" y="4733925"/>
                  <a:ext cx="11113" cy="25400"/>
                </a:xfrm>
                <a:custGeom>
                  <a:avLst/>
                  <a:gdLst>
                    <a:gd name="T0" fmla="*/ 0 w 7"/>
                    <a:gd name="T1" fmla="*/ 0 h 16"/>
                    <a:gd name="T2" fmla="*/ 7 w 7"/>
                    <a:gd name="T3" fmla="*/ 16 h 16"/>
                    <a:gd name="T4" fmla="*/ 7 w 7"/>
                    <a:gd name="T5" fmla="*/ 16 h 16"/>
                    <a:gd name="T6" fmla="*/ 0 w 7"/>
                    <a:gd name="T7" fmla="*/ 0 h 16"/>
                    <a:gd name="T8" fmla="*/ 0 w 7"/>
                    <a:gd name="T9" fmla="*/ 0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16">
                      <a:moveTo>
                        <a:pt x="0" y="0"/>
                      </a:moveTo>
                      <a:lnTo>
                        <a:pt x="7" y="16"/>
                      </a:lnTo>
                      <a:lnTo>
                        <a:pt x="7" y="16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2D2B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23" name="Freeform 415"/>
                <p:cNvSpPr>
                  <a:spLocks/>
                </p:cNvSpPr>
                <p:nvPr/>
              </p:nvSpPr>
              <p:spPr bwMode="auto">
                <a:xfrm>
                  <a:off x="2795588" y="4733925"/>
                  <a:ext cx="315913" cy="574675"/>
                </a:xfrm>
                <a:custGeom>
                  <a:avLst/>
                  <a:gdLst>
                    <a:gd name="T0" fmla="*/ 80 w 199"/>
                    <a:gd name="T1" fmla="*/ 0 h 362"/>
                    <a:gd name="T2" fmla="*/ 87 w 199"/>
                    <a:gd name="T3" fmla="*/ 16 h 362"/>
                    <a:gd name="T4" fmla="*/ 82 w 199"/>
                    <a:gd name="T5" fmla="*/ 16 h 362"/>
                    <a:gd name="T6" fmla="*/ 80 w 199"/>
                    <a:gd name="T7" fmla="*/ 16 h 362"/>
                    <a:gd name="T8" fmla="*/ 77 w 199"/>
                    <a:gd name="T9" fmla="*/ 16 h 362"/>
                    <a:gd name="T10" fmla="*/ 74 w 199"/>
                    <a:gd name="T11" fmla="*/ 16 h 362"/>
                    <a:gd name="T12" fmla="*/ 71 w 199"/>
                    <a:gd name="T13" fmla="*/ 17 h 362"/>
                    <a:gd name="T14" fmla="*/ 69 w 199"/>
                    <a:gd name="T15" fmla="*/ 22 h 362"/>
                    <a:gd name="T16" fmla="*/ 58 w 199"/>
                    <a:gd name="T17" fmla="*/ 41 h 362"/>
                    <a:gd name="T18" fmla="*/ 57 w 199"/>
                    <a:gd name="T19" fmla="*/ 62 h 362"/>
                    <a:gd name="T20" fmla="*/ 58 w 199"/>
                    <a:gd name="T21" fmla="*/ 84 h 362"/>
                    <a:gd name="T22" fmla="*/ 66 w 199"/>
                    <a:gd name="T23" fmla="*/ 105 h 362"/>
                    <a:gd name="T24" fmla="*/ 74 w 199"/>
                    <a:gd name="T25" fmla="*/ 126 h 362"/>
                    <a:gd name="T26" fmla="*/ 85 w 199"/>
                    <a:gd name="T27" fmla="*/ 147 h 362"/>
                    <a:gd name="T28" fmla="*/ 95 w 199"/>
                    <a:gd name="T29" fmla="*/ 164 h 362"/>
                    <a:gd name="T30" fmla="*/ 147 w 199"/>
                    <a:gd name="T31" fmla="*/ 260 h 362"/>
                    <a:gd name="T32" fmla="*/ 199 w 199"/>
                    <a:gd name="T33" fmla="*/ 356 h 362"/>
                    <a:gd name="T34" fmla="*/ 197 w 199"/>
                    <a:gd name="T35" fmla="*/ 358 h 362"/>
                    <a:gd name="T36" fmla="*/ 194 w 199"/>
                    <a:gd name="T37" fmla="*/ 359 h 362"/>
                    <a:gd name="T38" fmla="*/ 189 w 199"/>
                    <a:gd name="T39" fmla="*/ 360 h 362"/>
                    <a:gd name="T40" fmla="*/ 186 w 199"/>
                    <a:gd name="T41" fmla="*/ 362 h 362"/>
                    <a:gd name="T42" fmla="*/ 178 w 199"/>
                    <a:gd name="T43" fmla="*/ 359 h 362"/>
                    <a:gd name="T44" fmla="*/ 170 w 199"/>
                    <a:gd name="T45" fmla="*/ 350 h 362"/>
                    <a:gd name="T46" fmla="*/ 163 w 199"/>
                    <a:gd name="T47" fmla="*/ 339 h 362"/>
                    <a:gd name="T48" fmla="*/ 156 w 199"/>
                    <a:gd name="T49" fmla="*/ 324 h 362"/>
                    <a:gd name="T50" fmla="*/ 147 w 199"/>
                    <a:gd name="T51" fmla="*/ 308 h 362"/>
                    <a:gd name="T52" fmla="*/ 138 w 199"/>
                    <a:gd name="T53" fmla="*/ 294 h 362"/>
                    <a:gd name="T54" fmla="*/ 3 w 199"/>
                    <a:gd name="T55" fmla="*/ 61 h 362"/>
                    <a:gd name="T56" fmla="*/ 2 w 199"/>
                    <a:gd name="T57" fmla="*/ 44 h 362"/>
                    <a:gd name="T58" fmla="*/ 0 w 199"/>
                    <a:gd name="T59" fmla="*/ 32 h 362"/>
                    <a:gd name="T60" fmla="*/ 41 w 199"/>
                    <a:gd name="T61" fmla="*/ 17 h 362"/>
                    <a:gd name="T62" fmla="*/ 80 w 199"/>
                    <a:gd name="T63" fmla="*/ 0 h 3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199" h="362">
                      <a:moveTo>
                        <a:pt x="80" y="0"/>
                      </a:moveTo>
                      <a:lnTo>
                        <a:pt x="87" y="16"/>
                      </a:lnTo>
                      <a:lnTo>
                        <a:pt x="82" y="16"/>
                      </a:lnTo>
                      <a:lnTo>
                        <a:pt x="80" y="16"/>
                      </a:lnTo>
                      <a:lnTo>
                        <a:pt x="77" y="16"/>
                      </a:lnTo>
                      <a:lnTo>
                        <a:pt x="74" y="16"/>
                      </a:lnTo>
                      <a:lnTo>
                        <a:pt x="71" y="17"/>
                      </a:lnTo>
                      <a:lnTo>
                        <a:pt x="69" y="22"/>
                      </a:lnTo>
                      <a:lnTo>
                        <a:pt x="58" y="41"/>
                      </a:lnTo>
                      <a:lnTo>
                        <a:pt x="57" y="62"/>
                      </a:lnTo>
                      <a:lnTo>
                        <a:pt x="58" y="84"/>
                      </a:lnTo>
                      <a:lnTo>
                        <a:pt x="66" y="105"/>
                      </a:lnTo>
                      <a:lnTo>
                        <a:pt x="74" y="126"/>
                      </a:lnTo>
                      <a:lnTo>
                        <a:pt x="85" y="147"/>
                      </a:lnTo>
                      <a:lnTo>
                        <a:pt x="95" y="164"/>
                      </a:lnTo>
                      <a:lnTo>
                        <a:pt x="147" y="260"/>
                      </a:lnTo>
                      <a:lnTo>
                        <a:pt x="199" y="356"/>
                      </a:lnTo>
                      <a:lnTo>
                        <a:pt x="197" y="358"/>
                      </a:lnTo>
                      <a:lnTo>
                        <a:pt x="194" y="359"/>
                      </a:lnTo>
                      <a:lnTo>
                        <a:pt x="189" y="360"/>
                      </a:lnTo>
                      <a:lnTo>
                        <a:pt x="186" y="362"/>
                      </a:lnTo>
                      <a:lnTo>
                        <a:pt x="178" y="359"/>
                      </a:lnTo>
                      <a:lnTo>
                        <a:pt x="170" y="350"/>
                      </a:lnTo>
                      <a:lnTo>
                        <a:pt x="163" y="339"/>
                      </a:lnTo>
                      <a:lnTo>
                        <a:pt x="156" y="324"/>
                      </a:lnTo>
                      <a:lnTo>
                        <a:pt x="147" y="308"/>
                      </a:lnTo>
                      <a:lnTo>
                        <a:pt x="138" y="294"/>
                      </a:lnTo>
                      <a:lnTo>
                        <a:pt x="3" y="61"/>
                      </a:lnTo>
                      <a:lnTo>
                        <a:pt x="2" y="44"/>
                      </a:lnTo>
                      <a:lnTo>
                        <a:pt x="0" y="32"/>
                      </a:lnTo>
                      <a:lnTo>
                        <a:pt x="41" y="17"/>
                      </a:lnTo>
                      <a:lnTo>
                        <a:pt x="80" y="0"/>
                      </a:lnTo>
                      <a:close/>
                    </a:path>
                  </a:pathLst>
                </a:custGeom>
                <a:solidFill>
                  <a:srgbClr val="E6AD7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24" name="Freeform 416"/>
                <p:cNvSpPr>
                  <a:spLocks/>
                </p:cNvSpPr>
                <p:nvPr/>
              </p:nvSpPr>
              <p:spPr bwMode="auto">
                <a:xfrm>
                  <a:off x="2633663" y="4521200"/>
                  <a:ext cx="212725" cy="868363"/>
                </a:xfrm>
                <a:custGeom>
                  <a:avLst/>
                  <a:gdLst>
                    <a:gd name="T0" fmla="*/ 54 w 134"/>
                    <a:gd name="T1" fmla="*/ 0 h 547"/>
                    <a:gd name="T2" fmla="*/ 69 w 134"/>
                    <a:gd name="T3" fmla="*/ 5 h 547"/>
                    <a:gd name="T4" fmla="*/ 77 w 134"/>
                    <a:gd name="T5" fmla="*/ 13 h 547"/>
                    <a:gd name="T6" fmla="*/ 85 w 134"/>
                    <a:gd name="T7" fmla="*/ 25 h 547"/>
                    <a:gd name="T8" fmla="*/ 91 w 134"/>
                    <a:gd name="T9" fmla="*/ 39 h 547"/>
                    <a:gd name="T10" fmla="*/ 93 w 134"/>
                    <a:gd name="T11" fmla="*/ 55 h 547"/>
                    <a:gd name="T12" fmla="*/ 96 w 134"/>
                    <a:gd name="T13" fmla="*/ 71 h 547"/>
                    <a:gd name="T14" fmla="*/ 127 w 134"/>
                    <a:gd name="T15" fmla="*/ 486 h 547"/>
                    <a:gd name="T16" fmla="*/ 131 w 134"/>
                    <a:gd name="T17" fmla="*/ 506 h 547"/>
                    <a:gd name="T18" fmla="*/ 134 w 134"/>
                    <a:gd name="T19" fmla="*/ 521 h 547"/>
                    <a:gd name="T20" fmla="*/ 134 w 134"/>
                    <a:gd name="T21" fmla="*/ 531 h 547"/>
                    <a:gd name="T22" fmla="*/ 128 w 134"/>
                    <a:gd name="T23" fmla="*/ 538 h 547"/>
                    <a:gd name="T24" fmla="*/ 115 w 134"/>
                    <a:gd name="T25" fmla="*/ 544 h 547"/>
                    <a:gd name="T26" fmla="*/ 101 w 134"/>
                    <a:gd name="T27" fmla="*/ 545 h 547"/>
                    <a:gd name="T28" fmla="*/ 89 w 134"/>
                    <a:gd name="T29" fmla="*/ 547 h 547"/>
                    <a:gd name="T30" fmla="*/ 80 w 134"/>
                    <a:gd name="T31" fmla="*/ 544 h 547"/>
                    <a:gd name="T32" fmla="*/ 76 w 134"/>
                    <a:gd name="T33" fmla="*/ 537 h 547"/>
                    <a:gd name="T34" fmla="*/ 73 w 134"/>
                    <a:gd name="T35" fmla="*/ 525 h 547"/>
                    <a:gd name="T36" fmla="*/ 69 w 134"/>
                    <a:gd name="T37" fmla="*/ 510 h 547"/>
                    <a:gd name="T38" fmla="*/ 66 w 134"/>
                    <a:gd name="T39" fmla="*/ 493 h 547"/>
                    <a:gd name="T40" fmla="*/ 2 w 134"/>
                    <a:gd name="T41" fmla="*/ 138 h 547"/>
                    <a:gd name="T42" fmla="*/ 0 w 134"/>
                    <a:gd name="T43" fmla="*/ 105 h 547"/>
                    <a:gd name="T44" fmla="*/ 0 w 134"/>
                    <a:gd name="T45" fmla="*/ 77 h 547"/>
                    <a:gd name="T46" fmla="*/ 3 w 134"/>
                    <a:gd name="T47" fmla="*/ 55 h 547"/>
                    <a:gd name="T48" fmla="*/ 9 w 134"/>
                    <a:gd name="T49" fmla="*/ 38 h 547"/>
                    <a:gd name="T50" fmla="*/ 15 w 134"/>
                    <a:gd name="T51" fmla="*/ 25 h 547"/>
                    <a:gd name="T52" fmla="*/ 21 w 134"/>
                    <a:gd name="T53" fmla="*/ 15 h 547"/>
                    <a:gd name="T54" fmla="*/ 27 w 134"/>
                    <a:gd name="T55" fmla="*/ 9 h 547"/>
                    <a:gd name="T56" fmla="*/ 32 w 134"/>
                    <a:gd name="T57" fmla="*/ 5 h 547"/>
                    <a:gd name="T58" fmla="*/ 35 w 134"/>
                    <a:gd name="T59" fmla="*/ 3 h 547"/>
                    <a:gd name="T60" fmla="*/ 37 w 134"/>
                    <a:gd name="T61" fmla="*/ 3 h 547"/>
                    <a:gd name="T62" fmla="*/ 54 w 134"/>
                    <a:gd name="T63" fmla="*/ 0 h 5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134" h="547">
                      <a:moveTo>
                        <a:pt x="54" y="0"/>
                      </a:moveTo>
                      <a:lnTo>
                        <a:pt x="69" y="5"/>
                      </a:lnTo>
                      <a:lnTo>
                        <a:pt x="77" y="13"/>
                      </a:lnTo>
                      <a:lnTo>
                        <a:pt x="85" y="25"/>
                      </a:lnTo>
                      <a:lnTo>
                        <a:pt x="91" y="39"/>
                      </a:lnTo>
                      <a:lnTo>
                        <a:pt x="93" y="55"/>
                      </a:lnTo>
                      <a:lnTo>
                        <a:pt x="96" y="71"/>
                      </a:lnTo>
                      <a:lnTo>
                        <a:pt x="127" y="486"/>
                      </a:lnTo>
                      <a:lnTo>
                        <a:pt x="131" y="506"/>
                      </a:lnTo>
                      <a:lnTo>
                        <a:pt x="134" y="521"/>
                      </a:lnTo>
                      <a:lnTo>
                        <a:pt x="134" y="531"/>
                      </a:lnTo>
                      <a:lnTo>
                        <a:pt x="128" y="538"/>
                      </a:lnTo>
                      <a:lnTo>
                        <a:pt x="115" y="544"/>
                      </a:lnTo>
                      <a:lnTo>
                        <a:pt x="101" y="545"/>
                      </a:lnTo>
                      <a:lnTo>
                        <a:pt x="89" y="547"/>
                      </a:lnTo>
                      <a:lnTo>
                        <a:pt x="80" y="544"/>
                      </a:lnTo>
                      <a:lnTo>
                        <a:pt x="76" y="537"/>
                      </a:lnTo>
                      <a:lnTo>
                        <a:pt x="73" y="525"/>
                      </a:lnTo>
                      <a:lnTo>
                        <a:pt x="69" y="510"/>
                      </a:lnTo>
                      <a:lnTo>
                        <a:pt x="66" y="493"/>
                      </a:lnTo>
                      <a:lnTo>
                        <a:pt x="2" y="138"/>
                      </a:lnTo>
                      <a:lnTo>
                        <a:pt x="0" y="105"/>
                      </a:lnTo>
                      <a:lnTo>
                        <a:pt x="0" y="77"/>
                      </a:lnTo>
                      <a:lnTo>
                        <a:pt x="3" y="55"/>
                      </a:lnTo>
                      <a:lnTo>
                        <a:pt x="9" y="38"/>
                      </a:lnTo>
                      <a:lnTo>
                        <a:pt x="15" y="25"/>
                      </a:lnTo>
                      <a:lnTo>
                        <a:pt x="21" y="15"/>
                      </a:lnTo>
                      <a:lnTo>
                        <a:pt x="27" y="9"/>
                      </a:lnTo>
                      <a:lnTo>
                        <a:pt x="32" y="5"/>
                      </a:lnTo>
                      <a:lnTo>
                        <a:pt x="35" y="3"/>
                      </a:lnTo>
                      <a:lnTo>
                        <a:pt x="37" y="3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2D2B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25" name="Freeform 417"/>
                <p:cNvSpPr>
                  <a:spLocks/>
                </p:cNvSpPr>
                <p:nvPr/>
              </p:nvSpPr>
              <p:spPr bwMode="auto">
                <a:xfrm>
                  <a:off x="2652713" y="4784725"/>
                  <a:ext cx="146050" cy="604838"/>
                </a:xfrm>
                <a:custGeom>
                  <a:avLst/>
                  <a:gdLst>
                    <a:gd name="T0" fmla="*/ 90 w 92"/>
                    <a:gd name="T1" fmla="*/ 0 h 381"/>
                    <a:gd name="T2" fmla="*/ 92 w 92"/>
                    <a:gd name="T3" fmla="*/ 12 h 381"/>
                    <a:gd name="T4" fmla="*/ 87 w 92"/>
                    <a:gd name="T5" fmla="*/ 13 h 381"/>
                    <a:gd name="T6" fmla="*/ 83 w 92"/>
                    <a:gd name="T7" fmla="*/ 14 h 381"/>
                    <a:gd name="T8" fmla="*/ 67 w 92"/>
                    <a:gd name="T9" fmla="*/ 20 h 381"/>
                    <a:gd name="T10" fmla="*/ 54 w 92"/>
                    <a:gd name="T11" fmla="*/ 26 h 381"/>
                    <a:gd name="T12" fmla="*/ 44 w 92"/>
                    <a:gd name="T13" fmla="*/ 33 h 381"/>
                    <a:gd name="T14" fmla="*/ 33 w 92"/>
                    <a:gd name="T15" fmla="*/ 44 h 381"/>
                    <a:gd name="T16" fmla="*/ 28 w 92"/>
                    <a:gd name="T17" fmla="*/ 59 h 381"/>
                    <a:gd name="T18" fmla="*/ 28 w 92"/>
                    <a:gd name="T19" fmla="*/ 67 h 381"/>
                    <a:gd name="T20" fmla="*/ 28 w 92"/>
                    <a:gd name="T21" fmla="*/ 84 h 381"/>
                    <a:gd name="T22" fmla="*/ 31 w 92"/>
                    <a:gd name="T23" fmla="*/ 106 h 381"/>
                    <a:gd name="T24" fmla="*/ 35 w 92"/>
                    <a:gd name="T25" fmla="*/ 134 h 381"/>
                    <a:gd name="T26" fmla="*/ 39 w 92"/>
                    <a:gd name="T27" fmla="*/ 166 h 381"/>
                    <a:gd name="T28" fmla="*/ 45 w 92"/>
                    <a:gd name="T29" fmla="*/ 199 h 381"/>
                    <a:gd name="T30" fmla="*/ 51 w 92"/>
                    <a:gd name="T31" fmla="*/ 234 h 381"/>
                    <a:gd name="T32" fmla="*/ 58 w 92"/>
                    <a:gd name="T33" fmla="*/ 269 h 381"/>
                    <a:gd name="T34" fmla="*/ 64 w 92"/>
                    <a:gd name="T35" fmla="*/ 302 h 381"/>
                    <a:gd name="T36" fmla="*/ 71 w 92"/>
                    <a:gd name="T37" fmla="*/ 333 h 381"/>
                    <a:gd name="T38" fmla="*/ 77 w 92"/>
                    <a:gd name="T39" fmla="*/ 359 h 381"/>
                    <a:gd name="T40" fmla="*/ 83 w 92"/>
                    <a:gd name="T41" fmla="*/ 379 h 381"/>
                    <a:gd name="T42" fmla="*/ 79 w 92"/>
                    <a:gd name="T43" fmla="*/ 381 h 381"/>
                    <a:gd name="T44" fmla="*/ 70 w 92"/>
                    <a:gd name="T45" fmla="*/ 378 h 381"/>
                    <a:gd name="T46" fmla="*/ 64 w 92"/>
                    <a:gd name="T47" fmla="*/ 371 h 381"/>
                    <a:gd name="T48" fmla="*/ 61 w 92"/>
                    <a:gd name="T49" fmla="*/ 359 h 381"/>
                    <a:gd name="T50" fmla="*/ 58 w 92"/>
                    <a:gd name="T51" fmla="*/ 344 h 381"/>
                    <a:gd name="T52" fmla="*/ 54 w 92"/>
                    <a:gd name="T53" fmla="*/ 327 h 381"/>
                    <a:gd name="T54" fmla="*/ 54 w 92"/>
                    <a:gd name="T55" fmla="*/ 326 h 381"/>
                    <a:gd name="T56" fmla="*/ 52 w 92"/>
                    <a:gd name="T57" fmla="*/ 324 h 381"/>
                    <a:gd name="T58" fmla="*/ 0 w 92"/>
                    <a:gd name="T59" fmla="*/ 29 h 381"/>
                    <a:gd name="T60" fmla="*/ 1 w 92"/>
                    <a:gd name="T61" fmla="*/ 28 h 381"/>
                    <a:gd name="T62" fmla="*/ 1 w 92"/>
                    <a:gd name="T63" fmla="*/ 28 h 381"/>
                    <a:gd name="T64" fmla="*/ 26 w 92"/>
                    <a:gd name="T65" fmla="*/ 22 h 381"/>
                    <a:gd name="T66" fmla="*/ 51 w 92"/>
                    <a:gd name="T67" fmla="*/ 14 h 381"/>
                    <a:gd name="T68" fmla="*/ 73 w 92"/>
                    <a:gd name="T69" fmla="*/ 7 h 381"/>
                    <a:gd name="T70" fmla="*/ 79 w 92"/>
                    <a:gd name="T71" fmla="*/ 4 h 381"/>
                    <a:gd name="T72" fmla="*/ 90 w 92"/>
                    <a:gd name="T73" fmla="*/ 0 h 3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92" h="381">
                      <a:moveTo>
                        <a:pt x="90" y="0"/>
                      </a:moveTo>
                      <a:lnTo>
                        <a:pt x="92" y="12"/>
                      </a:lnTo>
                      <a:lnTo>
                        <a:pt x="87" y="13"/>
                      </a:lnTo>
                      <a:lnTo>
                        <a:pt x="83" y="14"/>
                      </a:lnTo>
                      <a:lnTo>
                        <a:pt x="67" y="20"/>
                      </a:lnTo>
                      <a:lnTo>
                        <a:pt x="54" y="26"/>
                      </a:lnTo>
                      <a:lnTo>
                        <a:pt x="44" y="33"/>
                      </a:lnTo>
                      <a:lnTo>
                        <a:pt x="33" y="44"/>
                      </a:lnTo>
                      <a:lnTo>
                        <a:pt x="28" y="59"/>
                      </a:lnTo>
                      <a:lnTo>
                        <a:pt x="28" y="67"/>
                      </a:lnTo>
                      <a:lnTo>
                        <a:pt x="28" y="84"/>
                      </a:lnTo>
                      <a:lnTo>
                        <a:pt x="31" y="106"/>
                      </a:lnTo>
                      <a:lnTo>
                        <a:pt x="35" y="134"/>
                      </a:lnTo>
                      <a:lnTo>
                        <a:pt x="39" y="166"/>
                      </a:lnTo>
                      <a:lnTo>
                        <a:pt x="45" y="199"/>
                      </a:lnTo>
                      <a:lnTo>
                        <a:pt x="51" y="234"/>
                      </a:lnTo>
                      <a:lnTo>
                        <a:pt x="58" y="269"/>
                      </a:lnTo>
                      <a:lnTo>
                        <a:pt x="64" y="302"/>
                      </a:lnTo>
                      <a:lnTo>
                        <a:pt x="71" y="333"/>
                      </a:lnTo>
                      <a:lnTo>
                        <a:pt x="77" y="359"/>
                      </a:lnTo>
                      <a:lnTo>
                        <a:pt x="83" y="379"/>
                      </a:lnTo>
                      <a:lnTo>
                        <a:pt x="79" y="381"/>
                      </a:lnTo>
                      <a:lnTo>
                        <a:pt x="70" y="378"/>
                      </a:lnTo>
                      <a:lnTo>
                        <a:pt x="64" y="371"/>
                      </a:lnTo>
                      <a:lnTo>
                        <a:pt x="61" y="359"/>
                      </a:lnTo>
                      <a:lnTo>
                        <a:pt x="58" y="344"/>
                      </a:lnTo>
                      <a:lnTo>
                        <a:pt x="54" y="327"/>
                      </a:lnTo>
                      <a:lnTo>
                        <a:pt x="54" y="326"/>
                      </a:lnTo>
                      <a:lnTo>
                        <a:pt x="52" y="324"/>
                      </a:lnTo>
                      <a:lnTo>
                        <a:pt x="0" y="29"/>
                      </a:lnTo>
                      <a:lnTo>
                        <a:pt x="1" y="28"/>
                      </a:lnTo>
                      <a:lnTo>
                        <a:pt x="1" y="28"/>
                      </a:lnTo>
                      <a:lnTo>
                        <a:pt x="26" y="22"/>
                      </a:lnTo>
                      <a:lnTo>
                        <a:pt x="51" y="14"/>
                      </a:lnTo>
                      <a:lnTo>
                        <a:pt x="73" y="7"/>
                      </a:lnTo>
                      <a:lnTo>
                        <a:pt x="79" y="4"/>
                      </a:lnTo>
                      <a:lnTo>
                        <a:pt x="90" y="0"/>
                      </a:lnTo>
                      <a:close/>
                    </a:path>
                  </a:pathLst>
                </a:custGeom>
                <a:solidFill>
                  <a:srgbClr val="E6AD7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26" name="Freeform 418"/>
                <p:cNvSpPr>
                  <a:spLocks/>
                </p:cNvSpPr>
                <p:nvPr/>
              </p:nvSpPr>
              <p:spPr bwMode="auto">
                <a:xfrm>
                  <a:off x="2687638" y="4456113"/>
                  <a:ext cx="239713" cy="334963"/>
                </a:xfrm>
                <a:custGeom>
                  <a:avLst/>
                  <a:gdLst>
                    <a:gd name="T0" fmla="*/ 17 w 151"/>
                    <a:gd name="T1" fmla="*/ 0 h 211"/>
                    <a:gd name="T2" fmla="*/ 43 w 151"/>
                    <a:gd name="T3" fmla="*/ 6 h 211"/>
                    <a:gd name="T4" fmla="*/ 62 w 151"/>
                    <a:gd name="T5" fmla="*/ 12 h 211"/>
                    <a:gd name="T6" fmla="*/ 77 w 151"/>
                    <a:gd name="T7" fmla="*/ 19 h 211"/>
                    <a:gd name="T8" fmla="*/ 87 w 151"/>
                    <a:gd name="T9" fmla="*/ 30 h 211"/>
                    <a:gd name="T10" fmla="*/ 94 w 151"/>
                    <a:gd name="T11" fmla="*/ 43 h 211"/>
                    <a:gd name="T12" fmla="*/ 151 w 151"/>
                    <a:gd name="T13" fmla="*/ 173 h 211"/>
                    <a:gd name="T14" fmla="*/ 105 w 151"/>
                    <a:gd name="T15" fmla="*/ 194 h 211"/>
                    <a:gd name="T16" fmla="*/ 57 w 151"/>
                    <a:gd name="T17" fmla="*/ 211 h 211"/>
                    <a:gd name="T18" fmla="*/ 26 w 151"/>
                    <a:gd name="T19" fmla="*/ 160 h 211"/>
                    <a:gd name="T20" fmla="*/ 19 w 151"/>
                    <a:gd name="T21" fmla="*/ 146 h 211"/>
                    <a:gd name="T22" fmla="*/ 11 w 151"/>
                    <a:gd name="T23" fmla="*/ 128 h 211"/>
                    <a:gd name="T24" fmla="*/ 6 w 151"/>
                    <a:gd name="T25" fmla="*/ 108 h 211"/>
                    <a:gd name="T26" fmla="*/ 1 w 151"/>
                    <a:gd name="T27" fmla="*/ 86 h 211"/>
                    <a:gd name="T28" fmla="*/ 0 w 151"/>
                    <a:gd name="T29" fmla="*/ 66 h 211"/>
                    <a:gd name="T30" fmla="*/ 1 w 151"/>
                    <a:gd name="T31" fmla="*/ 48 h 211"/>
                    <a:gd name="T32" fmla="*/ 6 w 151"/>
                    <a:gd name="T33" fmla="*/ 32 h 211"/>
                    <a:gd name="T34" fmla="*/ 13 w 151"/>
                    <a:gd name="T35" fmla="*/ 22 h 211"/>
                    <a:gd name="T36" fmla="*/ 17 w 151"/>
                    <a:gd name="T37" fmla="*/ 0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51" h="211">
                      <a:moveTo>
                        <a:pt x="17" y="0"/>
                      </a:moveTo>
                      <a:lnTo>
                        <a:pt x="43" y="6"/>
                      </a:lnTo>
                      <a:lnTo>
                        <a:pt x="62" y="12"/>
                      </a:lnTo>
                      <a:lnTo>
                        <a:pt x="77" y="19"/>
                      </a:lnTo>
                      <a:lnTo>
                        <a:pt x="87" y="30"/>
                      </a:lnTo>
                      <a:lnTo>
                        <a:pt x="94" y="43"/>
                      </a:lnTo>
                      <a:lnTo>
                        <a:pt x="151" y="173"/>
                      </a:lnTo>
                      <a:lnTo>
                        <a:pt x="105" y="194"/>
                      </a:lnTo>
                      <a:lnTo>
                        <a:pt x="57" y="211"/>
                      </a:lnTo>
                      <a:lnTo>
                        <a:pt x="26" y="160"/>
                      </a:lnTo>
                      <a:lnTo>
                        <a:pt x="19" y="146"/>
                      </a:lnTo>
                      <a:lnTo>
                        <a:pt x="11" y="128"/>
                      </a:lnTo>
                      <a:lnTo>
                        <a:pt x="6" y="108"/>
                      </a:lnTo>
                      <a:lnTo>
                        <a:pt x="1" y="86"/>
                      </a:lnTo>
                      <a:lnTo>
                        <a:pt x="0" y="66"/>
                      </a:lnTo>
                      <a:lnTo>
                        <a:pt x="1" y="48"/>
                      </a:lnTo>
                      <a:lnTo>
                        <a:pt x="6" y="32"/>
                      </a:lnTo>
                      <a:lnTo>
                        <a:pt x="13" y="22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27" name="Freeform 419"/>
                <p:cNvSpPr>
                  <a:spLocks noEditPoints="1"/>
                </p:cNvSpPr>
                <p:nvPr/>
              </p:nvSpPr>
              <p:spPr bwMode="auto">
                <a:xfrm>
                  <a:off x="2366963" y="4387850"/>
                  <a:ext cx="347663" cy="119063"/>
                </a:xfrm>
                <a:custGeom>
                  <a:avLst/>
                  <a:gdLst>
                    <a:gd name="T0" fmla="*/ 219 w 219"/>
                    <a:gd name="T1" fmla="*/ 43 h 75"/>
                    <a:gd name="T2" fmla="*/ 219 w 219"/>
                    <a:gd name="T3" fmla="*/ 43 h 75"/>
                    <a:gd name="T4" fmla="*/ 219 w 219"/>
                    <a:gd name="T5" fmla="*/ 43 h 75"/>
                    <a:gd name="T6" fmla="*/ 219 w 219"/>
                    <a:gd name="T7" fmla="*/ 43 h 75"/>
                    <a:gd name="T8" fmla="*/ 0 w 219"/>
                    <a:gd name="T9" fmla="*/ 0 h 75"/>
                    <a:gd name="T10" fmla="*/ 219 w 219"/>
                    <a:gd name="T11" fmla="*/ 43 h 75"/>
                    <a:gd name="T12" fmla="*/ 215 w 219"/>
                    <a:gd name="T13" fmla="*/ 65 h 75"/>
                    <a:gd name="T14" fmla="*/ 211 w 219"/>
                    <a:gd name="T15" fmla="*/ 70 h 75"/>
                    <a:gd name="T16" fmla="*/ 208 w 219"/>
                    <a:gd name="T17" fmla="*/ 75 h 75"/>
                    <a:gd name="T18" fmla="*/ 203 w 219"/>
                    <a:gd name="T19" fmla="*/ 75 h 75"/>
                    <a:gd name="T20" fmla="*/ 199 w 219"/>
                    <a:gd name="T21" fmla="*/ 75 h 75"/>
                    <a:gd name="T22" fmla="*/ 199 w 219"/>
                    <a:gd name="T23" fmla="*/ 75 h 75"/>
                    <a:gd name="T24" fmla="*/ 199 w 219"/>
                    <a:gd name="T25" fmla="*/ 75 h 75"/>
                    <a:gd name="T26" fmla="*/ 199 w 219"/>
                    <a:gd name="T27" fmla="*/ 75 h 75"/>
                    <a:gd name="T28" fmla="*/ 164 w 219"/>
                    <a:gd name="T29" fmla="*/ 62 h 75"/>
                    <a:gd name="T30" fmla="*/ 125 w 219"/>
                    <a:gd name="T31" fmla="*/ 52 h 75"/>
                    <a:gd name="T32" fmla="*/ 85 w 219"/>
                    <a:gd name="T33" fmla="*/ 42 h 75"/>
                    <a:gd name="T34" fmla="*/ 49 w 219"/>
                    <a:gd name="T35" fmla="*/ 33 h 75"/>
                    <a:gd name="T36" fmla="*/ 16 w 219"/>
                    <a:gd name="T37" fmla="*/ 26 h 75"/>
                    <a:gd name="T38" fmla="*/ 3 w 219"/>
                    <a:gd name="T39" fmla="*/ 25 h 75"/>
                    <a:gd name="T40" fmla="*/ 3 w 219"/>
                    <a:gd name="T41" fmla="*/ 25 h 75"/>
                    <a:gd name="T42" fmla="*/ 0 w 219"/>
                    <a:gd name="T43" fmla="*/ 0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219" h="75">
                      <a:moveTo>
                        <a:pt x="219" y="43"/>
                      </a:moveTo>
                      <a:lnTo>
                        <a:pt x="219" y="43"/>
                      </a:lnTo>
                      <a:lnTo>
                        <a:pt x="219" y="43"/>
                      </a:lnTo>
                      <a:lnTo>
                        <a:pt x="219" y="43"/>
                      </a:lnTo>
                      <a:close/>
                      <a:moveTo>
                        <a:pt x="0" y="0"/>
                      </a:moveTo>
                      <a:lnTo>
                        <a:pt x="219" y="43"/>
                      </a:lnTo>
                      <a:lnTo>
                        <a:pt x="215" y="65"/>
                      </a:lnTo>
                      <a:lnTo>
                        <a:pt x="211" y="70"/>
                      </a:lnTo>
                      <a:lnTo>
                        <a:pt x="208" y="75"/>
                      </a:lnTo>
                      <a:lnTo>
                        <a:pt x="203" y="75"/>
                      </a:lnTo>
                      <a:lnTo>
                        <a:pt x="199" y="75"/>
                      </a:lnTo>
                      <a:lnTo>
                        <a:pt x="199" y="75"/>
                      </a:lnTo>
                      <a:lnTo>
                        <a:pt x="199" y="75"/>
                      </a:lnTo>
                      <a:lnTo>
                        <a:pt x="199" y="75"/>
                      </a:lnTo>
                      <a:lnTo>
                        <a:pt x="164" y="62"/>
                      </a:lnTo>
                      <a:lnTo>
                        <a:pt x="125" y="52"/>
                      </a:lnTo>
                      <a:lnTo>
                        <a:pt x="85" y="42"/>
                      </a:lnTo>
                      <a:lnTo>
                        <a:pt x="49" y="33"/>
                      </a:lnTo>
                      <a:lnTo>
                        <a:pt x="16" y="26"/>
                      </a:lnTo>
                      <a:lnTo>
                        <a:pt x="3" y="25"/>
                      </a:lnTo>
                      <a:lnTo>
                        <a:pt x="3" y="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A01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28" name="Freeform 420"/>
                <p:cNvSpPr>
                  <a:spLocks/>
                </p:cNvSpPr>
                <p:nvPr/>
              </p:nvSpPr>
              <p:spPr bwMode="auto">
                <a:xfrm>
                  <a:off x="2697163" y="4456113"/>
                  <a:ext cx="147638" cy="328613"/>
                </a:xfrm>
                <a:custGeom>
                  <a:avLst/>
                  <a:gdLst>
                    <a:gd name="T0" fmla="*/ 11 w 93"/>
                    <a:gd name="T1" fmla="*/ 0 h 207"/>
                    <a:gd name="T2" fmla="*/ 11 w 93"/>
                    <a:gd name="T3" fmla="*/ 0 h 207"/>
                    <a:gd name="T4" fmla="*/ 11 w 93"/>
                    <a:gd name="T5" fmla="*/ 2 h 207"/>
                    <a:gd name="T6" fmla="*/ 13 w 93"/>
                    <a:gd name="T7" fmla="*/ 2 h 207"/>
                    <a:gd name="T8" fmla="*/ 13 w 93"/>
                    <a:gd name="T9" fmla="*/ 2 h 207"/>
                    <a:gd name="T10" fmla="*/ 13 w 93"/>
                    <a:gd name="T11" fmla="*/ 2 h 207"/>
                    <a:gd name="T12" fmla="*/ 13 w 93"/>
                    <a:gd name="T13" fmla="*/ 2 h 207"/>
                    <a:gd name="T14" fmla="*/ 13 w 93"/>
                    <a:gd name="T15" fmla="*/ 2 h 207"/>
                    <a:gd name="T16" fmla="*/ 13 w 93"/>
                    <a:gd name="T17" fmla="*/ 2 h 207"/>
                    <a:gd name="T18" fmla="*/ 14 w 93"/>
                    <a:gd name="T19" fmla="*/ 2 h 207"/>
                    <a:gd name="T20" fmla="*/ 14 w 93"/>
                    <a:gd name="T21" fmla="*/ 2 h 207"/>
                    <a:gd name="T22" fmla="*/ 14 w 93"/>
                    <a:gd name="T23" fmla="*/ 2 h 207"/>
                    <a:gd name="T24" fmla="*/ 40 w 93"/>
                    <a:gd name="T25" fmla="*/ 6 h 207"/>
                    <a:gd name="T26" fmla="*/ 59 w 93"/>
                    <a:gd name="T27" fmla="*/ 14 h 207"/>
                    <a:gd name="T28" fmla="*/ 72 w 93"/>
                    <a:gd name="T29" fmla="*/ 21 h 207"/>
                    <a:gd name="T30" fmla="*/ 83 w 93"/>
                    <a:gd name="T31" fmla="*/ 32 h 207"/>
                    <a:gd name="T32" fmla="*/ 78 w 93"/>
                    <a:gd name="T33" fmla="*/ 32 h 207"/>
                    <a:gd name="T34" fmla="*/ 68 w 93"/>
                    <a:gd name="T35" fmla="*/ 34 h 207"/>
                    <a:gd name="T36" fmla="*/ 59 w 93"/>
                    <a:gd name="T37" fmla="*/ 38 h 207"/>
                    <a:gd name="T38" fmla="*/ 52 w 93"/>
                    <a:gd name="T39" fmla="*/ 46 h 207"/>
                    <a:gd name="T40" fmla="*/ 49 w 93"/>
                    <a:gd name="T41" fmla="*/ 54 h 207"/>
                    <a:gd name="T42" fmla="*/ 51 w 93"/>
                    <a:gd name="T43" fmla="*/ 67 h 207"/>
                    <a:gd name="T44" fmla="*/ 71 w 93"/>
                    <a:gd name="T45" fmla="*/ 133 h 207"/>
                    <a:gd name="T46" fmla="*/ 93 w 93"/>
                    <a:gd name="T47" fmla="*/ 197 h 207"/>
                    <a:gd name="T48" fmla="*/ 62 w 93"/>
                    <a:gd name="T49" fmla="*/ 207 h 207"/>
                    <a:gd name="T50" fmla="*/ 52 w 93"/>
                    <a:gd name="T51" fmla="*/ 110 h 207"/>
                    <a:gd name="T52" fmla="*/ 51 w 93"/>
                    <a:gd name="T53" fmla="*/ 95 h 207"/>
                    <a:gd name="T54" fmla="*/ 46 w 93"/>
                    <a:gd name="T55" fmla="*/ 78 h 207"/>
                    <a:gd name="T56" fmla="*/ 39 w 93"/>
                    <a:gd name="T57" fmla="*/ 62 h 207"/>
                    <a:gd name="T58" fmla="*/ 30 w 93"/>
                    <a:gd name="T59" fmla="*/ 47 h 207"/>
                    <a:gd name="T60" fmla="*/ 17 w 93"/>
                    <a:gd name="T61" fmla="*/ 37 h 207"/>
                    <a:gd name="T62" fmla="*/ 11 w 93"/>
                    <a:gd name="T63" fmla="*/ 35 h 207"/>
                    <a:gd name="T64" fmla="*/ 5 w 93"/>
                    <a:gd name="T65" fmla="*/ 32 h 207"/>
                    <a:gd name="T66" fmla="*/ 0 w 93"/>
                    <a:gd name="T67" fmla="*/ 32 h 207"/>
                    <a:gd name="T68" fmla="*/ 3 w 93"/>
                    <a:gd name="T69" fmla="*/ 27 h 207"/>
                    <a:gd name="T70" fmla="*/ 7 w 93"/>
                    <a:gd name="T71" fmla="*/ 22 h 207"/>
                    <a:gd name="T72" fmla="*/ 11 w 93"/>
                    <a:gd name="T73" fmla="*/ 0 h 207"/>
                    <a:gd name="T74" fmla="*/ 11 w 93"/>
                    <a:gd name="T75" fmla="*/ 0 h 2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93" h="207">
                      <a:moveTo>
                        <a:pt x="11" y="0"/>
                      </a:moveTo>
                      <a:lnTo>
                        <a:pt x="11" y="0"/>
                      </a:lnTo>
                      <a:lnTo>
                        <a:pt x="11" y="2"/>
                      </a:lnTo>
                      <a:lnTo>
                        <a:pt x="13" y="2"/>
                      </a:lnTo>
                      <a:lnTo>
                        <a:pt x="13" y="2"/>
                      </a:lnTo>
                      <a:lnTo>
                        <a:pt x="13" y="2"/>
                      </a:lnTo>
                      <a:lnTo>
                        <a:pt x="13" y="2"/>
                      </a:lnTo>
                      <a:lnTo>
                        <a:pt x="13" y="2"/>
                      </a:lnTo>
                      <a:lnTo>
                        <a:pt x="13" y="2"/>
                      </a:lnTo>
                      <a:lnTo>
                        <a:pt x="14" y="2"/>
                      </a:lnTo>
                      <a:lnTo>
                        <a:pt x="14" y="2"/>
                      </a:lnTo>
                      <a:lnTo>
                        <a:pt x="14" y="2"/>
                      </a:lnTo>
                      <a:lnTo>
                        <a:pt x="40" y="6"/>
                      </a:lnTo>
                      <a:lnTo>
                        <a:pt x="59" y="14"/>
                      </a:lnTo>
                      <a:lnTo>
                        <a:pt x="72" y="21"/>
                      </a:lnTo>
                      <a:lnTo>
                        <a:pt x="83" y="32"/>
                      </a:lnTo>
                      <a:lnTo>
                        <a:pt x="78" y="32"/>
                      </a:lnTo>
                      <a:lnTo>
                        <a:pt x="68" y="34"/>
                      </a:lnTo>
                      <a:lnTo>
                        <a:pt x="59" y="38"/>
                      </a:lnTo>
                      <a:lnTo>
                        <a:pt x="52" y="46"/>
                      </a:lnTo>
                      <a:lnTo>
                        <a:pt x="49" y="54"/>
                      </a:lnTo>
                      <a:lnTo>
                        <a:pt x="51" y="67"/>
                      </a:lnTo>
                      <a:lnTo>
                        <a:pt x="71" y="133"/>
                      </a:lnTo>
                      <a:lnTo>
                        <a:pt x="93" y="197"/>
                      </a:lnTo>
                      <a:lnTo>
                        <a:pt x="62" y="207"/>
                      </a:lnTo>
                      <a:lnTo>
                        <a:pt x="52" y="110"/>
                      </a:lnTo>
                      <a:lnTo>
                        <a:pt x="51" y="95"/>
                      </a:lnTo>
                      <a:lnTo>
                        <a:pt x="46" y="78"/>
                      </a:lnTo>
                      <a:lnTo>
                        <a:pt x="39" y="62"/>
                      </a:lnTo>
                      <a:lnTo>
                        <a:pt x="30" y="47"/>
                      </a:lnTo>
                      <a:lnTo>
                        <a:pt x="17" y="37"/>
                      </a:lnTo>
                      <a:lnTo>
                        <a:pt x="11" y="35"/>
                      </a:lnTo>
                      <a:lnTo>
                        <a:pt x="5" y="32"/>
                      </a:lnTo>
                      <a:lnTo>
                        <a:pt x="0" y="32"/>
                      </a:lnTo>
                      <a:lnTo>
                        <a:pt x="3" y="27"/>
                      </a:lnTo>
                      <a:lnTo>
                        <a:pt x="7" y="22"/>
                      </a:lnTo>
                      <a:lnTo>
                        <a:pt x="11" y="0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solidFill>
                  <a:srgbClr val="FFA01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29" name="Freeform 421"/>
                <p:cNvSpPr>
                  <a:spLocks/>
                </p:cNvSpPr>
                <p:nvPr/>
              </p:nvSpPr>
              <p:spPr bwMode="auto">
                <a:xfrm>
                  <a:off x="2008188" y="3660775"/>
                  <a:ext cx="787400" cy="1174750"/>
                </a:xfrm>
                <a:custGeom>
                  <a:avLst/>
                  <a:gdLst>
                    <a:gd name="T0" fmla="*/ 106 w 496"/>
                    <a:gd name="T1" fmla="*/ 12 h 740"/>
                    <a:gd name="T2" fmla="*/ 146 w 496"/>
                    <a:gd name="T3" fmla="*/ 22 h 740"/>
                    <a:gd name="T4" fmla="*/ 169 w 496"/>
                    <a:gd name="T5" fmla="*/ 17 h 740"/>
                    <a:gd name="T6" fmla="*/ 183 w 496"/>
                    <a:gd name="T7" fmla="*/ 4 h 740"/>
                    <a:gd name="T8" fmla="*/ 224 w 496"/>
                    <a:gd name="T9" fmla="*/ 17 h 740"/>
                    <a:gd name="T10" fmla="*/ 247 w 496"/>
                    <a:gd name="T11" fmla="*/ 42 h 740"/>
                    <a:gd name="T12" fmla="*/ 262 w 496"/>
                    <a:gd name="T13" fmla="*/ 73 h 740"/>
                    <a:gd name="T14" fmla="*/ 275 w 496"/>
                    <a:gd name="T15" fmla="*/ 108 h 740"/>
                    <a:gd name="T16" fmla="*/ 293 w 496"/>
                    <a:gd name="T17" fmla="*/ 142 h 740"/>
                    <a:gd name="T18" fmla="*/ 295 w 496"/>
                    <a:gd name="T19" fmla="*/ 176 h 740"/>
                    <a:gd name="T20" fmla="*/ 279 w 496"/>
                    <a:gd name="T21" fmla="*/ 202 h 740"/>
                    <a:gd name="T22" fmla="*/ 258 w 496"/>
                    <a:gd name="T23" fmla="*/ 228 h 740"/>
                    <a:gd name="T24" fmla="*/ 237 w 496"/>
                    <a:gd name="T25" fmla="*/ 259 h 740"/>
                    <a:gd name="T26" fmla="*/ 229 w 496"/>
                    <a:gd name="T27" fmla="*/ 297 h 740"/>
                    <a:gd name="T28" fmla="*/ 227 w 496"/>
                    <a:gd name="T29" fmla="*/ 363 h 740"/>
                    <a:gd name="T30" fmla="*/ 226 w 496"/>
                    <a:gd name="T31" fmla="*/ 442 h 740"/>
                    <a:gd name="T32" fmla="*/ 242 w 496"/>
                    <a:gd name="T33" fmla="*/ 484 h 740"/>
                    <a:gd name="T34" fmla="*/ 311 w 496"/>
                    <a:gd name="T35" fmla="*/ 500 h 740"/>
                    <a:gd name="T36" fmla="*/ 390 w 496"/>
                    <a:gd name="T37" fmla="*/ 520 h 740"/>
                    <a:gd name="T38" fmla="*/ 438 w 496"/>
                    <a:gd name="T39" fmla="*/ 533 h 740"/>
                    <a:gd name="T40" fmla="*/ 461 w 496"/>
                    <a:gd name="T41" fmla="*/ 547 h 740"/>
                    <a:gd name="T42" fmla="*/ 474 w 496"/>
                    <a:gd name="T43" fmla="*/ 579 h 740"/>
                    <a:gd name="T44" fmla="*/ 477 w 496"/>
                    <a:gd name="T45" fmla="*/ 592 h 740"/>
                    <a:gd name="T46" fmla="*/ 479 w 496"/>
                    <a:gd name="T47" fmla="*/ 615 h 740"/>
                    <a:gd name="T48" fmla="*/ 479 w 496"/>
                    <a:gd name="T49" fmla="*/ 715 h 740"/>
                    <a:gd name="T50" fmla="*/ 422 w 496"/>
                    <a:gd name="T51" fmla="*/ 733 h 740"/>
                    <a:gd name="T52" fmla="*/ 393 w 496"/>
                    <a:gd name="T53" fmla="*/ 737 h 740"/>
                    <a:gd name="T54" fmla="*/ 389 w 496"/>
                    <a:gd name="T55" fmla="*/ 715 h 740"/>
                    <a:gd name="T56" fmla="*/ 377 w 496"/>
                    <a:gd name="T57" fmla="*/ 680 h 740"/>
                    <a:gd name="T58" fmla="*/ 355 w 496"/>
                    <a:gd name="T59" fmla="*/ 647 h 740"/>
                    <a:gd name="T60" fmla="*/ 323 w 496"/>
                    <a:gd name="T61" fmla="*/ 621 h 740"/>
                    <a:gd name="T62" fmla="*/ 37 w 496"/>
                    <a:gd name="T63" fmla="*/ 597 h 740"/>
                    <a:gd name="T64" fmla="*/ 10 w 496"/>
                    <a:gd name="T65" fmla="*/ 587 h 740"/>
                    <a:gd name="T66" fmla="*/ 0 w 496"/>
                    <a:gd name="T67" fmla="*/ 560 h 740"/>
                    <a:gd name="T68" fmla="*/ 6 w 496"/>
                    <a:gd name="T69" fmla="*/ 517 h 740"/>
                    <a:gd name="T70" fmla="*/ 21 w 496"/>
                    <a:gd name="T71" fmla="*/ 471 h 740"/>
                    <a:gd name="T72" fmla="*/ 31 w 496"/>
                    <a:gd name="T73" fmla="*/ 419 h 740"/>
                    <a:gd name="T74" fmla="*/ 28 w 496"/>
                    <a:gd name="T75" fmla="*/ 314 h 740"/>
                    <a:gd name="T76" fmla="*/ 19 w 496"/>
                    <a:gd name="T77" fmla="*/ 192 h 740"/>
                    <a:gd name="T78" fmla="*/ 6 w 496"/>
                    <a:gd name="T79" fmla="*/ 65 h 740"/>
                    <a:gd name="T80" fmla="*/ 15 w 496"/>
                    <a:gd name="T81" fmla="*/ 33 h 740"/>
                    <a:gd name="T82" fmla="*/ 44 w 496"/>
                    <a:gd name="T83" fmla="*/ 12 h 740"/>
                    <a:gd name="T84" fmla="*/ 92 w 496"/>
                    <a:gd name="T85" fmla="*/ 0 h 7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496" h="740">
                      <a:moveTo>
                        <a:pt x="92" y="0"/>
                      </a:moveTo>
                      <a:lnTo>
                        <a:pt x="106" y="12"/>
                      </a:lnTo>
                      <a:lnTo>
                        <a:pt x="124" y="19"/>
                      </a:lnTo>
                      <a:lnTo>
                        <a:pt x="146" y="22"/>
                      </a:lnTo>
                      <a:lnTo>
                        <a:pt x="160" y="20"/>
                      </a:lnTo>
                      <a:lnTo>
                        <a:pt x="169" y="17"/>
                      </a:lnTo>
                      <a:lnTo>
                        <a:pt x="176" y="13"/>
                      </a:lnTo>
                      <a:lnTo>
                        <a:pt x="183" y="4"/>
                      </a:lnTo>
                      <a:lnTo>
                        <a:pt x="207" y="9"/>
                      </a:lnTo>
                      <a:lnTo>
                        <a:pt x="224" y="17"/>
                      </a:lnTo>
                      <a:lnTo>
                        <a:pt x="239" y="28"/>
                      </a:lnTo>
                      <a:lnTo>
                        <a:pt x="247" y="42"/>
                      </a:lnTo>
                      <a:lnTo>
                        <a:pt x="256" y="57"/>
                      </a:lnTo>
                      <a:lnTo>
                        <a:pt x="262" y="73"/>
                      </a:lnTo>
                      <a:lnTo>
                        <a:pt x="268" y="90"/>
                      </a:lnTo>
                      <a:lnTo>
                        <a:pt x="275" y="108"/>
                      </a:lnTo>
                      <a:lnTo>
                        <a:pt x="282" y="122"/>
                      </a:lnTo>
                      <a:lnTo>
                        <a:pt x="293" y="142"/>
                      </a:lnTo>
                      <a:lnTo>
                        <a:pt x="297" y="160"/>
                      </a:lnTo>
                      <a:lnTo>
                        <a:pt x="295" y="176"/>
                      </a:lnTo>
                      <a:lnTo>
                        <a:pt x="288" y="189"/>
                      </a:lnTo>
                      <a:lnTo>
                        <a:pt x="279" y="202"/>
                      </a:lnTo>
                      <a:lnTo>
                        <a:pt x="269" y="215"/>
                      </a:lnTo>
                      <a:lnTo>
                        <a:pt x="258" y="228"/>
                      </a:lnTo>
                      <a:lnTo>
                        <a:pt x="246" y="243"/>
                      </a:lnTo>
                      <a:lnTo>
                        <a:pt x="237" y="259"/>
                      </a:lnTo>
                      <a:lnTo>
                        <a:pt x="230" y="276"/>
                      </a:lnTo>
                      <a:lnTo>
                        <a:pt x="229" y="297"/>
                      </a:lnTo>
                      <a:lnTo>
                        <a:pt x="229" y="327"/>
                      </a:lnTo>
                      <a:lnTo>
                        <a:pt x="227" y="363"/>
                      </a:lnTo>
                      <a:lnTo>
                        <a:pt x="226" y="401"/>
                      </a:lnTo>
                      <a:lnTo>
                        <a:pt x="226" y="442"/>
                      </a:lnTo>
                      <a:lnTo>
                        <a:pt x="229" y="483"/>
                      </a:lnTo>
                      <a:lnTo>
                        <a:pt x="242" y="484"/>
                      </a:lnTo>
                      <a:lnTo>
                        <a:pt x="275" y="491"/>
                      </a:lnTo>
                      <a:lnTo>
                        <a:pt x="311" y="500"/>
                      </a:lnTo>
                      <a:lnTo>
                        <a:pt x="351" y="510"/>
                      </a:lnTo>
                      <a:lnTo>
                        <a:pt x="390" y="520"/>
                      </a:lnTo>
                      <a:lnTo>
                        <a:pt x="425" y="533"/>
                      </a:lnTo>
                      <a:lnTo>
                        <a:pt x="438" y="533"/>
                      </a:lnTo>
                      <a:lnTo>
                        <a:pt x="451" y="539"/>
                      </a:lnTo>
                      <a:lnTo>
                        <a:pt x="461" y="547"/>
                      </a:lnTo>
                      <a:lnTo>
                        <a:pt x="470" y="557"/>
                      </a:lnTo>
                      <a:lnTo>
                        <a:pt x="474" y="579"/>
                      </a:lnTo>
                      <a:lnTo>
                        <a:pt x="474" y="580"/>
                      </a:lnTo>
                      <a:lnTo>
                        <a:pt x="477" y="592"/>
                      </a:lnTo>
                      <a:lnTo>
                        <a:pt x="477" y="603"/>
                      </a:lnTo>
                      <a:lnTo>
                        <a:pt x="479" y="615"/>
                      </a:lnTo>
                      <a:lnTo>
                        <a:pt x="496" y="708"/>
                      </a:lnTo>
                      <a:lnTo>
                        <a:pt x="479" y="715"/>
                      </a:lnTo>
                      <a:lnTo>
                        <a:pt x="453" y="724"/>
                      </a:lnTo>
                      <a:lnTo>
                        <a:pt x="422" y="733"/>
                      </a:lnTo>
                      <a:lnTo>
                        <a:pt x="394" y="740"/>
                      </a:lnTo>
                      <a:lnTo>
                        <a:pt x="393" y="737"/>
                      </a:lnTo>
                      <a:lnTo>
                        <a:pt x="391" y="728"/>
                      </a:lnTo>
                      <a:lnTo>
                        <a:pt x="389" y="715"/>
                      </a:lnTo>
                      <a:lnTo>
                        <a:pt x="384" y="699"/>
                      </a:lnTo>
                      <a:lnTo>
                        <a:pt x="377" y="680"/>
                      </a:lnTo>
                      <a:lnTo>
                        <a:pt x="368" y="663"/>
                      </a:lnTo>
                      <a:lnTo>
                        <a:pt x="355" y="647"/>
                      </a:lnTo>
                      <a:lnTo>
                        <a:pt x="341" y="632"/>
                      </a:lnTo>
                      <a:lnTo>
                        <a:pt x="323" y="621"/>
                      </a:lnTo>
                      <a:lnTo>
                        <a:pt x="301" y="616"/>
                      </a:lnTo>
                      <a:lnTo>
                        <a:pt x="37" y="597"/>
                      </a:lnTo>
                      <a:lnTo>
                        <a:pt x="21" y="595"/>
                      </a:lnTo>
                      <a:lnTo>
                        <a:pt x="10" y="587"/>
                      </a:lnTo>
                      <a:lnTo>
                        <a:pt x="3" y="576"/>
                      </a:lnTo>
                      <a:lnTo>
                        <a:pt x="0" y="560"/>
                      </a:lnTo>
                      <a:lnTo>
                        <a:pt x="2" y="539"/>
                      </a:lnTo>
                      <a:lnTo>
                        <a:pt x="6" y="517"/>
                      </a:lnTo>
                      <a:lnTo>
                        <a:pt x="12" y="496"/>
                      </a:lnTo>
                      <a:lnTo>
                        <a:pt x="21" y="471"/>
                      </a:lnTo>
                      <a:lnTo>
                        <a:pt x="28" y="445"/>
                      </a:lnTo>
                      <a:lnTo>
                        <a:pt x="31" y="419"/>
                      </a:lnTo>
                      <a:lnTo>
                        <a:pt x="31" y="369"/>
                      </a:lnTo>
                      <a:lnTo>
                        <a:pt x="28" y="314"/>
                      </a:lnTo>
                      <a:lnTo>
                        <a:pt x="25" y="254"/>
                      </a:lnTo>
                      <a:lnTo>
                        <a:pt x="19" y="192"/>
                      </a:lnTo>
                      <a:lnTo>
                        <a:pt x="13" y="128"/>
                      </a:lnTo>
                      <a:lnTo>
                        <a:pt x="6" y="65"/>
                      </a:lnTo>
                      <a:lnTo>
                        <a:pt x="7" y="48"/>
                      </a:lnTo>
                      <a:lnTo>
                        <a:pt x="15" y="33"/>
                      </a:lnTo>
                      <a:lnTo>
                        <a:pt x="26" y="22"/>
                      </a:lnTo>
                      <a:lnTo>
                        <a:pt x="44" y="12"/>
                      </a:lnTo>
                      <a:lnTo>
                        <a:pt x="67" y="4"/>
                      </a:lnTo>
                      <a:lnTo>
                        <a:pt x="92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30" name="Freeform 422"/>
                <p:cNvSpPr>
                  <a:spLocks/>
                </p:cNvSpPr>
                <p:nvPr/>
              </p:nvSpPr>
              <p:spPr bwMode="auto">
                <a:xfrm>
                  <a:off x="2332038" y="3741738"/>
                  <a:ext cx="188913" cy="422275"/>
                </a:xfrm>
                <a:custGeom>
                  <a:avLst/>
                  <a:gdLst>
                    <a:gd name="T0" fmla="*/ 29 w 119"/>
                    <a:gd name="T1" fmla="*/ 0 h 266"/>
                    <a:gd name="T2" fmla="*/ 36 w 119"/>
                    <a:gd name="T3" fmla="*/ 6 h 266"/>
                    <a:gd name="T4" fmla="*/ 41 w 119"/>
                    <a:gd name="T5" fmla="*/ 14 h 266"/>
                    <a:gd name="T6" fmla="*/ 45 w 119"/>
                    <a:gd name="T7" fmla="*/ 27 h 266"/>
                    <a:gd name="T8" fmla="*/ 119 w 119"/>
                    <a:gd name="T9" fmla="*/ 257 h 266"/>
                    <a:gd name="T10" fmla="*/ 119 w 119"/>
                    <a:gd name="T11" fmla="*/ 262 h 266"/>
                    <a:gd name="T12" fmla="*/ 119 w 119"/>
                    <a:gd name="T13" fmla="*/ 263 h 266"/>
                    <a:gd name="T14" fmla="*/ 118 w 119"/>
                    <a:gd name="T15" fmla="*/ 264 h 266"/>
                    <a:gd name="T16" fmla="*/ 116 w 119"/>
                    <a:gd name="T17" fmla="*/ 264 h 266"/>
                    <a:gd name="T18" fmla="*/ 113 w 119"/>
                    <a:gd name="T19" fmla="*/ 263 h 266"/>
                    <a:gd name="T20" fmla="*/ 110 w 119"/>
                    <a:gd name="T21" fmla="*/ 262 h 266"/>
                    <a:gd name="T22" fmla="*/ 107 w 119"/>
                    <a:gd name="T23" fmla="*/ 260 h 266"/>
                    <a:gd name="T24" fmla="*/ 103 w 119"/>
                    <a:gd name="T25" fmla="*/ 259 h 266"/>
                    <a:gd name="T26" fmla="*/ 97 w 119"/>
                    <a:gd name="T27" fmla="*/ 257 h 266"/>
                    <a:gd name="T28" fmla="*/ 93 w 119"/>
                    <a:gd name="T29" fmla="*/ 257 h 266"/>
                    <a:gd name="T30" fmla="*/ 87 w 119"/>
                    <a:gd name="T31" fmla="*/ 257 h 266"/>
                    <a:gd name="T32" fmla="*/ 83 w 119"/>
                    <a:gd name="T33" fmla="*/ 260 h 266"/>
                    <a:gd name="T34" fmla="*/ 78 w 119"/>
                    <a:gd name="T35" fmla="*/ 262 h 266"/>
                    <a:gd name="T36" fmla="*/ 75 w 119"/>
                    <a:gd name="T37" fmla="*/ 263 h 266"/>
                    <a:gd name="T38" fmla="*/ 73 w 119"/>
                    <a:gd name="T39" fmla="*/ 264 h 266"/>
                    <a:gd name="T40" fmla="*/ 71 w 119"/>
                    <a:gd name="T41" fmla="*/ 266 h 266"/>
                    <a:gd name="T42" fmla="*/ 70 w 119"/>
                    <a:gd name="T43" fmla="*/ 264 h 266"/>
                    <a:gd name="T44" fmla="*/ 68 w 119"/>
                    <a:gd name="T45" fmla="*/ 263 h 266"/>
                    <a:gd name="T46" fmla="*/ 67 w 119"/>
                    <a:gd name="T47" fmla="*/ 260 h 266"/>
                    <a:gd name="T48" fmla="*/ 65 w 119"/>
                    <a:gd name="T49" fmla="*/ 256 h 266"/>
                    <a:gd name="T50" fmla="*/ 1 w 119"/>
                    <a:gd name="T51" fmla="*/ 45 h 266"/>
                    <a:gd name="T52" fmla="*/ 0 w 119"/>
                    <a:gd name="T53" fmla="*/ 33 h 266"/>
                    <a:gd name="T54" fmla="*/ 0 w 119"/>
                    <a:gd name="T55" fmla="*/ 23 h 266"/>
                    <a:gd name="T56" fmla="*/ 3 w 119"/>
                    <a:gd name="T57" fmla="*/ 13 h 266"/>
                    <a:gd name="T58" fmla="*/ 9 w 119"/>
                    <a:gd name="T59" fmla="*/ 4 h 266"/>
                    <a:gd name="T60" fmla="*/ 17 w 119"/>
                    <a:gd name="T61" fmla="*/ 0 h 266"/>
                    <a:gd name="T62" fmla="*/ 29 w 119"/>
                    <a:gd name="T63" fmla="*/ 0 h 2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119" h="266">
                      <a:moveTo>
                        <a:pt x="29" y="0"/>
                      </a:moveTo>
                      <a:lnTo>
                        <a:pt x="36" y="6"/>
                      </a:lnTo>
                      <a:lnTo>
                        <a:pt x="41" y="14"/>
                      </a:lnTo>
                      <a:lnTo>
                        <a:pt x="45" y="27"/>
                      </a:lnTo>
                      <a:lnTo>
                        <a:pt x="119" y="257"/>
                      </a:lnTo>
                      <a:lnTo>
                        <a:pt x="119" y="262"/>
                      </a:lnTo>
                      <a:lnTo>
                        <a:pt x="119" y="263"/>
                      </a:lnTo>
                      <a:lnTo>
                        <a:pt x="118" y="264"/>
                      </a:lnTo>
                      <a:lnTo>
                        <a:pt x="116" y="264"/>
                      </a:lnTo>
                      <a:lnTo>
                        <a:pt x="113" y="263"/>
                      </a:lnTo>
                      <a:lnTo>
                        <a:pt x="110" y="262"/>
                      </a:lnTo>
                      <a:lnTo>
                        <a:pt x="107" y="260"/>
                      </a:lnTo>
                      <a:lnTo>
                        <a:pt x="103" y="259"/>
                      </a:lnTo>
                      <a:lnTo>
                        <a:pt x="97" y="257"/>
                      </a:lnTo>
                      <a:lnTo>
                        <a:pt x="93" y="257"/>
                      </a:lnTo>
                      <a:lnTo>
                        <a:pt x="87" y="257"/>
                      </a:lnTo>
                      <a:lnTo>
                        <a:pt x="83" y="260"/>
                      </a:lnTo>
                      <a:lnTo>
                        <a:pt x="78" y="262"/>
                      </a:lnTo>
                      <a:lnTo>
                        <a:pt x="75" y="263"/>
                      </a:lnTo>
                      <a:lnTo>
                        <a:pt x="73" y="264"/>
                      </a:lnTo>
                      <a:lnTo>
                        <a:pt x="71" y="266"/>
                      </a:lnTo>
                      <a:lnTo>
                        <a:pt x="70" y="264"/>
                      </a:lnTo>
                      <a:lnTo>
                        <a:pt x="68" y="263"/>
                      </a:lnTo>
                      <a:lnTo>
                        <a:pt x="67" y="260"/>
                      </a:lnTo>
                      <a:lnTo>
                        <a:pt x="65" y="256"/>
                      </a:lnTo>
                      <a:lnTo>
                        <a:pt x="1" y="45"/>
                      </a:lnTo>
                      <a:lnTo>
                        <a:pt x="0" y="33"/>
                      </a:lnTo>
                      <a:lnTo>
                        <a:pt x="0" y="23"/>
                      </a:lnTo>
                      <a:lnTo>
                        <a:pt x="3" y="13"/>
                      </a:lnTo>
                      <a:lnTo>
                        <a:pt x="9" y="4"/>
                      </a:lnTo>
                      <a:lnTo>
                        <a:pt x="17" y="0"/>
                      </a:lnTo>
                      <a:lnTo>
                        <a:pt x="29" y="0"/>
                      </a:lnTo>
                      <a:close/>
                    </a:path>
                  </a:pathLst>
                </a:custGeom>
                <a:solidFill>
                  <a:srgbClr val="F2D2B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31" name="Freeform 423"/>
                <p:cNvSpPr>
                  <a:spLocks/>
                </p:cNvSpPr>
                <p:nvPr/>
              </p:nvSpPr>
              <p:spPr bwMode="auto">
                <a:xfrm>
                  <a:off x="2403476" y="3979863"/>
                  <a:ext cx="50800" cy="119063"/>
                </a:xfrm>
                <a:custGeom>
                  <a:avLst/>
                  <a:gdLst>
                    <a:gd name="T0" fmla="*/ 32 w 32"/>
                    <a:gd name="T1" fmla="*/ 0 h 75"/>
                    <a:gd name="T2" fmla="*/ 23 w 32"/>
                    <a:gd name="T3" fmla="*/ 29 h 75"/>
                    <a:gd name="T4" fmla="*/ 12 w 32"/>
                    <a:gd name="T5" fmla="*/ 75 h 75"/>
                    <a:gd name="T6" fmla="*/ 0 w 32"/>
                    <a:gd name="T7" fmla="*/ 37 h 75"/>
                    <a:gd name="T8" fmla="*/ 16 w 32"/>
                    <a:gd name="T9" fmla="*/ 18 h 75"/>
                    <a:gd name="T10" fmla="*/ 32 w 32"/>
                    <a:gd name="T11" fmla="*/ 0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2" h="75">
                      <a:moveTo>
                        <a:pt x="32" y="0"/>
                      </a:moveTo>
                      <a:lnTo>
                        <a:pt x="23" y="29"/>
                      </a:lnTo>
                      <a:lnTo>
                        <a:pt x="12" y="75"/>
                      </a:lnTo>
                      <a:lnTo>
                        <a:pt x="0" y="37"/>
                      </a:lnTo>
                      <a:lnTo>
                        <a:pt x="16" y="18"/>
                      </a:lnTo>
                      <a:lnTo>
                        <a:pt x="32" y="0"/>
                      </a:lnTo>
                      <a:close/>
                    </a:path>
                  </a:pathLst>
                </a:custGeom>
                <a:solidFill>
                  <a:srgbClr val="E6AD7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32" name="Freeform 424"/>
                <p:cNvSpPr>
                  <a:spLocks/>
                </p:cNvSpPr>
                <p:nvPr/>
              </p:nvSpPr>
              <p:spPr bwMode="auto">
                <a:xfrm>
                  <a:off x="1993901" y="3660775"/>
                  <a:ext cx="801688" cy="1174750"/>
                </a:xfrm>
                <a:custGeom>
                  <a:avLst/>
                  <a:gdLst>
                    <a:gd name="T0" fmla="*/ 115 w 505"/>
                    <a:gd name="T1" fmla="*/ 12 h 740"/>
                    <a:gd name="T2" fmla="*/ 155 w 505"/>
                    <a:gd name="T3" fmla="*/ 22 h 740"/>
                    <a:gd name="T4" fmla="*/ 178 w 505"/>
                    <a:gd name="T5" fmla="*/ 17 h 740"/>
                    <a:gd name="T6" fmla="*/ 192 w 505"/>
                    <a:gd name="T7" fmla="*/ 4 h 740"/>
                    <a:gd name="T8" fmla="*/ 233 w 505"/>
                    <a:gd name="T9" fmla="*/ 17 h 740"/>
                    <a:gd name="T10" fmla="*/ 256 w 505"/>
                    <a:gd name="T11" fmla="*/ 42 h 740"/>
                    <a:gd name="T12" fmla="*/ 271 w 505"/>
                    <a:gd name="T13" fmla="*/ 73 h 740"/>
                    <a:gd name="T14" fmla="*/ 284 w 505"/>
                    <a:gd name="T15" fmla="*/ 108 h 740"/>
                    <a:gd name="T16" fmla="*/ 302 w 505"/>
                    <a:gd name="T17" fmla="*/ 142 h 740"/>
                    <a:gd name="T18" fmla="*/ 304 w 505"/>
                    <a:gd name="T19" fmla="*/ 176 h 740"/>
                    <a:gd name="T20" fmla="*/ 288 w 505"/>
                    <a:gd name="T21" fmla="*/ 202 h 740"/>
                    <a:gd name="T22" fmla="*/ 267 w 505"/>
                    <a:gd name="T23" fmla="*/ 228 h 740"/>
                    <a:gd name="T24" fmla="*/ 246 w 505"/>
                    <a:gd name="T25" fmla="*/ 259 h 740"/>
                    <a:gd name="T26" fmla="*/ 238 w 505"/>
                    <a:gd name="T27" fmla="*/ 297 h 740"/>
                    <a:gd name="T28" fmla="*/ 236 w 505"/>
                    <a:gd name="T29" fmla="*/ 363 h 740"/>
                    <a:gd name="T30" fmla="*/ 235 w 505"/>
                    <a:gd name="T31" fmla="*/ 442 h 740"/>
                    <a:gd name="T32" fmla="*/ 251 w 505"/>
                    <a:gd name="T33" fmla="*/ 484 h 740"/>
                    <a:gd name="T34" fmla="*/ 322 w 505"/>
                    <a:gd name="T35" fmla="*/ 500 h 740"/>
                    <a:gd name="T36" fmla="*/ 399 w 505"/>
                    <a:gd name="T37" fmla="*/ 523 h 740"/>
                    <a:gd name="T38" fmla="*/ 451 w 505"/>
                    <a:gd name="T39" fmla="*/ 536 h 740"/>
                    <a:gd name="T40" fmla="*/ 476 w 505"/>
                    <a:gd name="T41" fmla="*/ 552 h 740"/>
                    <a:gd name="T42" fmla="*/ 489 w 505"/>
                    <a:gd name="T43" fmla="*/ 581 h 740"/>
                    <a:gd name="T44" fmla="*/ 495 w 505"/>
                    <a:gd name="T45" fmla="*/ 611 h 740"/>
                    <a:gd name="T46" fmla="*/ 488 w 505"/>
                    <a:gd name="T47" fmla="*/ 715 h 740"/>
                    <a:gd name="T48" fmla="*/ 431 w 505"/>
                    <a:gd name="T49" fmla="*/ 733 h 740"/>
                    <a:gd name="T50" fmla="*/ 402 w 505"/>
                    <a:gd name="T51" fmla="*/ 737 h 740"/>
                    <a:gd name="T52" fmla="*/ 398 w 505"/>
                    <a:gd name="T53" fmla="*/ 715 h 740"/>
                    <a:gd name="T54" fmla="*/ 386 w 505"/>
                    <a:gd name="T55" fmla="*/ 680 h 740"/>
                    <a:gd name="T56" fmla="*/ 364 w 505"/>
                    <a:gd name="T57" fmla="*/ 647 h 740"/>
                    <a:gd name="T58" fmla="*/ 332 w 505"/>
                    <a:gd name="T59" fmla="*/ 621 h 740"/>
                    <a:gd name="T60" fmla="*/ 46 w 505"/>
                    <a:gd name="T61" fmla="*/ 597 h 740"/>
                    <a:gd name="T62" fmla="*/ 19 w 505"/>
                    <a:gd name="T63" fmla="*/ 587 h 740"/>
                    <a:gd name="T64" fmla="*/ 9 w 505"/>
                    <a:gd name="T65" fmla="*/ 560 h 740"/>
                    <a:gd name="T66" fmla="*/ 15 w 505"/>
                    <a:gd name="T67" fmla="*/ 517 h 740"/>
                    <a:gd name="T68" fmla="*/ 30 w 505"/>
                    <a:gd name="T69" fmla="*/ 471 h 740"/>
                    <a:gd name="T70" fmla="*/ 40 w 505"/>
                    <a:gd name="T71" fmla="*/ 419 h 740"/>
                    <a:gd name="T72" fmla="*/ 34 w 505"/>
                    <a:gd name="T73" fmla="*/ 320 h 740"/>
                    <a:gd name="T74" fmla="*/ 18 w 505"/>
                    <a:gd name="T75" fmla="*/ 206 h 740"/>
                    <a:gd name="T76" fmla="*/ 0 w 505"/>
                    <a:gd name="T77" fmla="*/ 86 h 740"/>
                    <a:gd name="T78" fmla="*/ 12 w 505"/>
                    <a:gd name="T79" fmla="*/ 49 h 740"/>
                    <a:gd name="T80" fmla="*/ 50 w 505"/>
                    <a:gd name="T81" fmla="*/ 17 h 740"/>
                    <a:gd name="T82" fmla="*/ 101 w 505"/>
                    <a:gd name="T83" fmla="*/ 0 h 7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505" h="740">
                      <a:moveTo>
                        <a:pt x="101" y="0"/>
                      </a:moveTo>
                      <a:lnTo>
                        <a:pt x="115" y="12"/>
                      </a:lnTo>
                      <a:lnTo>
                        <a:pt x="133" y="19"/>
                      </a:lnTo>
                      <a:lnTo>
                        <a:pt x="155" y="22"/>
                      </a:lnTo>
                      <a:lnTo>
                        <a:pt x="169" y="20"/>
                      </a:lnTo>
                      <a:lnTo>
                        <a:pt x="178" y="17"/>
                      </a:lnTo>
                      <a:lnTo>
                        <a:pt x="185" y="13"/>
                      </a:lnTo>
                      <a:lnTo>
                        <a:pt x="192" y="4"/>
                      </a:lnTo>
                      <a:lnTo>
                        <a:pt x="216" y="9"/>
                      </a:lnTo>
                      <a:lnTo>
                        <a:pt x="233" y="17"/>
                      </a:lnTo>
                      <a:lnTo>
                        <a:pt x="248" y="28"/>
                      </a:lnTo>
                      <a:lnTo>
                        <a:pt x="256" y="42"/>
                      </a:lnTo>
                      <a:lnTo>
                        <a:pt x="265" y="57"/>
                      </a:lnTo>
                      <a:lnTo>
                        <a:pt x="271" y="73"/>
                      </a:lnTo>
                      <a:lnTo>
                        <a:pt x="277" y="90"/>
                      </a:lnTo>
                      <a:lnTo>
                        <a:pt x="284" y="108"/>
                      </a:lnTo>
                      <a:lnTo>
                        <a:pt x="291" y="122"/>
                      </a:lnTo>
                      <a:lnTo>
                        <a:pt x="302" y="142"/>
                      </a:lnTo>
                      <a:lnTo>
                        <a:pt x="306" y="160"/>
                      </a:lnTo>
                      <a:lnTo>
                        <a:pt x="304" y="176"/>
                      </a:lnTo>
                      <a:lnTo>
                        <a:pt x="297" y="189"/>
                      </a:lnTo>
                      <a:lnTo>
                        <a:pt x="288" y="202"/>
                      </a:lnTo>
                      <a:lnTo>
                        <a:pt x="278" y="215"/>
                      </a:lnTo>
                      <a:lnTo>
                        <a:pt x="267" y="228"/>
                      </a:lnTo>
                      <a:lnTo>
                        <a:pt x="255" y="243"/>
                      </a:lnTo>
                      <a:lnTo>
                        <a:pt x="246" y="259"/>
                      </a:lnTo>
                      <a:lnTo>
                        <a:pt x="239" y="276"/>
                      </a:lnTo>
                      <a:lnTo>
                        <a:pt x="238" y="297"/>
                      </a:lnTo>
                      <a:lnTo>
                        <a:pt x="238" y="327"/>
                      </a:lnTo>
                      <a:lnTo>
                        <a:pt x="236" y="363"/>
                      </a:lnTo>
                      <a:lnTo>
                        <a:pt x="235" y="401"/>
                      </a:lnTo>
                      <a:lnTo>
                        <a:pt x="235" y="442"/>
                      </a:lnTo>
                      <a:lnTo>
                        <a:pt x="238" y="483"/>
                      </a:lnTo>
                      <a:lnTo>
                        <a:pt x="251" y="484"/>
                      </a:lnTo>
                      <a:lnTo>
                        <a:pt x="284" y="491"/>
                      </a:lnTo>
                      <a:lnTo>
                        <a:pt x="322" y="500"/>
                      </a:lnTo>
                      <a:lnTo>
                        <a:pt x="361" y="512"/>
                      </a:lnTo>
                      <a:lnTo>
                        <a:pt x="399" y="523"/>
                      </a:lnTo>
                      <a:lnTo>
                        <a:pt x="434" y="535"/>
                      </a:lnTo>
                      <a:lnTo>
                        <a:pt x="451" y="536"/>
                      </a:lnTo>
                      <a:lnTo>
                        <a:pt x="466" y="542"/>
                      </a:lnTo>
                      <a:lnTo>
                        <a:pt x="476" y="552"/>
                      </a:lnTo>
                      <a:lnTo>
                        <a:pt x="485" y="567"/>
                      </a:lnTo>
                      <a:lnTo>
                        <a:pt x="489" y="581"/>
                      </a:lnTo>
                      <a:lnTo>
                        <a:pt x="494" y="597"/>
                      </a:lnTo>
                      <a:lnTo>
                        <a:pt x="495" y="611"/>
                      </a:lnTo>
                      <a:lnTo>
                        <a:pt x="505" y="708"/>
                      </a:lnTo>
                      <a:lnTo>
                        <a:pt x="488" y="715"/>
                      </a:lnTo>
                      <a:lnTo>
                        <a:pt x="462" y="724"/>
                      </a:lnTo>
                      <a:lnTo>
                        <a:pt x="431" y="733"/>
                      </a:lnTo>
                      <a:lnTo>
                        <a:pt x="403" y="740"/>
                      </a:lnTo>
                      <a:lnTo>
                        <a:pt x="402" y="737"/>
                      </a:lnTo>
                      <a:lnTo>
                        <a:pt x="400" y="728"/>
                      </a:lnTo>
                      <a:lnTo>
                        <a:pt x="398" y="715"/>
                      </a:lnTo>
                      <a:lnTo>
                        <a:pt x="393" y="699"/>
                      </a:lnTo>
                      <a:lnTo>
                        <a:pt x="386" y="680"/>
                      </a:lnTo>
                      <a:lnTo>
                        <a:pt x="377" y="663"/>
                      </a:lnTo>
                      <a:lnTo>
                        <a:pt x="364" y="647"/>
                      </a:lnTo>
                      <a:lnTo>
                        <a:pt x="350" y="632"/>
                      </a:lnTo>
                      <a:lnTo>
                        <a:pt x="332" y="621"/>
                      </a:lnTo>
                      <a:lnTo>
                        <a:pt x="310" y="616"/>
                      </a:lnTo>
                      <a:lnTo>
                        <a:pt x="46" y="597"/>
                      </a:lnTo>
                      <a:lnTo>
                        <a:pt x="30" y="595"/>
                      </a:lnTo>
                      <a:lnTo>
                        <a:pt x="19" y="587"/>
                      </a:lnTo>
                      <a:lnTo>
                        <a:pt x="12" y="576"/>
                      </a:lnTo>
                      <a:lnTo>
                        <a:pt x="9" y="560"/>
                      </a:lnTo>
                      <a:lnTo>
                        <a:pt x="11" y="539"/>
                      </a:lnTo>
                      <a:lnTo>
                        <a:pt x="15" y="517"/>
                      </a:lnTo>
                      <a:lnTo>
                        <a:pt x="21" y="496"/>
                      </a:lnTo>
                      <a:lnTo>
                        <a:pt x="30" y="471"/>
                      </a:lnTo>
                      <a:lnTo>
                        <a:pt x="37" y="445"/>
                      </a:lnTo>
                      <a:lnTo>
                        <a:pt x="40" y="419"/>
                      </a:lnTo>
                      <a:lnTo>
                        <a:pt x="38" y="371"/>
                      </a:lnTo>
                      <a:lnTo>
                        <a:pt x="34" y="320"/>
                      </a:lnTo>
                      <a:lnTo>
                        <a:pt x="27" y="265"/>
                      </a:lnTo>
                      <a:lnTo>
                        <a:pt x="18" y="206"/>
                      </a:lnTo>
                      <a:lnTo>
                        <a:pt x="9" y="147"/>
                      </a:lnTo>
                      <a:lnTo>
                        <a:pt x="0" y="86"/>
                      </a:lnTo>
                      <a:lnTo>
                        <a:pt x="2" y="68"/>
                      </a:lnTo>
                      <a:lnTo>
                        <a:pt x="12" y="49"/>
                      </a:lnTo>
                      <a:lnTo>
                        <a:pt x="28" y="32"/>
                      </a:lnTo>
                      <a:lnTo>
                        <a:pt x="50" y="17"/>
                      </a:lnTo>
                      <a:lnTo>
                        <a:pt x="75" y="6"/>
                      </a:lnTo>
                      <a:lnTo>
                        <a:pt x="101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33" name="Freeform 425"/>
                <p:cNvSpPr>
                  <a:spLocks/>
                </p:cNvSpPr>
                <p:nvPr/>
              </p:nvSpPr>
              <p:spPr bwMode="auto">
                <a:xfrm>
                  <a:off x="2633663" y="4830763"/>
                  <a:ext cx="19050" cy="4763"/>
                </a:xfrm>
                <a:custGeom>
                  <a:avLst/>
                  <a:gdLst>
                    <a:gd name="T0" fmla="*/ 12 w 12"/>
                    <a:gd name="T1" fmla="*/ 0 h 3"/>
                    <a:gd name="T2" fmla="*/ 12 w 12"/>
                    <a:gd name="T3" fmla="*/ 0 h 3"/>
                    <a:gd name="T4" fmla="*/ 0 w 12"/>
                    <a:gd name="T5" fmla="*/ 3 h 3"/>
                    <a:gd name="T6" fmla="*/ 12 w 12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2" h="3">
                      <a:moveTo>
                        <a:pt x="12" y="0"/>
                      </a:moveTo>
                      <a:lnTo>
                        <a:pt x="12" y="0"/>
                      </a:lnTo>
                      <a:lnTo>
                        <a:pt x="0" y="3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34" name="Freeform 426"/>
                <p:cNvSpPr>
                  <a:spLocks/>
                </p:cNvSpPr>
                <p:nvPr/>
              </p:nvSpPr>
              <p:spPr bwMode="auto">
                <a:xfrm>
                  <a:off x="2363788" y="4249738"/>
                  <a:ext cx="4763" cy="131763"/>
                </a:xfrm>
                <a:custGeom>
                  <a:avLst/>
                  <a:gdLst>
                    <a:gd name="T0" fmla="*/ 3 w 3"/>
                    <a:gd name="T1" fmla="*/ 0 h 83"/>
                    <a:gd name="T2" fmla="*/ 3 w 3"/>
                    <a:gd name="T3" fmla="*/ 0 h 83"/>
                    <a:gd name="T4" fmla="*/ 2 w 3"/>
                    <a:gd name="T5" fmla="*/ 39 h 83"/>
                    <a:gd name="T6" fmla="*/ 2 w 3"/>
                    <a:gd name="T7" fmla="*/ 83 h 83"/>
                    <a:gd name="T8" fmla="*/ 2 w 3"/>
                    <a:gd name="T9" fmla="*/ 83 h 83"/>
                    <a:gd name="T10" fmla="*/ 0 w 3"/>
                    <a:gd name="T11" fmla="*/ 51 h 83"/>
                    <a:gd name="T12" fmla="*/ 3 w 3"/>
                    <a:gd name="T13" fmla="*/ 0 h 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" h="83">
                      <a:moveTo>
                        <a:pt x="3" y="0"/>
                      </a:moveTo>
                      <a:lnTo>
                        <a:pt x="3" y="0"/>
                      </a:lnTo>
                      <a:lnTo>
                        <a:pt x="2" y="39"/>
                      </a:lnTo>
                      <a:lnTo>
                        <a:pt x="2" y="83"/>
                      </a:lnTo>
                      <a:lnTo>
                        <a:pt x="2" y="83"/>
                      </a:lnTo>
                      <a:lnTo>
                        <a:pt x="0" y="51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33250C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35" name="Freeform 427"/>
                <p:cNvSpPr>
                  <a:spLocks noEditPoints="1"/>
                </p:cNvSpPr>
                <p:nvPr/>
              </p:nvSpPr>
              <p:spPr bwMode="auto">
                <a:xfrm>
                  <a:off x="2008188" y="4186238"/>
                  <a:ext cx="498475" cy="455613"/>
                </a:xfrm>
                <a:custGeom>
                  <a:avLst/>
                  <a:gdLst>
                    <a:gd name="T0" fmla="*/ 301 w 314"/>
                    <a:gd name="T1" fmla="*/ 285 h 287"/>
                    <a:gd name="T2" fmla="*/ 307 w 314"/>
                    <a:gd name="T3" fmla="*/ 285 h 287"/>
                    <a:gd name="T4" fmla="*/ 314 w 314"/>
                    <a:gd name="T5" fmla="*/ 287 h 287"/>
                    <a:gd name="T6" fmla="*/ 307 w 314"/>
                    <a:gd name="T7" fmla="*/ 285 h 287"/>
                    <a:gd name="T8" fmla="*/ 301 w 314"/>
                    <a:gd name="T9" fmla="*/ 285 h 287"/>
                    <a:gd name="T10" fmla="*/ 0 w 314"/>
                    <a:gd name="T11" fmla="*/ 224 h 287"/>
                    <a:gd name="T12" fmla="*/ 2 w 314"/>
                    <a:gd name="T13" fmla="*/ 239 h 287"/>
                    <a:gd name="T14" fmla="*/ 6 w 314"/>
                    <a:gd name="T15" fmla="*/ 250 h 287"/>
                    <a:gd name="T16" fmla="*/ 2 w 314"/>
                    <a:gd name="T17" fmla="*/ 239 h 287"/>
                    <a:gd name="T18" fmla="*/ 0 w 314"/>
                    <a:gd name="T19" fmla="*/ 224 h 287"/>
                    <a:gd name="T20" fmla="*/ 226 w 314"/>
                    <a:gd name="T21" fmla="*/ 123 h 287"/>
                    <a:gd name="T22" fmla="*/ 226 w 314"/>
                    <a:gd name="T23" fmla="*/ 123 h 287"/>
                    <a:gd name="T24" fmla="*/ 226 w 314"/>
                    <a:gd name="T25" fmla="*/ 127 h 287"/>
                    <a:gd name="T26" fmla="*/ 226 w 314"/>
                    <a:gd name="T27" fmla="*/ 127 h 287"/>
                    <a:gd name="T28" fmla="*/ 226 w 314"/>
                    <a:gd name="T29" fmla="*/ 123 h 287"/>
                    <a:gd name="T30" fmla="*/ 25 w 314"/>
                    <a:gd name="T31" fmla="*/ 0 h 287"/>
                    <a:gd name="T32" fmla="*/ 25 w 314"/>
                    <a:gd name="T33" fmla="*/ 0 h 287"/>
                    <a:gd name="T34" fmla="*/ 29 w 314"/>
                    <a:gd name="T35" fmla="*/ 45 h 287"/>
                    <a:gd name="T36" fmla="*/ 31 w 314"/>
                    <a:gd name="T37" fmla="*/ 88 h 287"/>
                    <a:gd name="T38" fmla="*/ 29 w 314"/>
                    <a:gd name="T39" fmla="*/ 45 h 287"/>
                    <a:gd name="T40" fmla="*/ 25 w 314"/>
                    <a:gd name="T41" fmla="*/ 0 h 2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14" h="287">
                      <a:moveTo>
                        <a:pt x="301" y="285"/>
                      </a:moveTo>
                      <a:lnTo>
                        <a:pt x="307" y="285"/>
                      </a:lnTo>
                      <a:lnTo>
                        <a:pt x="314" y="287"/>
                      </a:lnTo>
                      <a:lnTo>
                        <a:pt x="307" y="285"/>
                      </a:lnTo>
                      <a:lnTo>
                        <a:pt x="301" y="285"/>
                      </a:lnTo>
                      <a:close/>
                      <a:moveTo>
                        <a:pt x="0" y="224"/>
                      </a:moveTo>
                      <a:lnTo>
                        <a:pt x="2" y="239"/>
                      </a:lnTo>
                      <a:lnTo>
                        <a:pt x="6" y="250"/>
                      </a:lnTo>
                      <a:lnTo>
                        <a:pt x="2" y="239"/>
                      </a:lnTo>
                      <a:lnTo>
                        <a:pt x="0" y="224"/>
                      </a:lnTo>
                      <a:close/>
                      <a:moveTo>
                        <a:pt x="226" y="123"/>
                      </a:moveTo>
                      <a:lnTo>
                        <a:pt x="226" y="123"/>
                      </a:lnTo>
                      <a:lnTo>
                        <a:pt x="226" y="127"/>
                      </a:lnTo>
                      <a:lnTo>
                        <a:pt x="226" y="127"/>
                      </a:lnTo>
                      <a:lnTo>
                        <a:pt x="226" y="123"/>
                      </a:lnTo>
                      <a:close/>
                      <a:moveTo>
                        <a:pt x="25" y="0"/>
                      </a:moveTo>
                      <a:lnTo>
                        <a:pt x="25" y="0"/>
                      </a:lnTo>
                      <a:lnTo>
                        <a:pt x="29" y="45"/>
                      </a:lnTo>
                      <a:lnTo>
                        <a:pt x="31" y="88"/>
                      </a:lnTo>
                      <a:lnTo>
                        <a:pt x="29" y="45"/>
                      </a:lnTo>
                      <a:lnTo>
                        <a:pt x="25" y="0"/>
                      </a:lnTo>
                      <a:close/>
                    </a:path>
                  </a:pathLst>
                </a:custGeom>
                <a:solidFill>
                  <a:srgbClr val="07040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36" name="Freeform 428"/>
                <p:cNvSpPr>
                  <a:spLocks/>
                </p:cNvSpPr>
                <p:nvPr/>
              </p:nvSpPr>
              <p:spPr bwMode="auto">
                <a:xfrm>
                  <a:off x="2652713" y="4829175"/>
                  <a:ext cx="1588" cy="1588"/>
                </a:xfrm>
                <a:custGeom>
                  <a:avLst/>
                  <a:gdLst>
                    <a:gd name="T0" fmla="*/ 1 w 1"/>
                    <a:gd name="T1" fmla="*/ 0 h 1"/>
                    <a:gd name="T2" fmla="*/ 1 w 1"/>
                    <a:gd name="T3" fmla="*/ 0 h 1"/>
                    <a:gd name="T4" fmla="*/ 0 w 1"/>
                    <a:gd name="T5" fmla="*/ 1 h 1"/>
                    <a:gd name="T6" fmla="*/ 0 w 1"/>
                    <a:gd name="T7" fmla="*/ 1 h 1"/>
                    <a:gd name="T8" fmla="*/ 1 w 1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solidFill>
                  <a:srgbClr val="E68923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37" name="Freeform 429"/>
                <p:cNvSpPr>
                  <a:spLocks/>
                </p:cNvSpPr>
                <p:nvPr/>
              </p:nvSpPr>
              <p:spPr bwMode="auto">
                <a:xfrm>
                  <a:off x="2366963" y="4387850"/>
                  <a:ext cx="4763" cy="39688"/>
                </a:xfrm>
                <a:custGeom>
                  <a:avLst/>
                  <a:gdLst>
                    <a:gd name="T0" fmla="*/ 0 w 3"/>
                    <a:gd name="T1" fmla="*/ 0 h 25"/>
                    <a:gd name="T2" fmla="*/ 0 w 3"/>
                    <a:gd name="T3" fmla="*/ 0 h 25"/>
                    <a:gd name="T4" fmla="*/ 3 w 3"/>
                    <a:gd name="T5" fmla="*/ 25 h 25"/>
                    <a:gd name="T6" fmla="*/ 0 w 3"/>
                    <a:gd name="T7" fmla="*/ 0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25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3" y="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7F06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38" name="Freeform 430"/>
                <p:cNvSpPr>
                  <a:spLocks/>
                </p:cNvSpPr>
                <p:nvPr/>
              </p:nvSpPr>
              <p:spPr bwMode="auto">
                <a:xfrm>
                  <a:off x="2392363" y="4429125"/>
                  <a:ext cx="309563" cy="80963"/>
                </a:xfrm>
                <a:custGeom>
                  <a:avLst/>
                  <a:gdLst>
                    <a:gd name="T0" fmla="*/ 0 w 195"/>
                    <a:gd name="T1" fmla="*/ 0 h 51"/>
                    <a:gd name="T2" fmla="*/ 33 w 195"/>
                    <a:gd name="T3" fmla="*/ 7 h 51"/>
                    <a:gd name="T4" fmla="*/ 69 w 195"/>
                    <a:gd name="T5" fmla="*/ 16 h 51"/>
                    <a:gd name="T6" fmla="*/ 109 w 195"/>
                    <a:gd name="T7" fmla="*/ 26 h 51"/>
                    <a:gd name="T8" fmla="*/ 148 w 195"/>
                    <a:gd name="T9" fmla="*/ 36 h 51"/>
                    <a:gd name="T10" fmla="*/ 183 w 195"/>
                    <a:gd name="T11" fmla="*/ 49 h 51"/>
                    <a:gd name="T12" fmla="*/ 183 w 195"/>
                    <a:gd name="T13" fmla="*/ 49 h 51"/>
                    <a:gd name="T14" fmla="*/ 183 w 195"/>
                    <a:gd name="T15" fmla="*/ 49 h 51"/>
                    <a:gd name="T16" fmla="*/ 183 w 195"/>
                    <a:gd name="T17" fmla="*/ 49 h 51"/>
                    <a:gd name="T18" fmla="*/ 187 w 195"/>
                    <a:gd name="T19" fmla="*/ 49 h 51"/>
                    <a:gd name="T20" fmla="*/ 195 w 195"/>
                    <a:gd name="T21" fmla="*/ 49 h 51"/>
                    <a:gd name="T22" fmla="*/ 190 w 195"/>
                    <a:gd name="T23" fmla="*/ 49 h 51"/>
                    <a:gd name="T24" fmla="*/ 183 w 195"/>
                    <a:gd name="T25" fmla="*/ 51 h 51"/>
                    <a:gd name="T26" fmla="*/ 148 w 195"/>
                    <a:gd name="T27" fmla="*/ 39 h 51"/>
                    <a:gd name="T28" fmla="*/ 110 w 195"/>
                    <a:gd name="T29" fmla="*/ 28 h 51"/>
                    <a:gd name="T30" fmla="*/ 71 w 195"/>
                    <a:gd name="T31" fmla="*/ 16 h 51"/>
                    <a:gd name="T32" fmla="*/ 33 w 195"/>
                    <a:gd name="T33" fmla="*/ 7 h 51"/>
                    <a:gd name="T34" fmla="*/ 0 w 195"/>
                    <a:gd name="T35" fmla="*/ 0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95" h="51">
                      <a:moveTo>
                        <a:pt x="0" y="0"/>
                      </a:moveTo>
                      <a:lnTo>
                        <a:pt x="33" y="7"/>
                      </a:lnTo>
                      <a:lnTo>
                        <a:pt x="69" y="16"/>
                      </a:lnTo>
                      <a:lnTo>
                        <a:pt x="109" y="26"/>
                      </a:lnTo>
                      <a:lnTo>
                        <a:pt x="148" y="36"/>
                      </a:lnTo>
                      <a:lnTo>
                        <a:pt x="183" y="49"/>
                      </a:lnTo>
                      <a:lnTo>
                        <a:pt x="183" y="49"/>
                      </a:lnTo>
                      <a:lnTo>
                        <a:pt x="183" y="49"/>
                      </a:lnTo>
                      <a:lnTo>
                        <a:pt x="183" y="49"/>
                      </a:lnTo>
                      <a:lnTo>
                        <a:pt x="187" y="49"/>
                      </a:lnTo>
                      <a:lnTo>
                        <a:pt x="195" y="49"/>
                      </a:lnTo>
                      <a:lnTo>
                        <a:pt x="190" y="49"/>
                      </a:lnTo>
                      <a:lnTo>
                        <a:pt x="183" y="51"/>
                      </a:lnTo>
                      <a:lnTo>
                        <a:pt x="148" y="39"/>
                      </a:lnTo>
                      <a:lnTo>
                        <a:pt x="110" y="28"/>
                      </a:lnTo>
                      <a:lnTo>
                        <a:pt x="71" y="16"/>
                      </a:lnTo>
                      <a:lnTo>
                        <a:pt x="33" y="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A01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39" name="Freeform 431"/>
                <p:cNvSpPr>
                  <a:spLocks/>
                </p:cNvSpPr>
                <p:nvPr/>
              </p:nvSpPr>
              <p:spPr bwMode="auto">
                <a:xfrm>
                  <a:off x="2008188" y="4186238"/>
                  <a:ext cx="674688" cy="649288"/>
                </a:xfrm>
                <a:custGeom>
                  <a:avLst/>
                  <a:gdLst>
                    <a:gd name="T0" fmla="*/ 25 w 425"/>
                    <a:gd name="T1" fmla="*/ 0 h 409"/>
                    <a:gd name="T2" fmla="*/ 96 w 425"/>
                    <a:gd name="T3" fmla="*/ 12 h 409"/>
                    <a:gd name="T4" fmla="*/ 96 w 425"/>
                    <a:gd name="T5" fmla="*/ 16 h 409"/>
                    <a:gd name="T6" fmla="*/ 99 w 425"/>
                    <a:gd name="T7" fmla="*/ 28 h 409"/>
                    <a:gd name="T8" fmla="*/ 108 w 425"/>
                    <a:gd name="T9" fmla="*/ 37 h 409"/>
                    <a:gd name="T10" fmla="*/ 119 w 425"/>
                    <a:gd name="T11" fmla="*/ 40 h 409"/>
                    <a:gd name="T12" fmla="*/ 227 w 425"/>
                    <a:gd name="T13" fmla="*/ 40 h 409"/>
                    <a:gd name="T14" fmla="*/ 224 w 425"/>
                    <a:gd name="T15" fmla="*/ 91 h 409"/>
                    <a:gd name="T16" fmla="*/ 226 w 425"/>
                    <a:gd name="T17" fmla="*/ 121 h 409"/>
                    <a:gd name="T18" fmla="*/ 229 w 425"/>
                    <a:gd name="T19" fmla="*/ 152 h 409"/>
                    <a:gd name="T20" fmla="*/ 229 w 425"/>
                    <a:gd name="T21" fmla="*/ 152 h 409"/>
                    <a:gd name="T22" fmla="*/ 242 w 425"/>
                    <a:gd name="T23" fmla="*/ 153 h 409"/>
                    <a:gd name="T24" fmla="*/ 275 w 425"/>
                    <a:gd name="T25" fmla="*/ 160 h 409"/>
                    <a:gd name="T26" fmla="*/ 313 w 425"/>
                    <a:gd name="T27" fmla="*/ 169 h 409"/>
                    <a:gd name="T28" fmla="*/ 352 w 425"/>
                    <a:gd name="T29" fmla="*/ 181 h 409"/>
                    <a:gd name="T30" fmla="*/ 390 w 425"/>
                    <a:gd name="T31" fmla="*/ 192 h 409"/>
                    <a:gd name="T32" fmla="*/ 425 w 425"/>
                    <a:gd name="T33" fmla="*/ 204 h 409"/>
                    <a:gd name="T34" fmla="*/ 416 w 425"/>
                    <a:gd name="T35" fmla="*/ 208 h 409"/>
                    <a:gd name="T36" fmla="*/ 405 w 425"/>
                    <a:gd name="T37" fmla="*/ 216 h 409"/>
                    <a:gd name="T38" fmla="*/ 396 w 425"/>
                    <a:gd name="T39" fmla="*/ 224 h 409"/>
                    <a:gd name="T40" fmla="*/ 387 w 425"/>
                    <a:gd name="T41" fmla="*/ 236 h 409"/>
                    <a:gd name="T42" fmla="*/ 381 w 425"/>
                    <a:gd name="T43" fmla="*/ 253 h 409"/>
                    <a:gd name="T44" fmla="*/ 380 w 425"/>
                    <a:gd name="T45" fmla="*/ 274 h 409"/>
                    <a:gd name="T46" fmla="*/ 383 w 425"/>
                    <a:gd name="T47" fmla="*/ 297 h 409"/>
                    <a:gd name="T48" fmla="*/ 407 w 425"/>
                    <a:gd name="T49" fmla="*/ 405 h 409"/>
                    <a:gd name="T50" fmla="*/ 406 w 425"/>
                    <a:gd name="T51" fmla="*/ 406 h 409"/>
                    <a:gd name="T52" fmla="*/ 394 w 425"/>
                    <a:gd name="T53" fmla="*/ 409 h 409"/>
                    <a:gd name="T54" fmla="*/ 394 w 425"/>
                    <a:gd name="T55" fmla="*/ 409 h 409"/>
                    <a:gd name="T56" fmla="*/ 393 w 425"/>
                    <a:gd name="T57" fmla="*/ 406 h 409"/>
                    <a:gd name="T58" fmla="*/ 391 w 425"/>
                    <a:gd name="T59" fmla="*/ 396 h 409"/>
                    <a:gd name="T60" fmla="*/ 389 w 425"/>
                    <a:gd name="T61" fmla="*/ 381 h 409"/>
                    <a:gd name="T62" fmla="*/ 383 w 425"/>
                    <a:gd name="T63" fmla="*/ 364 h 409"/>
                    <a:gd name="T64" fmla="*/ 375 w 425"/>
                    <a:gd name="T65" fmla="*/ 346 h 409"/>
                    <a:gd name="T66" fmla="*/ 365 w 425"/>
                    <a:gd name="T67" fmla="*/ 327 h 409"/>
                    <a:gd name="T68" fmla="*/ 351 w 425"/>
                    <a:gd name="T69" fmla="*/ 310 h 409"/>
                    <a:gd name="T70" fmla="*/ 335 w 425"/>
                    <a:gd name="T71" fmla="*/ 297 h 409"/>
                    <a:gd name="T72" fmla="*/ 314 w 425"/>
                    <a:gd name="T73" fmla="*/ 287 h 409"/>
                    <a:gd name="T74" fmla="*/ 307 w 425"/>
                    <a:gd name="T75" fmla="*/ 285 h 409"/>
                    <a:gd name="T76" fmla="*/ 301 w 425"/>
                    <a:gd name="T77" fmla="*/ 285 h 409"/>
                    <a:gd name="T78" fmla="*/ 37 w 425"/>
                    <a:gd name="T79" fmla="*/ 266 h 409"/>
                    <a:gd name="T80" fmla="*/ 23 w 425"/>
                    <a:gd name="T81" fmla="*/ 265 h 409"/>
                    <a:gd name="T82" fmla="*/ 13 w 425"/>
                    <a:gd name="T83" fmla="*/ 259 h 409"/>
                    <a:gd name="T84" fmla="*/ 6 w 425"/>
                    <a:gd name="T85" fmla="*/ 250 h 409"/>
                    <a:gd name="T86" fmla="*/ 2 w 425"/>
                    <a:gd name="T87" fmla="*/ 239 h 409"/>
                    <a:gd name="T88" fmla="*/ 0 w 425"/>
                    <a:gd name="T89" fmla="*/ 224 h 409"/>
                    <a:gd name="T90" fmla="*/ 2 w 425"/>
                    <a:gd name="T91" fmla="*/ 207 h 409"/>
                    <a:gd name="T92" fmla="*/ 6 w 425"/>
                    <a:gd name="T93" fmla="*/ 186 h 409"/>
                    <a:gd name="T94" fmla="*/ 12 w 425"/>
                    <a:gd name="T95" fmla="*/ 165 h 409"/>
                    <a:gd name="T96" fmla="*/ 21 w 425"/>
                    <a:gd name="T97" fmla="*/ 140 h 409"/>
                    <a:gd name="T98" fmla="*/ 28 w 425"/>
                    <a:gd name="T99" fmla="*/ 114 h 409"/>
                    <a:gd name="T100" fmla="*/ 31 w 425"/>
                    <a:gd name="T101" fmla="*/ 88 h 409"/>
                    <a:gd name="T102" fmla="*/ 31 w 425"/>
                    <a:gd name="T103" fmla="*/ 88 h 409"/>
                    <a:gd name="T104" fmla="*/ 29 w 425"/>
                    <a:gd name="T105" fmla="*/ 45 h 409"/>
                    <a:gd name="T106" fmla="*/ 25 w 425"/>
                    <a:gd name="T107" fmla="*/ 0 h 4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425" h="409">
                      <a:moveTo>
                        <a:pt x="25" y="0"/>
                      </a:moveTo>
                      <a:lnTo>
                        <a:pt x="96" y="12"/>
                      </a:lnTo>
                      <a:lnTo>
                        <a:pt x="96" y="16"/>
                      </a:lnTo>
                      <a:lnTo>
                        <a:pt x="99" y="28"/>
                      </a:lnTo>
                      <a:lnTo>
                        <a:pt x="108" y="37"/>
                      </a:lnTo>
                      <a:lnTo>
                        <a:pt x="119" y="40"/>
                      </a:lnTo>
                      <a:lnTo>
                        <a:pt x="227" y="40"/>
                      </a:lnTo>
                      <a:lnTo>
                        <a:pt x="224" y="91"/>
                      </a:lnTo>
                      <a:lnTo>
                        <a:pt x="226" y="121"/>
                      </a:lnTo>
                      <a:lnTo>
                        <a:pt x="229" y="152"/>
                      </a:lnTo>
                      <a:lnTo>
                        <a:pt x="229" y="152"/>
                      </a:lnTo>
                      <a:lnTo>
                        <a:pt x="242" y="153"/>
                      </a:lnTo>
                      <a:lnTo>
                        <a:pt x="275" y="160"/>
                      </a:lnTo>
                      <a:lnTo>
                        <a:pt x="313" y="169"/>
                      </a:lnTo>
                      <a:lnTo>
                        <a:pt x="352" y="181"/>
                      </a:lnTo>
                      <a:lnTo>
                        <a:pt x="390" y="192"/>
                      </a:lnTo>
                      <a:lnTo>
                        <a:pt x="425" y="204"/>
                      </a:lnTo>
                      <a:lnTo>
                        <a:pt x="416" y="208"/>
                      </a:lnTo>
                      <a:lnTo>
                        <a:pt x="405" y="216"/>
                      </a:lnTo>
                      <a:lnTo>
                        <a:pt x="396" y="224"/>
                      </a:lnTo>
                      <a:lnTo>
                        <a:pt x="387" y="236"/>
                      </a:lnTo>
                      <a:lnTo>
                        <a:pt x="381" y="253"/>
                      </a:lnTo>
                      <a:lnTo>
                        <a:pt x="380" y="274"/>
                      </a:lnTo>
                      <a:lnTo>
                        <a:pt x="383" y="297"/>
                      </a:lnTo>
                      <a:lnTo>
                        <a:pt x="407" y="405"/>
                      </a:lnTo>
                      <a:lnTo>
                        <a:pt x="406" y="406"/>
                      </a:lnTo>
                      <a:lnTo>
                        <a:pt x="394" y="409"/>
                      </a:lnTo>
                      <a:lnTo>
                        <a:pt x="394" y="409"/>
                      </a:lnTo>
                      <a:lnTo>
                        <a:pt x="393" y="406"/>
                      </a:lnTo>
                      <a:lnTo>
                        <a:pt x="391" y="396"/>
                      </a:lnTo>
                      <a:lnTo>
                        <a:pt x="389" y="381"/>
                      </a:lnTo>
                      <a:lnTo>
                        <a:pt x="383" y="364"/>
                      </a:lnTo>
                      <a:lnTo>
                        <a:pt x="375" y="346"/>
                      </a:lnTo>
                      <a:lnTo>
                        <a:pt x="365" y="327"/>
                      </a:lnTo>
                      <a:lnTo>
                        <a:pt x="351" y="310"/>
                      </a:lnTo>
                      <a:lnTo>
                        <a:pt x="335" y="297"/>
                      </a:lnTo>
                      <a:lnTo>
                        <a:pt x="314" y="287"/>
                      </a:lnTo>
                      <a:lnTo>
                        <a:pt x="307" y="285"/>
                      </a:lnTo>
                      <a:lnTo>
                        <a:pt x="301" y="285"/>
                      </a:lnTo>
                      <a:lnTo>
                        <a:pt x="37" y="266"/>
                      </a:lnTo>
                      <a:lnTo>
                        <a:pt x="23" y="265"/>
                      </a:lnTo>
                      <a:lnTo>
                        <a:pt x="13" y="259"/>
                      </a:lnTo>
                      <a:lnTo>
                        <a:pt x="6" y="250"/>
                      </a:lnTo>
                      <a:lnTo>
                        <a:pt x="2" y="239"/>
                      </a:lnTo>
                      <a:lnTo>
                        <a:pt x="0" y="224"/>
                      </a:lnTo>
                      <a:lnTo>
                        <a:pt x="2" y="207"/>
                      </a:lnTo>
                      <a:lnTo>
                        <a:pt x="6" y="186"/>
                      </a:lnTo>
                      <a:lnTo>
                        <a:pt x="12" y="165"/>
                      </a:lnTo>
                      <a:lnTo>
                        <a:pt x="21" y="140"/>
                      </a:lnTo>
                      <a:lnTo>
                        <a:pt x="28" y="114"/>
                      </a:lnTo>
                      <a:lnTo>
                        <a:pt x="31" y="88"/>
                      </a:lnTo>
                      <a:lnTo>
                        <a:pt x="31" y="88"/>
                      </a:lnTo>
                      <a:lnTo>
                        <a:pt x="29" y="45"/>
                      </a:lnTo>
                      <a:lnTo>
                        <a:pt x="25" y="0"/>
                      </a:lnTo>
                      <a:close/>
                    </a:path>
                  </a:pathLst>
                </a:custGeom>
                <a:solidFill>
                  <a:srgbClr val="FFA01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40" name="Freeform 432"/>
                <p:cNvSpPr>
                  <a:spLocks/>
                </p:cNvSpPr>
                <p:nvPr/>
              </p:nvSpPr>
              <p:spPr bwMode="auto">
                <a:xfrm>
                  <a:off x="2036763" y="4083050"/>
                  <a:ext cx="1588" cy="20638"/>
                </a:xfrm>
                <a:custGeom>
                  <a:avLst/>
                  <a:gdLst>
                    <a:gd name="T0" fmla="*/ 0 w 1"/>
                    <a:gd name="T1" fmla="*/ 0 h 13"/>
                    <a:gd name="T2" fmla="*/ 1 w 1"/>
                    <a:gd name="T3" fmla="*/ 13 h 13"/>
                    <a:gd name="T4" fmla="*/ 1 w 1"/>
                    <a:gd name="T5" fmla="*/ 13 h 13"/>
                    <a:gd name="T6" fmla="*/ 0 w 1"/>
                    <a:gd name="T7" fmla="*/ 1 h 13"/>
                    <a:gd name="T8" fmla="*/ 0 w 1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" h="13">
                      <a:moveTo>
                        <a:pt x="0" y="0"/>
                      </a:moveTo>
                      <a:lnTo>
                        <a:pt x="1" y="13"/>
                      </a:lnTo>
                      <a:lnTo>
                        <a:pt x="1" y="13"/>
                      </a:lnTo>
                      <a:lnTo>
                        <a:pt x="0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7040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41" name="Freeform 433"/>
                <p:cNvSpPr>
                  <a:spLocks/>
                </p:cNvSpPr>
                <p:nvPr/>
              </p:nvSpPr>
              <p:spPr bwMode="auto">
                <a:xfrm>
                  <a:off x="2036763" y="3941763"/>
                  <a:ext cx="334963" cy="233363"/>
                </a:xfrm>
                <a:custGeom>
                  <a:avLst/>
                  <a:gdLst>
                    <a:gd name="T0" fmla="*/ 30 w 211"/>
                    <a:gd name="T1" fmla="*/ 0 h 147"/>
                    <a:gd name="T2" fmla="*/ 30 w 211"/>
                    <a:gd name="T3" fmla="*/ 42 h 147"/>
                    <a:gd name="T4" fmla="*/ 30 w 211"/>
                    <a:gd name="T5" fmla="*/ 56 h 147"/>
                    <a:gd name="T6" fmla="*/ 30 w 211"/>
                    <a:gd name="T7" fmla="*/ 63 h 147"/>
                    <a:gd name="T8" fmla="*/ 30 w 211"/>
                    <a:gd name="T9" fmla="*/ 67 h 147"/>
                    <a:gd name="T10" fmla="*/ 30 w 211"/>
                    <a:gd name="T11" fmla="*/ 72 h 147"/>
                    <a:gd name="T12" fmla="*/ 29 w 211"/>
                    <a:gd name="T13" fmla="*/ 79 h 147"/>
                    <a:gd name="T14" fmla="*/ 30 w 211"/>
                    <a:gd name="T15" fmla="*/ 92 h 147"/>
                    <a:gd name="T16" fmla="*/ 33 w 211"/>
                    <a:gd name="T17" fmla="*/ 99 h 147"/>
                    <a:gd name="T18" fmla="*/ 43 w 211"/>
                    <a:gd name="T19" fmla="*/ 106 h 147"/>
                    <a:gd name="T20" fmla="*/ 58 w 211"/>
                    <a:gd name="T21" fmla="*/ 115 h 147"/>
                    <a:gd name="T22" fmla="*/ 77 w 211"/>
                    <a:gd name="T23" fmla="*/ 124 h 147"/>
                    <a:gd name="T24" fmla="*/ 99 w 211"/>
                    <a:gd name="T25" fmla="*/ 130 h 147"/>
                    <a:gd name="T26" fmla="*/ 120 w 211"/>
                    <a:gd name="T27" fmla="*/ 133 h 147"/>
                    <a:gd name="T28" fmla="*/ 125 w 211"/>
                    <a:gd name="T29" fmla="*/ 133 h 147"/>
                    <a:gd name="T30" fmla="*/ 138 w 211"/>
                    <a:gd name="T31" fmla="*/ 133 h 147"/>
                    <a:gd name="T32" fmla="*/ 149 w 211"/>
                    <a:gd name="T33" fmla="*/ 131 h 147"/>
                    <a:gd name="T34" fmla="*/ 158 w 211"/>
                    <a:gd name="T35" fmla="*/ 128 h 147"/>
                    <a:gd name="T36" fmla="*/ 168 w 211"/>
                    <a:gd name="T37" fmla="*/ 128 h 147"/>
                    <a:gd name="T38" fmla="*/ 180 w 211"/>
                    <a:gd name="T39" fmla="*/ 130 h 147"/>
                    <a:gd name="T40" fmla="*/ 195 w 211"/>
                    <a:gd name="T41" fmla="*/ 136 h 147"/>
                    <a:gd name="T42" fmla="*/ 211 w 211"/>
                    <a:gd name="T43" fmla="*/ 147 h 147"/>
                    <a:gd name="T44" fmla="*/ 200 w 211"/>
                    <a:gd name="T45" fmla="*/ 147 h 147"/>
                    <a:gd name="T46" fmla="*/ 189 w 211"/>
                    <a:gd name="T47" fmla="*/ 140 h 147"/>
                    <a:gd name="T48" fmla="*/ 181 w 211"/>
                    <a:gd name="T49" fmla="*/ 134 h 147"/>
                    <a:gd name="T50" fmla="*/ 174 w 211"/>
                    <a:gd name="T51" fmla="*/ 131 h 147"/>
                    <a:gd name="T52" fmla="*/ 168 w 211"/>
                    <a:gd name="T53" fmla="*/ 130 h 147"/>
                    <a:gd name="T54" fmla="*/ 164 w 211"/>
                    <a:gd name="T55" fmla="*/ 131 h 147"/>
                    <a:gd name="T56" fmla="*/ 160 w 211"/>
                    <a:gd name="T57" fmla="*/ 133 h 147"/>
                    <a:gd name="T58" fmla="*/ 154 w 211"/>
                    <a:gd name="T59" fmla="*/ 134 h 147"/>
                    <a:gd name="T60" fmla="*/ 141 w 211"/>
                    <a:gd name="T61" fmla="*/ 136 h 147"/>
                    <a:gd name="T62" fmla="*/ 125 w 211"/>
                    <a:gd name="T63" fmla="*/ 137 h 147"/>
                    <a:gd name="T64" fmla="*/ 115 w 211"/>
                    <a:gd name="T65" fmla="*/ 137 h 147"/>
                    <a:gd name="T66" fmla="*/ 103 w 211"/>
                    <a:gd name="T67" fmla="*/ 136 h 147"/>
                    <a:gd name="T68" fmla="*/ 77 w 211"/>
                    <a:gd name="T69" fmla="*/ 131 h 147"/>
                    <a:gd name="T70" fmla="*/ 51 w 211"/>
                    <a:gd name="T71" fmla="*/ 122 h 147"/>
                    <a:gd name="T72" fmla="*/ 24 w 211"/>
                    <a:gd name="T73" fmla="*/ 114 h 147"/>
                    <a:gd name="T74" fmla="*/ 1 w 211"/>
                    <a:gd name="T75" fmla="*/ 102 h 147"/>
                    <a:gd name="T76" fmla="*/ 0 w 211"/>
                    <a:gd name="T77" fmla="*/ 89 h 147"/>
                    <a:gd name="T78" fmla="*/ 13 w 211"/>
                    <a:gd name="T79" fmla="*/ 29 h 147"/>
                    <a:gd name="T80" fmla="*/ 16 w 211"/>
                    <a:gd name="T81" fmla="*/ 28 h 147"/>
                    <a:gd name="T82" fmla="*/ 19 w 211"/>
                    <a:gd name="T83" fmla="*/ 26 h 147"/>
                    <a:gd name="T84" fmla="*/ 21 w 211"/>
                    <a:gd name="T85" fmla="*/ 24 h 147"/>
                    <a:gd name="T86" fmla="*/ 24 w 211"/>
                    <a:gd name="T87" fmla="*/ 19 h 147"/>
                    <a:gd name="T88" fmla="*/ 26 w 211"/>
                    <a:gd name="T89" fmla="*/ 15 h 147"/>
                    <a:gd name="T90" fmla="*/ 30 w 211"/>
                    <a:gd name="T91" fmla="*/ 0 h 1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211" h="147">
                      <a:moveTo>
                        <a:pt x="30" y="0"/>
                      </a:moveTo>
                      <a:lnTo>
                        <a:pt x="30" y="42"/>
                      </a:lnTo>
                      <a:lnTo>
                        <a:pt x="30" y="56"/>
                      </a:lnTo>
                      <a:lnTo>
                        <a:pt x="30" y="63"/>
                      </a:lnTo>
                      <a:lnTo>
                        <a:pt x="30" y="67"/>
                      </a:lnTo>
                      <a:lnTo>
                        <a:pt x="30" y="72"/>
                      </a:lnTo>
                      <a:lnTo>
                        <a:pt x="29" y="79"/>
                      </a:lnTo>
                      <a:lnTo>
                        <a:pt x="30" y="92"/>
                      </a:lnTo>
                      <a:lnTo>
                        <a:pt x="33" y="99"/>
                      </a:lnTo>
                      <a:lnTo>
                        <a:pt x="43" y="106"/>
                      </a:lnTo>
                      <a:lnTo>
                        <a:pt x="58" y="115"/>
                      </a:lnTo>
                      <a:lnTo>
                        <a:pt x="77" y="124"/>
                      </a:lnTo>
                      <a:lnTo>
                        <a:pt x="99" y="130"/>
                      </a:lnTo>
                      <a:lnTo>
                        <a:pt x="120" y="133"/>
                      </a:lnTo>
                      <a:lnTo>
                        <a:pt x="125" y="133"/>
                      </a:lnTo>
                      <a:lnTo>
                        <a:pt x="138" y="133"/>
                      </a:lnTo>
                      <a:lnTo>
                        <a:pt x="149" y="131"/>
                      </a:lnTo>
                      <a:lnTo>
                        <a:pt x="158" y="128"/>
                      </a:lnTo>
                      <a:lnTo>
                        <a:pt x="168" y="128"/>
                      </a:lnTo>
                      <a:lnTo>
                        <a:pt x="180" y="130"/>
                      </a:lnTo>
                      <a:lnTo>
                        <a:pt x="195" y="136"/>
                      </a:lnTo>
                      <a:lnTo>
                        <a:pt x="211" y="147"/>
                      </a:lnTo>
                      <a:lnTo>
                        <a:pt x="200" y="147"/>
                      </a:lnTo>
                      <a:lnTo>
                        <a:pt x="189" y="140"/>
                      </a:lnTo>
                      <a:lnTo>
                        <a:pt x="181" y="134"/>
                      </a:lnTo>
                      <a:lnTo>
                        <a:pt x="174" y="131"/>
                      </a:lnTo>
                      <a:lnTo>
                        <a:pt x="168" y="130"/>
                      </a:lnTo>
                      <a:lnTo>
                        <a:pt x="164" y="131"/>
                      </a:lnTo>
                      <a:lnTo>
                        <a:pt x="160" y="133"/>
                      </a:lnTo>
                      <a:lnTo>
                        <a:pt x="154" y="134"/>
                      </a:lnTo>
                      <a:lnTo>
                        <a:pt x="141" y="136"/>
                      </a:lnTo>
                      <a:lnTo>
                        <a:pt x="125" y="137"/>
                      </a:lnTo>
                      <a:lnTo>
                        <a:pt x="115" y="137"/>
                      </a:lnTo>
                      <a:lnTo>
                        <a:pt x="103" y="136"/>
                      </a:lnTo>
                      <a:lnTo>
                        <a:pt x="77" y="131"/>
                      </a:lnTo>
                      <a:lnTo>
                        <a:pt x="51" y="122"/>
                      </a:lnTo>
                      <a:lnTo>
                        <a:pt x="24" y="114"/>
                      </a:lnTo>
                      <a:lnTo>
                        <a:pt x="1" y="102"/>
                      </a:lnTo>
                      <a:lnTo>
                        <a:pt x="0" y="89"/>
                      </a:lnTo>
                      <a:lnTo>
                        <a:pt x="13" y="29"/>
                      </a:lnTo>
                      <a:lnTo>
                        <a:pt x="16" y="28"/>
                      </a:lnTo>
                      <a:lnTo>
                        <a:pt x="19" y="26"/>
                      </a:lnTo>
                      <a:lnTo>
                        <a:pt x="21" y="24"/>
                      </a:lnTo>
                      <a:lnTo>
                        <a:pt x="24" y="19"/>
                      </a:lnTo>
                      <a:lnTo>
                        <a:pt x="26" y="15"/>
                      </a:lnTo>
                      <a:lnTo>
                        <a:pt x="30" y="0"/>
                      </a:lnTo>
                      <a:close/>
                    </a:path>
                  </a:pathLst>
                </a:custGeom>
                <a:solidFill>
                  <a:srgbClr val="FFA01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42" name="Freeform 434"/>
                <p:cNvSpPr>
                  <a:spLocks noEditPoints="1"/>
                </p:cNvSpPr>
                <p:nvPr/>
              </p:nvSpPr>
              <p:spPr bwMode="auto">
                <a:xfrm>
                  <a:off x="2027238" y="3660775"/>
                  <a:ext cx="131763" cy="60325"/>
                </a:xfrm>
                <a:custGeom>
                  <a:avLst/>
                  <a:gdLst>
                    <a:gd name="T0" fmla="*/ 10 w 83"/>
                    <a:gd name="T1" fmla="*/ 26 h 38"/>
                    <a:gd name="T2" fmla="*/ 4 w 83"/>
                    <a:gd name="T3" fmla="*/ 30 h 38"/>
                    <a:gd name="T4" fmla="*/ 0 w 83"/>
                    <a:gd name="T5" fmla="*/ 36 h 38"/>
                    <a:gd name="T6" fmla="*/ 0 w 83"/>
                    <a:gd name="T7" fmla="*/ 38 h 38"/>
                    <a:gd name="T8" fmla="*/ 3 w 83"/>
                    <a:gd name="T9" fmla="*/ 32 h 38"/>
                    <a:gd name="T10" fmla="*/ 10 w 83"/>
                    <a:gd name="T11" fmla="*/ 26 h 38"/>
                    <a:gd name="T12" fmla="*/ 81 w 83"/>
                    <a:gd name="T13" fmla="*/ 0 h 38"/>
                    <a:gd name="T14" fmla="*/ 83 w 83"/>
                    <a:gd name="T15" fmla="*/ 1 h 38"/>
                    <a:gd name="T16" fmla="*/ 83 w 83"/>
                    <a:gd name="T17" fmla="*/ 1 h 38"/>
                    <a:gd name="T18" fmla="*/ 81 w 83"/>
                    <a:gd name="T19" fmla="*/ 0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83" h="38">
                      <a:moveTo>
                        <a:pt x="10" y="26"/>
                      </a:moveTo>
                      <a:lnTo>
                        <a:pt x="4" y="30"/>
                      </a:lnTo>
                      <a:lnTo>
                        <a:pt x="0" y="36"/>
                      </a:lnTo>
                      <a:lnTo>
                        <a:pt x="0" y="38"/>
                      </a:lnTo>
                      <a:lnTo>
                        <a:pt x="3" y="32"/>
                      </a:lnTo>
                      <a:lnTo>
                        <a:pt x="10" y="26"/>
                      </a:lnTo>
                      <a:close/>
                      <a:moveTo>
                        <a:pt x="81" y="0"/>
                      </a:moveTo>
                      <a:lnTo>
                        <a:pt x="83" y="1"/>
                      </a:lnTo>
                      <a:lnTo>
                        <a:pt x="83" y="1"/>
                      </a:lnTo>
                      <a:lnTo>
                        <a:pt x="81" y="0"/>
                      </a:lnTo>
                      <a:close/>
                    </a:path>
                  </a:pathLst>
                </a:custGeom>
                <a:solidFill>
                  <a:srgbClr val="D26016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43" name="Rectangle 435"/>
                <p:cNvSpPr>
                  <a:spLocks noChangeArrowheads="1"/>
                </p:cNvSpPr>
                <p:nvPr/>
              </p:nvSpPr>
              <p:spPr bwMode="auto">
                <a:xfrm>
                  <a:off x="2205038" y="3690938"/>
                  <a:ext cx="1588" cy="1588"/>
                </a:xfrm>
                <a:prstGeom prst="rect">
                  <a:avLst/>
                </a:prstGeom>
                <a:solidFill>
                  <a:srgbClr val="F2A632"/>
                </a:soli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44" name="Rectangle 436"/>
                <p:cNvSpPr>
                  <a:spLocks noChangeArrowheads="1"/>
                </p:cNvSpPr>
                <p:nvPr/>
              </p:nvSpPr>
              <p:spPr bwMode="auto">
                <a:xfrm>
                  <a:off x="2159001" y="3662363"/>
                  <a:ext cx="1588" cy="1588"/>
                </a:xfrm>
                <a:prstGeom prst="rect">
                  <a:avLst/>
                </a:prstGeom>
                <a:solidFill>
                  <a:srgbClr val="C74F10"/>
                </a:soli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45" name="Freeform 437"/>
                <p:cNvSpPr>
                  <a:spLocks/>
                </p:cNvSpPr>
                <p:nvPr/>
              </p:nvSpPr>
              <p:spPr bwMode="auto">
                <a:xfrm>
                  <a:off x="2159001" y="3662363"/>
                  <a:ext cx="46038" cy="28575"/>
                </a:xfrm>
                <a:custGeom>
                  <a:avLst/>
                  <a:gdLst>
                    <a:gd name="T0" fmla="*/ 0 w 29"/>
                    <a:gd name="T1" fmla="*/ 0 h 18"/>
                    <a:gd name="T2" fmla="*/ 13 w 29"/>
                    <a:gd name="T3" fmla="*/ 11 h 18"/>
                    <a:gd name="T4" fmla="*/ 29 w 29"/>
                    <a:gd name="T5" fmla="*/ 18 h 18"/>
                    <a:gd name="T6" fmla="*/ 29 w 29"/>
                    <a:gd name="T7" fmla="*/ 18 h 18"/>
                    <a:gd name="T8" fmla="*/ 13 w 29"/>
                    <a:gd name="T9" fmla="*/ 11 h 18"/>
                    <a:gd name="T10" fmla="*/ 0 w 29"/>
                    <a:gd name="T11" fmla="*/ 0 h 18"/>
                    <a:gd name="T12" fmla="*/ 0 w 29"/>
                    <a:gd name="T13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18">
                      <a:moveTo>
                        <a:pt x="0" y="0"/>
                      </a:moveTo>
                      <a:lnTo>
                        <a:pt x="13" y="11"/>
                      </a:lnTo>
                      <a:lnTo>
                        <a:pt x="29" y="18"/>
                      </a:lnTo>
                      <a:lnTo>
                        <a:pt x="29" y="18"/>
                      </a:lnTo>
                      <a:lnTo>
                        <a:pt x="13" y="11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68923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46" name="Freeform 438"/>
                <p:cNvSpPr>
                  <a:spLocks/>
                </p:cNvSpPr>
                <p:nvPr/>
              </p:nvSpPr>
              <p:spPr bwMode="auto">
                <a:xfrm>
                  <a:off x="2024063" y="3711575"/>
                  <a:ext cx="7938" cy="9525"/>
                </a:xfrm>
                <a:custGeom>
                  <a:avLst/>
                  <a:gdLst>
                    <a:gd name="T0" fmla="*/ 5 w 5"/>
                    <a:gd name="T1" fmla="*/ 0 h 6"/>
                    <a:gd name="T2" fmla="*/ 2 w 5"/>
                    <a:gd name="T3" fmla="*/ 6 h 6"/>
                    <a:gd name="T4" fmla="*/ 0 w 5"/>
                    <a:gd name="T5" fmla="*/ 6 h 6"/>
                    <a:gd name="T6" fmla="*/ 5 w 5"/>
                    <a:gd name="T7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6">
                      <a:moveTo>
                        <a:pt x="5" y="0"/>
                      </a:moveTo>
                      <a:lnTo>
                        <a:pt x="2" y="6"/>
                      </a:lnTo>
                      <a:lnTo>
                        <a:pt x="0" y="6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AD2D0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47" name="Freeform 439"/>
                <p:cNvSpPr>
                  <a:spLocks/>
                </p:cNvSpPr>
                <p:nvPr/>
              </p:nvSpPr>
              <p:spPr bwMode="auto">
                <a:xfrm>
                  <a:off x="2027238" y="3660775"/>
                  <a:ext cx="127000" cy="57150"/>
                </a:xfrm>
                <a:custGeom>
                  <a:avLst/>
                  <a:gdLst>
                    <a:gd name="T0" fmla="*/ 80 w 80"/>
                    <a:gd name="T1" fmla="*/ 0 h 36"/>
                    <a:gd name="T2" fmla="*/ 52 w 80"/>
                    <a:gd name="T3" fmla="*/ 6 h 36"/>
                    <a:gd name="T4" fmla="*/ 27 w 80"/>
                    <a:gd name="T5" fmla="*/ 17 h 36"/>
                    <a:gd name="T6" fmla="*/ 6 w 80"/>
                    <a:gd name="T7" fmla="*/ 33 h 36"/>
                    <a:gd name="T8" fmla="*/ 0 w 80"/>
                    <a:gd name="T9" fmla="*/ 36 h 36"/>
                    <a:gd name="T10" fmla="*/ 4 w 80"/>
                    <a:gd name="T11" fmla="*/ 30 h 36"/>
                    <a:gd name="T12" fmla="*/ 10 w 80"/>
                    <a:gd name="T13" fmla="*/ 26 h 36"/>
                    <a:gd name="T14" fmla="*/ 29 w 80"/>
                    <a:gd name="T15" fmla="*/ 15 h 36"/>
                    <a:gd name="T16" fmla="*/ 52 w 80"/>
                    <a:gd name="T17" fmla="*/ 6 h 36"/>
                    <a:gd name="T18" fmla="*/ 80 w 80"/>
                    <a:gd name="T19" fmla="*/ 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80" h="36">
                      <a:moveTo>
                        <a:pt x="80" y="0"/>
                      </a:moveTo>
                      <a:lnTo>
                        <a:pt x="52" y="6"/>
                      </a:lnTo>
                      <a:lnTo>
                        <a:pt x="27" y="17"/>
                      </a:lnTo>
                      <a:lnTo>
                        <a:pt x="6" y="33"/>
                      </a:lnTo>
                      <a:lnTo>
                        <a:pt x="0" y="36"/>
                      </a:lnTo>
                      <a:lnTo>
                        <a:pt x="4" y="30"/>
                      </a:lnTo>
                      <a:lnTo>
                        <a:pt x="10" y="26"/>
                      </a:lnTo>
                      <a:lnTo>
                        <a:pt x="29" y="15"/>
                      </a:lnTo>
                      <a:lnTo>
                        <a:pt x="52" y="6"/>
                      </a:lnTo>
                      <a:lnTo>
                        <a:pt x="80" y="0"/>
                      </a:lnTo>
                      <a:close/>
                    </a:path>
                  </a:pathLst>
                </a:custGeom>
                <a:solidFill>
                  <a:srgbClr val="FFA01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48" name="Freeform 440"/>
                <p:cNvSpPr>
                  <a:spLocks/>
                </p:cNvSpPr>
                <p:nvPr/>
              </p:nvSpPr>
              <p:spPr bwMode="auto">
                <a:xfrm>
                  <a:off x="2036763" y="3660775"/>
                  <a:ext cx="169863" cy="52388"/>
                </a:xfrm>
                <a:custGeom>
                  <a:avLst/>
                  <a:gdLst>
                    <a:gd name="T0" fmla="*/ 74 w 107"/>
                    <a:gd name="T1" fmla="*/ 0 h 33"/>
                    <a:gd name="T2" fmla="*/ 75 w 107"/>
                    <a:gd name="T3" fmla="*/ 0 h 33"/>
                    <a:gd name="T4" fmla="*/ 75 w 107"/>
                    <a:gd name="T5" fmla="*/ 0 h 33"/>
                    <a:gd name="T6" fmla="*/ 75 w 107"/>
                    <a:gd name="T7" fmla="*/ 0 h 33"/>
                    <a:gd name="T8" fmla="*/ 75 w 107"/>
                    <a:gd name="T9" fmla="*/ 0 h 33"/>
                    <a:gd name="T10" fmla="*/ 75 w 107"/>
                    <a:gd name="T11" fmla="*/ 0 h 33"/>
                    <a:gd name="T12" fmla="*/ 90 w 107"/>
                    <a:gd name="T13" fmla="*/ 12 h 33"/>
                    <a:gd name="T14" fmla="*/ 107 w 107"/>
                    <a:gd name="T15" fmla="*/ 19 h 33"/>
                    <a:gd name="T16" fmla="*/ 99 w 107"/>
                    <a:gd name="T17" fmla="*/ 19 h 33"/>
                    <a:gd name="T18" fmla="*/ 90 w 107"/>
                    <a:gd name="T19" fmla="*/ 19 h 33"/>
                    <a:gd name="T20" fmla="*/ 67 w 107"/>
                    <a:gd name="T21" fmla="*/ 19 h 33"/>
                    <a:gd name="T22" fmla="*/ 48 w 107"/>
                    <a:gd name="T23" fmla="*/ 22 h 33"/>
                    <a:gd name="T24" fmla="*/ 35 w 107"/>
                    <a:gd name="T25" fmla="*/ 25 h 33"/>
                    <a:gd name="T26" fmla="*/ 26 w 107"/>
                    <a:gd name="T27" fmla="*/ 28 h 33"/>
                    <a:gd name="T28" fmla="*/ 23 w 107"/>
                    <a:gd name="T29" fmla="*/ 29 h 33"/>
                    <a:gd name="T30" fmla="*/ 19 w 107"/>
                    <a:gd name="T31" fmla="*/ 29 h 33"/>
                    <a:gd name="T32" fmla="*/ 8 w 107"/>
                    <a:gd name="T33" fmla="*/ 30 h 33"/>
                    <a:gd name="T34" fmla="*/ 0 w 107"/>
                    <a:gd name="T35" fmla="*/ 33 h 33"/>
                    <a:gd name="T36" fmla="*/ 21 w 107"/>
                    <a:gd name="T37" fmla="*/ 17 h 33"/>
                    <a:gd name="T38" fmla="*/ 46 w 107"/>
                    <a:gd name="T39" fmla="*/ 6 h 33"/>
                    <a:gd name="T40" fmla="*/ 74 w 107"/>
                    <a:gd name="T41" fmla="*/ 0 h 33"/>
                    <a:gd name="T42" fmla="*/ 74 w 107"/>
                    <a:gd name="T43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07" h="33">
                      <a:moveTo>
                        <a:pt x="74" y="0"/>
                      </a:moveTo>
                      <a:lnTo>
                        <a:pt x="75" y="0"/>
                      </a:lnTo>
                      <a:lnTo>
                        <a:pt x="75" y="0"/>
                      </a:lnTo>
                      <a:lnTo>
                        <a:pt x="75" y="0"/>
                      </a:lnTo>
                      <a:lnTo>
                        <a:pt x="75" y="0"/>
                      </a:lnTo>
                      <a:lnTo>
                        <a:pt x="75" y="0"/>
                      </a:lnTo>
                      <a:lnTo>
                        <a:pt x="90" y="12"/>
                      </a:lnTo>
                      <a:lnTo>
                        <a:pt x="107" y="19"/>
                      </a:lnTo>
                      <a:lnTo>
                        <a:pt x="99" y="19"/>
                      </a:lnTo>
                      <a:lnTo>
                        <a:pt x="90" y="19"/>
                      </a:lnTo>
                      <a:lnTo>
                        <a:pt x="67" y="19"/>
                      </a:lnTo>
                      <a:lnTo>
                        <a:pt x="48" y="22"/>
                      </a:lnTo>
                      <a:lnTo>
                        <a:pt x="35" y="25"/>
                      </a:lnTo>
                      <a:lnTo>
                        <a:pt x="26" y="28"/>
                      </a:lnTo>
                      <a:lnTo>
                        <a:pt x="23" y="29"/>
                      </a:lnTo>
                      <a:lnTo>
                        <a:pt x="19" y="29"/>
                      </a:lnTo>
                      <a:lnTo>
                        <a:pt x="8" y="30"/>
                      </a:lnTo>
                      <a:lnTo>
                        <a:pt x="0" y="33"/>
                      </a:lnTo>
                      <a:lnTo>
                        <a:pt x="21" y="17"/>
                      </a:lnTo>
                      <a:lnTo>
                        <a:pt x="46" y="6"/>
                      </a:lnTo>
                      <a:lnTo>
                        <a:pt x="74" y="0"/>
                      </a:lnTo>
                      <a:lnTo>
                        <a:pt x="74" y="0"/>
                      </a:lnTo>
                      <a:close/>
                    </a:path>
                  </a:pathLst>
                </a:custGeom>
                <a:solidFill>
                  <a:srgbClr val="FFA01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49" name="Freeform 441"/>
                <p:cNvSpPr>
                  <a:spLocks/>
                </p:cNvSpPr>
                <p:nvPr/>
              </p:nvSpPr>
              <p:spPr bwMode="auto">
                <a:xfrm>
                  <a:off x="1922463" y="3757613"/>
                  <a:ext cx="441325" cy="454025"/>
                </a:xfrm>
                <a:custGeom>
                  <a:avLst/>
                  <a:gdLst>
                    <a:gd name="T0" fmla="*/ 70 w 278"/>
                    <a:gd name="T1" fmla="*/ 0 h 286"/>
                    <a:gd name="T2" fmla="*/ 83 w 278"/>
                    <a:gd name="T3" fmla="*/ 0 h 286"/>
                    <a:gd name="T4" fmla="*/ 95 w 278"/>
                    <a:gd name="T5" fmla="*/ 6 h 286"/>
                    <a:gd name="T6" fmla="*/ 104 w 278"/>
                    <a:gd name="T7" fmla="*/ 15 h 286"/>
                    <a:gd name="T8" fmla="*/ 108 w 278"/>
                    <a:gd name="T9" fmla="*/ 26 h 286"/>
                    <a:gd name="T10" fmla="*/ 108 w 278"/>
                    <a:gd name="T11" fmla="*/ 39 h 286"/>
                    <a:gd name="T12" fmla="*/ 69 w 278"/>
                    <a:gd name="T13" fmla="*/ 217 h 286"/>
                    <a:gd name="T14" fmla="*/ 93 w 278"/>
                    <a:gd name="T15" fmla="*/ 228 h 286"/>
                    <a:gd name="T16" fmla="*/ 120 w 278"/>
                    <a:gd name="T17" fmla="*/ 238 h 286"/>
                    <a:gd name="T18" fmla="*/ 147 w 278"/>
                    <a:gd name="T19" fmla="*/ 247 h 286"/>
                    <a:gd name="T20" fmla="*/ 175 w 278"/>
                    <a:gd name="T21" fmla="*/ 252 h 286"/>
                    <a:gd name="T22" fmla="*/ 197 w 278"/>
                    <a:gd name="T23" fmla="*/ 253 h 286"/>
                    <a:gd name="T24" fmla="*/ 214 w 278"/>
                    <a:gd name="T25" fmla="*/ 252 h 286"/>
                    <a:gd name="T26" fmla="*/ 226 w 278"/>
                    <a:gd name="T27" fmla="*/ 250 h 286"/>
                    <a:gd name="T28" fmla="*/ 233 w 278"/>
                    <a:gd name="T29" fmla="*/ 247 h 286"/>
                    <a:gd name="T30" fmla="*/ 239 w 278"/>
                    <a:gd name="T31" fmla="*/ 247 h 286"/>
                    <a:gd name="T32" fmla="*/ 245 w 278"/>
                    <a:gd name="T33" fmla="*/ 247 h 286"/>
                    <a:gd name="T34" fmla="*/ 252 w 278"/>
                    <a:gd name="T35" fmla="*/ 249 h 286"/>
                    <a:gd name="T36" fmla="*/ 261 w 278"/>
                    <a:gd name="T37" fmla="*/ 254 h 286"/>
                    <a:gd name="T38" fmla="*/ 272 w 278"/>
                    <a:gd name="T39" fmla="*/ 263 h 286"/>
                    <a:gd name="T40" fmla="*/ 278 w 278"/>
                    <a:gd name="T41" fmla="*/ 263 h 286"/>
                    <a:gd name="T42" fmla="*/ 272 w 278"/>
                    <a:gd name="T43" fmla="*/ 270 h 286"/>
                    <a:gd name="T44" fmla="*/ 261 w 278"/>
                    <a:gd name="T45" fmla="*/ 276 h 286"/>
                    <a:gd name="T46" fmla="*/ 243 w 278"/>
                    <a:gd name="T47" fmla="*/ 281 h 286"/>
                    <a:gd name="T48" fmla="*/ 224 w 278"/>
                    <a:gd name="T49" fmla="*/ 283 h 286"/>
                    <a:gd name="T50" fmla="*/ 207 w 278"/>
                    <a:gd name="T51" fmla="*/ 286 h 286"/>
                    <a:gd name="T52" fmla="*/ 192 w 278"/>
                    <a:gd name="T53" fmla="*/ 286 h 286"/>
                    <a:gd name="T54" fmla="*/ 182 w 278"/>
                    <a:gd name="T55" fmla="*/ 286 h 286"/>
                    <a:gd name="T56" fmla="*/ 31 w 278"/>
                    <a:gd name="T57" fmla="*/ 262 h 286"/>
                    <a:gd name="T58" fmla="*/ 27 w 278"/>
                    <a:gd name="T59" fmla="*/ 262 h 286"/>
                    <a:gd name="T60" fmla="*/ 25 w 278"/>
                    <a:gd name="T61" fmla="*/ 262 h 286"/>
                    <a:gd name="T62" fmla="*/ 22 w 278"/>
                    <a:gd name="T63" fmla="*/ 260 h 286"/>
                    <a:gd name="T64" fmla="*/ 12 w 278"/>
                    <a:gd name="T65" fmla="*/ 257 h 286"/>
                    <a:gd name="T66" fmla="*/ 5 w 278"/>
                    <a:gd name="T67" fmla="*/ 249 h 286"/>
                    <a:gd name="T68" fmla="*/ 2 w 278"/>
                    <a:gd name="T69" fmla="*/ 238 h 286"/>
                    <a:gd name="T70" fmla="*/ 0 w 278"/>
                    <a:gd name="T71" fmla="*/ 227 h 286"/>
                    <a:gd name="T72" fmla="*/ 0 w 278"/>
                    <a:gd name="T73" fmla="*/ 227 h 286"/>
                    <a:gd name="T74" fmla="*/ 2 w 278"/>
                    <a:gd name="T75" fmla="*/ 225 h 286"/>
                    <a:gd name="T76" fmla="*/ 2 w 278"/>
                    <a:gd name="T77" fmla="*/ 221 h 286"/>
                    <a:gd name="T78" fmla="*/ 45 w 278"/>
                    <a:gd name="T79" fmla="*/ 25 h 286"/>
                    <a:gd name="T80" fmla="*/ 50 w 278"/>
                    <a:gd name="T81" fmla="*/ 13 h 286"/>
                    <a:gd name="T82" fmla="*/ 60 w 278"/>
                    <a:gd name="T83" fmla="*/ 4 h 286"/>
                    <a:gd name="T84" fmla="*/ 70 w 278"/>
                    <a:gd name="T85" fmla="*/ 0 h 2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78" h="286">
                      <a:moveTo>
                        <a:pt x="70" y="0"/>
                      </a:moveTo>
                      <a:lnTo>
                        <a:pt x="83" y="0"/>
                      </a:lnTo>
                      <a:lnTo>
                        <a:pt x="95" y="6"/>
                      </a:lnTo>
                      <a:lnTo>
                        <a:pt x="104" y="15"/>
                      </a:lnTo>
                      <a:lnTo>
                        <a:pt x="108" y="26"/>
                      </a:lnTo>
                      <a:lnTo>
                        <a:pt x="108" y="39"/>
                      </a:lnTo>
                      <a:lnTo>
                        <a:pt x="69" y="217"/>
                      </a:lnTo>
                      <a:lnTo>
                        <a:pt x="93" y="228"/>
                      </a:lnTo>
                      <a:lnTo>
                        <a:pt x="120" y="238"/>
                      </a:lnTo>
                      <a:lnTo>
                        <a:pt x="147" y="247"/>
                      </a:lnTo>
                      <a:lnTo>
                        <a:pt x="175" y="252"/>
                      </a:lnTo>
                      <a:lnTo>
                        <a:pt x="197" y="253"/>
                      </a:lnTo>
                      <a:lnTo>
                        <a:pt x="214" y="252"/>
                      </a:lnTo>
                      <a:lnTo>
                        <a:pt x="226" y="250"/>
                      </a:lnTo>
                      <a:lnTo>
                        <a:pt x="233" y="247"/>
                      </a:lnTo>
                      <a:lnTo>
                        <a:pt x="239" y="247"/>
                      </a:lnTo>
                      <a:lnTo>
                        <a:pt x="245" y="247"/>
                      </a:lnTo>
                      <a:lnTo>
                        <a:pt x="252" y="249"/>
                      </a:lnTo>
                      <a:lnTo>
                        <a:pt x="261" y="254"/>
                      </a:lnTo>
                      <a:lnTo>
                        <a:pt x="272" y="263"/>
                      </a:lnTo>
                      <a:lnTo>
                        <a:pt x="278" y="263"/>
                      </a:lnTo>
                      <a:lnTo>
                        <a:pt x="272" y="270"/>
                      </a:lnTo>
                      <a:lnTo>
                        <a:pt x="261" y="276"/>
                      </a:lnTo>
                      <a:lnTo>
                        <a:pt x="243" y="281"/>
                      </a:lnTo>
                      <a:lnTo>
                        <a:pt x="224" y="283"/>
                      </a:lnTo>
                      <a:lnTo>
                        <a:pt x="207" y="286"/>
                      </a:lnTo>
                      <a:lnTo>
                        <a:pt x="192" y="286"/>
                      </a:lnTo>
                      <a:lnTo>
                        <a:pt x="182" y="286"/>
                      </a:lnTo>
                      <a:lnTo>
                        <a:pt x="31" y="262"/>
                      </a:lnTo>
                      <a:lnTo>
                        <a:pt x="27" y="262"/>
                      </a:lnTo>
                      <a:lnTo>
                        <a:pt x="25" y="262"/>
                      </a:lnTo>
                      <a:lnTo>
                        <a:pt x="22" y="260"/>
                      </a:lnTo>
                      <a:lnTo>
                        <a:pt x="12" y="257"/>
                      </a:lnTo>
                      <a:lnTo>
                        <a:pt x="5" y="249"/>
                      </a:lnTo>
                      <a:lnTo>
                        <a:pt x="2" y="238"/>
                      </a:lnTo>
                      <a:lnTo>
                        <a:pt x="0" y="227"/>
                      </a:lnTo>
                      <a:lnTo>
                        <a:pt x="0" y="227"/>
                      </a:lnTo>
                      <a:lnTo>
                        <a:pt x="2" y="225"/>
                      </a:lnTo>
                      <a:lnTo>
                        <a:pt x="2" y="221"/>
                      </a:lnTo>
                      <a:lnTo>
                        <a:pt x="45" y="25"/>
                      </a:lnTo>
                      <a:lnTo>
                        <a:pt x="50" y="13"/>
                      </a:lnTo>
                      <a:lnTo>
                        <a:pt x="60" y="4"/>
                      </a:lnTo>
                      <a:lnTo>
                        <a:pt x="70" y="0"/>
                      </a:lnTo>
                      <a:close/>
                    </a:path>
                  </a:pathLst>
                </a:custGeom>
                <a:solidFill>
                  <a:srgbClr val="F2D2B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50" name="Freeform 442"/>
                <p:cNvSpPr>
                  <a:spLocks/>
                </p:cNvSpPr>
                <p:nvPr/>
              </p:nvSpPr>
              <p:spPr bwMode="auto">
                <a:xfrm>
                  <a:off x="1922463" y="3960813"/>
                  <a:ext cx="263525" cy="244475"/>
                </a:xfrm>
                <a:custGeom>
                  <a:avLst/>
                  <a:gdLst>
                    <a:gd name="T0" fmla="*/ 22 w 166"/>
                    <a:gd name="T1" fmla="*/ 0 h 154"/>
                    <a:gd name="T2" fmla="*/ 34 w 166"/>
                    <a:gd name="T3" fmla="*/ 3 h 154"/>
                    <a:gd name="T4" fmla="*/ 48 w 166"/>
                    <a:gd name="T5" fmla="*/ 6 h 154"/>
                    <a:gd name="T6" fmla="*/ 61 w 166"/>
                    <a:gd name="T7" fmla="*/ 12 h 154"/>
                    <a:gd name="T8" fmla="*/ 73 w 166"/>
                    <a:gd name="T9" fmla="*/ 16 h 154"/>
                    <a:gd name="T10" fmla="*/ 83 w 166"/>
                    <a:gd name="T11" fmla="*/ 17 h 154"/>
                    <a:gd name="T12" fmla="*/ 85 w 166"/>
                    <a:gd name="T13" fmla="*/ 17 h 154"/>
                    <a:gd name="T14" fmla="*/ 83 w 166"/>
                    <a:gd name="T15" fmla="*/ 20 h 154"/>
                    <a:gd name="T16" fmla="*/ 73 w 166"/>
                    <a:gd name="T17" fmla="*/ 19 h 154"/>
                    <a:gd name="T18" fmla="*/ 63 w 166"/>
                    <a:gd name="T19" fmla="*/ 17 h 154"/>
                    <a:gd name="T20" fmla="*/ 48 w 166"/>
                    <a:gd name="T21" fmla="*/ 20 h 154"/>
                    <a:gd name="T22" fmla="*/ 37 w 166"/>
                    <a:gd name="T23" fmla="*/ 30 h 154"/>
                    <a:gd name="T24" fmla="*/ 27 w 166"/>
                    <a:gd name="T25" fmla="*/ 48 h 154"/>
                    <a:gd name="T26" fmla="*/ 22 w 166"/>
                    <a:gd name="T27" fmla="*/ 67 h 154"/>
                    <a:gd name="T28" fmla="*/ 25 w 166"/>
                    <a:gd name="T29" fmla="*/ 86 h 154"/>
                    <a:gd name="T30" fmla="*/ 35 w 166"/>
                    <a:gd name="T31" fmla="*/ 102 h 154"/>
                    <a:gd name="T32" fmla="*/ 50 w 166"/>
                    <a:gd name="T33" fmla="*/ 113 h 154"/>
                    <a:gd name="T34" fmla="*/ 77 w 166"/>
                    <a:gd name="T35" fmla="*/ 125 h 154"/>
                    <a:gd name="T36" fmla="*/ 107 w 166"/>
                    <a:gd name="T37" fmla="*/ 131 h 154"/>
                    <a:gd name="T38" fmla="*/ 136 w 166"/>
                    <a:gd name="T39" fmla="*/ 134 h 154"/>
                    <a:gd name="T40" fmla="*/ 166 w 166"/>
                    <a:gd name="T41" fmla="*/ 137 h 154"/>
                    <a:gd name="T42" fmla="*/ 160 w 166"/>
                    <a:gd name="T43" fmla="*/ 139 h 154"/>
                    <a:gd name="T44" fmla="*/ 156 w 166"/>
                    <a:gd name="T45" fmla="*/ 142 h 154"/>
                    <a:gd name="T46" fmla="*/ 153 w 166"/>
                    <a:gd name="T47" fmla="*/ 148 h 154"/>
                    <a:gd name="T48" fmla="*/ 150 w 166"/>
                    <a:gd name="T49" fmla="*/ 154 h 154"/>
                    <a:gd name="T50" fmla="*/ 31 w 166"/>
                    <a:gd name="T51" fmla="*/ 134 h 154"/>
                    <a:gd name="T52" fmla="*/ 27 w 166"/>
                    <a:gd name="T53" fmla="*/ 134 h 154"/>
                    <a:gd name="T54" fmla="*/ 25 w 166"/>
                    <a:gd name="T55" fmla="*/ 134 h 154"/>
                    <a:gd name="T56" fmla="*/ 22 w 166"/>
                    <a:gd name="T57" fmla="*/ 132 h 154"/>
                    <a:gd name="T58" fmla="*/ 11 w 166"/>
                    <a:gd name="T59" fmla="*/ 128 h 154"/>
                    <a:gd name="T60" fmla="*/ 3 w 166"/>
                    <a:gd name="T61" fmla="*/ 118 h 154"/>
                    <a:gd name="T62" fmla="*/ 0 w 166"/>
                    <a:gd name="T63" fmla="*/ 103 h 154"/>
                    <a:gd name="T64" fmla="*/ 0 w 166"/>
                    <a:gd name="T65" fmla="*/ 99 h 154"/>
                    <a:gd name="T66" fmla="*/ 0 w 166"/>
                    <a:gd name="T67" fmla="*/ 99 h 154"/>
                    <a:gd name="T68" fmla="*/ 2 w 166"/>
                    <a:gd name="T69" fmla="*/ 97 h 154"/>
                    <a:gd name="T70" fmla="*/ 2 w 166"/>
                    <a:gd name="T71" fmla="*/ 93 h 154"/>
                    <a:gd name="T72" fmla="*/ 22 w 166"/>
                    <a:gd name="T73" fmla="*/ 0 h 1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66" h="154">
                      <a:moveTo>
                        <a:pt x="22" y="0"/>
                      </a:moveTo>
                      <a:lnTo>
                        <a:pt x="34" y="3"/>
                      </a:lnTo>
                      <a:lnTo>
                        <a:pt x="48" y="6"/>
                      </a:lnTo>
                      <a:lnTo>
                        <a:pt x="61" y="12"/>
                      </a:lnTo>
                      <a:lnTo>
                        <a:pt x="73" y="16"/>
                      </a:lnTo>
                      <a:lnTo>
                        <a:pt x="83" y="17"/>
                      </a:lnTo>
                      <a:lnTo>
                        <a:pt x="85" y="17"/>
                      </a:lnTo>
                      <a:lnTo>
                        <a:pt x="83" y="20"/>
                      </a:lnTo>
                      <a:lnTo>
                        <a:pt x="73" y="19"/>
                      </a:lnTo>
                      <a:lnTo>
                        <a:pt x="63" y="17"/>
                      </a:lnTo>
                      <a:lnTo>
                        <a:pt x="48" y="20"/>
                      </a:lnTo>
                      <a:lnTo>
                        <a:pt x="37" y="30"/>
                      </a:lnTo>
                      <a:lnTo>
                        <a:pt x="27" y="48"/>
                      </a:lnTo>
                      <a:lnTo>
                        <a:pt x="22" y="67"/>
                      </a:lnTo>
                      <a:lnTo>
                        <a:pt x="25" y="86"/>
                      </a:lnTo>
                      <a:lnTo>
                        <a:pt x="35" y="102"/>
                      </a:lnTo>
                      <a:lnTo>
                        <a:pt x="50" y="113"/>
                      </a:lnTo>
                      <a:lnTo>
                        <a:pt x="77" y="125"/>
                      </a:lnTo>
                      <a:lnTo>
                        <a:pt x="107" y="131"/>
                      </a:lnTo>
                      <a:lnTo>
                        <a:pt x="136" y="134"/>
                      </a:lnTo>
                      <a:lnTo>
                        <a:pt x="166" y="137"/>
                      </a:lnTo>
                      <a:lnTo>
                        <a:pt x="160" y="139"/>
                      </a:lnTo>
                      <a:lnTo>
                        <a:pt x="156" y="142"/>
                      </a:lnTo>
                      <a:lnTo>
                        <a:pt x="153" y="148"/>
                      </a:lnTo>
                      <a:lnTo>
                        <a:pt x="150" y="154"/>
                      </a:lnTo>
                      <a:lnTo>
                        <a:pt x="31" y="134"/>
                      </a:lnTo>
                      <a:lnTo>
                        <a:pt x="27" y="134"/>
                      </a:lnTo>
                      <a:lnTo>
                        <a:pt x="25" y="134"/>
                      </a:lnTo>
                      <a:lnTo>
                        <a:pt x="22" y="132"/>
                      </a:lnTo>
                      <a:lnTo>
                        <a:pt x="11" y="128"/>
                      </a:lnTo>
                      <a:lnTo>
                        <a:pt x="3" y="118"/>
                      </a:lnTo>
                      <a:lnTo>
                        <a:pt x="0" y="103"/>
                      </a:lnTo>
                      <a:lnTo>
                        <a:pt x="0" y="99"/>
                      </a:lnTo>
                      <a:lnTo>
                        <a:pt x="0" y="99"/>
                      </a:lnTo>
                      <a:lnTo>
                        <a:pt x="2" y="97"/>
                      </a:lnTo>
                      <a:lnTo>
                        <a:pt x="2" y="93"/>
                      </a:lnTo>
                      <a:lnTo>
                        <a:pt x="22" y="0"/>
                      </a:lnTo>
                      <a:close/>
                    </a:path>
                  </a:pathLst>
                </a:custGeom>
                <a:solidFill>
                  <a:srgbClr val="E6AD7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51" name="Freeform 443"/>
                <p:cNvSpPr>
                  <a:spLocks/>
                </p:cNvSpPr>
                <p:nvPr/>
              </p:nvSpPr>
              <p:spPr bwMode="auto">
                <a:xfrm>
                  <a:off x="1943101" y="3708400"/>
                  <a:ext cx="185738" cy="279400"/>
                </a:xfrm>
                <a:custGeom>
                  <a:avLst/>
                  <a:gdLst>
                    <a:gd name="T0" fmla="*/ 70 w 117"/>
                    <a:gd name="T1" fmla="*/ 0 h 176"/>
                    <a:gd name="T2" fmla="*/ 88 w 117"/>
                    <a:gd name="T3" fmla="*/ 0 h 176"/>
                    <a:gd name="T4" fmla="*/ 101 w 117"/>
                    <a:gd name="T5" fmla="*/ 8 h 176"/>
                    <a:gd name="T6" fmla="*/ 110 w 117"/>
                    <a:gd name="T7" fmla="*/ 18 h 176"/>
                    <a:gd name="T8" fmla="*/ 115 w 117"/>
                    <a:gd name="T9" fmla="*/ 31 h 176"/>
                    <a:gd name="T10" fmla="*/ 117 w 117"/>
                    <a:gd name="T11" fmla="*/ 47 h 176"/>
                    <a:gd name="T12" fmla="*/ 114 w 117"/>
                    <a:gd name="T13" fmla="*/ 63 h 176"/>
                    <a:gd name="T14" fmla="*/ 85 w 117"/>
                    <a:gd name="T15" fmla="*/ 162 h 176"/>
                    <a:gd name="T16" fmla="*/ 80 w 117"/>
                    <a:gd name="T17" fmla="*/ 172 h 176"/>
                    <a:gd name="T18" fmla="*/ 73 w 117"/>
                    <a:gd name="T19" fmla="*/ 176 h 176"/>
                    <a:gd name="T20" fmla="*/ 66 w 117"/>
                    <a:gd name="T21" fmla="*/ 176 h 176"/>
                    <a:gd name="T22" fmla="*/ 56 w 117"/>
                    <a:gd name="T23" fmla="*/ 173 h 176"/>
                    <a:gd name="T24" fmla="*/ 46 w 117"/>
                    <a:gd name="T25" fmla="*/ 169 h 176"/>
                    <a:gd name="T26" fmla="*/ 35 w 117"/>
                    <a:gd name="T27" fmla="*/ 165 h 176"/>
                    <a:gd name="T28" fmla="*/ 24 w 117"/>
                    <a:gd name="T29" fmla="*/ 163 h 176"/>
                    <a:gd name="T30" fmla="*/ 15 w 117"/>
                    <a:gd name="T31" fmla="*/ 160 h 176"/>
                    <a:gd name="T32" fmla="*/ 6 w 117"/>
                    <a:gd name="T33" fmla="*/ 159 h 176"/>
                    <a:gd name="T34" fmla="*/ 2 w 117"/>
                    <a:gd name="T35" fmla="*/ 155 h 176"/>
                    <a:gd name="T36" fmla="*/ 0 w 117"/>
                    <a:gd name="T37" fmla="*/ 147 h 176"/>
                    <a:gd name="T38" fmla="*/ 2 w 117"/>
                    <a:gd name="T39" fmla="*/ 136 h 176"/>
                    <a:gd name="T40" fmla="*/ 31 w 117"/>
                    <a:gd name="T41" fmla="*/ 38 h 176"/>
                    <a:gd name="T42" fmla="*/ 40 w 117"/>
                    <a:gd name="T43" fmla="*/ 19 h 176"/>
                    <a:gd name="T44" fmla="*/ 54 w 117"/>
                    <a:gd name="T45" fmla="*/ 6 h 176"/>
                    <a:gd name="T46" fmla="*/ 70 w 117"/>
                    <a:gd name="T47" fmla="*/ 0 h 1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17" h="176">
                      <a:moveTo>
                        <a:pt x="70" y="0"/>
                      </a:moveTo>
                      <a:lnTo>
                        <a:pt x="88" y="0"/>
                      </a:lnTo>
                      <a:lnTo>
                        <a:pt x="101" y="8"/>
                      </a:lnTo>
                      <a:lnTo>
                        <a:pt x="110" y="18"/>
                      </a:lnTo>
                      <a:lnTo>
                        <a:pt x="115" y="31"/>
                      </a:lnTo>
                      <a:lnTo>
                        <a:pt x="117" y="47"/>
                      </a:lnTo>
                      <a:lnTo>
                        <a:pt x="114" y="63"/>
                      </a:lnTo>
                      <a:lnTo>
                        <a:pt x="85" y="162"/>
                      </a:lnTo>
                      <a:lnTo>
                        <a:pt x="80" y="172"/>
                      </a:lnTo>
                      <a:lnTo>
                        <a:pt x="73" y="176"/>
                      </a:lnTo>
                      <a:lnTo>
                        <a:pt x="66" y="176"/>
                      </a:lnTo>
                      <a:lnTo>
                        <a:pt x="56" y="173"/>
                      </a:lnTo>
                      <a:lnTo>
                        <a:pt x="46" y="169"/>
                      </a:lnTo>
                      <a:lnTo>
                        <a:pt x="35" y="165"/>
                      </a:lnTo>
                      <a:lnTo>
                        <a:pt x="24" y="163"/>
                      </a:lnTo>
                      <a:lnTo>
                        <a:pt x="15" y="160"/>
                      </a:lnTo>
                      <a:lnTo>
                        <a:pt x="6" y="159"/>
                      </a:lnTo>
                      <a:lnTo>
                        <a:pt x="2" y="155"/>
                      </a:lnTo>
                      <a:lnTo>
                        <a:pt x="0" y="147"/>
                      </a:lnTo>
                      <a:lnTo>
                        <a:pt x="2" y="136"/>
                      </a:lnTo>
                      <a:lnTo>
                        <a:pt x="31" y="38"/>
                      </a:lnTo>
                      <a:lnTo>
                        <a:pt x="40" y="19"/>
                      </a:lnTo>
                      <a:lnTo>
                        <a:pt x="54" y="6"/>
                      </a:lnTo>
                      <a:lnTo>
                        <a:pt x="70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52" name="Freeform 444"/>
                <p:cNvSpPr>
                  <a:spLocks/>
                </p:cNvSpPr>
                <p:nvPr/>
              </p:nvSpPr>
              <p:spPr bwMode="auto">
                <a:xfrm>
                  <a:off x="1943101" y="3708400"/>
                  <a:ext cx="185738" cy="279400"/>
                </a:xfrm>
                <a:custGeom>
                  <a:avLst/>
                  <a:gdLst>
                    <a:gd name="T0" fmla="*/ 70 w 117"/>
                    <a:gd name="T1" fmla="*/ 0 h 176"/>
                    <a:gd name="T2" fmla="*/ 88 w 117"/>
                    <a:gd name="T3" fmla="*/ 0 h 176"/>
                    <a:gd name="T4" fmla="*/ 101 w 117"/>
                    <a:gd name="T5" fmla="*/ 8 h 176"/>
                    <a:gd name="T6" fmla="*/ 110 w 117"/>
                    <a:gd name="T7" fmla="*/ 18 h 176"/>
                    <a:gd name="T8" fmla="*/ 115 w 117"/>
                    <a:gd name="T9" fmla="*/ 31 h 176"/>
                    <a:gd name="T10" fmla="*/ 117 w 117"/>
                    <a:gd name="T11" fmla="*/ 47 h 176"/>
                    <a:gd name="T12" fmla="*/ 114 w 117"/>
                    <a:gd name="T13" fmla="*/ 63 h 176"/>
                    <a:gd name="T14" fmla="*/ 85 w 117"/>
                    <a:gd name="T15" fmla="*/ 162 h 176"/>
                    <a:gd name="T16" fmla="*/ 80 w 117"/>
                    <a:gd name="T17" fmla="*/ 172 h 176"/>
                    <a:gd name="T18" fmla="*/ 73 w 117"/>
                    <a:gd name="T19" fmla="*/ 176 h 176"/>
                    <a:gd name="T20" fmla="*/ 66 w 117"/>
                    <a:gd name="T21" fmla="*/ 176 h 176"/>
                    <a:gd name="T22" fmla="*/ 56 w 117"/>
                    <a:gd name="T23" fmla="*/ 173 h 176"/>
                    <a:gd name="T24" fmla="*/ 46 w 117"/>
                    <a:gd name="T25" fmla="*/ 169 h 176"/>
                    <a:gd name="T26" fmla="*/ 35 w 117"/>
                    <a:gd name="T27" fmla="*/ 165 h 176"/>
                    <a:gd name="T28" fmla="*/ 24 w 117"/>
                    <a:gd name="T29" fmla="*/ 163 h 176"/>
                    <a:gd name="T30" fmla="*/ 15 w 117"/>
                    <a:gd name="T31" fmla="*/ 160 h 176"/>
                    <a:gd name="T32" fmla="*/ 6 w 117"/>
                    <a:gd name="T33" fmla="*/ 159 h 176"/>
                    <a:gd name="T34" fmla="*/ 2 w 117"/>
                    <a:gd name="T35" fmla="*/ 155 h 176"/>
                    <a:gd name="T36" fmla="*/ 0 w 117"/>
                    <a:gd name="T37" fmla="*/ 147 h 176"/>
                    <a:gd name="T38" fmla="*/ 2 w 117"/>
                    <a:gd name="T39" fmla="*/ 136 h 176"/>
                    <a:gd name="T40" fmla="*/ 31 w 117"/>
                    <a:gd name="T41" fmla="*/ 38 h 176"/>
                    <a:gd name="T42" fmla="*/ 40 w 117"/>
                    <a:gd name="T43" fmla="*/ 19 h 176"/>
                    <a:gd name="T44" fmla="*/ 54 w 117"/>
                    <a:gd name="T45" fmla="*/ 6 h 176"/>
                    <a:gd name="T46" fmla="*/ 70 w 117"/>
                    <a:gd name="T47" fmla="*/ 0 h 1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17" h="176">
                      <a:moveTo>
                        <a:pt x="70" y="0"/>
                      </a:moveTo>
                      <a:lnTo>
                        <a:pt x="88" y="0"/>
                      </a:lnTo>
                      <a:lnTo>
                        <a:pt x="101" y="8"/>
                      </a:lnTo>
                      <a:lnTo>
                        <a:pt x="110" y="18"/>
                      </a:lnTo>
                      <a:lnTo>
                        <a:pt x="115" y="31"/>
                      </a:lnTo>
                      <a:lnTo>
                        <a:pt x="117" y="47"/>
                      </a:lnTo>
                      <a:lnTo>
                        <a:pt x="114" y="63"/>
                      </a:lnTo>
                      <a:lnTo>
                        <a:pt x="85" y="162"/>
                      </a:lnTo>
                      <a:lnTo>
                        <a:pt x="80" y="172"/>
                      </a:lnTo>
                      <a:lnTo>
                        <a:pt x="73" y="176"/>
                      </a:lnTo>
                      <a:lnTo>
                        <a:pt x="66" y="176"/>
                      </a:lnTo>
                      <a:lnTo>
                        <a:pt x="56" y="173"/>
                      </a:lnTo>
                      <a:lnTo>
                        <a:pt x="46" y="169"/>
                      </a:lnTo>
                      <a:lnTo>
                        <a:pt x="35" y="165"/>
                      </a:lnTo>
                      <a:lnTo>
                        <a:pt x="24" y="163"/>
                      </a:lnTo>
                      <a:lnTo>
                        <a:pt x="15" y="160"/>
                      </a:lnTo>
                      <a:lnTo>
                        <a:pt x="6" y="159"/>
                      </a:lnTo>
                      <a:lnTo>
                        <a:pt x="2" y="155"/>
                      </a:lnTo>
                      <a:lnTo>
                        <a:pt x="0" y="147"/>
                      </a:lnTo>
                      <a:lnTo>
                        <a:pt x="2" y="136"/>
                      </a:lnTo>
                      <a:lnTo>
                        <a:pt x="31" y="38"/>
                      </a:lnTo>
                      <a:lnTo>
                        <a:pt x="40" y="19"/>
                      </a:lnTo>
                      <a:lnTo>
                        <a:pt x="54" y="6"/>
                      </a:lnTo>
                      <a:lnTo>
                        <a:pt x="70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53" name="Freeform 445"/>
                <p:cNvSpPr>
                  <a:spLocks/>
                </p:cNvSpPr>
                <p:nvPr/>
              </p:nvSpPr>
              <p:spPr bwMode="auto">
                <a:xfrm>
                  <a:off x="1943101" y="3924300"/>
                  <a:ext cx="3175" cy="12700"/>
                </a:xfrm>
                <a:custGeom>
                  <a:avLst/>
                  <a:gdLst>
                    <a:gd name="T0" fmla="*/ 2 w 2"/>
                    <a:gd name="T1" fmla="*/ 0 h 8"/>
                    <a:gd name="T2" fmla="*/ 0 w 2"/>
                    <a:gd name="T3" fmla="*/ 4 h 8"/>
                    <a:gd name="T4" fmla="*/ 0 w 2"/>
                    <a:gd name="T5" fmla="*/ 8 h 8"/>
                    <a:gd name="T6" fmla="*/ 0 w 2"/>
                    <a:gd name="T7" fmla="*/ 4 h 8"/>
                    <a:gd name="T8" fmla="*/ 2 w 2"/>
                    <a:gd name="T9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8">
                      <a:moveTo>
                        <a:pt x="2" y="0"/>
                      </a:moveTo>
                      <a:lnTo>
                        <a:pt x="0" y="4"/>
                      </a:lnTo>
                      <a:lnTo>
                        <a:pt x="0" y="8"/>
                      </a:lnTo>
                      <a:lnTo>
                        <a:pt x="0" y="4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07040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54" name="Freeform 446"/>
                <p:cNvSpPr>
                  <a:spLocks/>
                </p:cNvSpPr>
                <p:nvPr/>
              </p:nvSpPr>
              <p:spPr bwMode="auto">
                <a:xfrm>
                  <a:off x="1943101" y="3706813"/>
                  <a:ext cx="130175" cy="254000"/>
                </a:xfrm>
                <a:custGeom>
                  <a:avLst/>
                  <a:gdLst>
                    <a:gd name="T0" fmla="*/ 78 w 82"/>
                    <a:gd name="T1" fmla="*/ 0 h 160"/>
                    <a:gd name="T2" fmla="*/ 82 w 82"/>
                    <a:gd name="T3" fmla="*/ 0 h 160"/>
                    <a:gd name="T4" fmla="*/ 72 w 82"/>
                    <a:gd name="T5" fmla="*/ 6 h 160"/>
                    <a:gd name="T6" fmla="*/ 64 w 82"/>
                    <a:gd name="T7" fmla="*/ 12 h 160"/>
                    <a:gd name="T8" fmla="*/ 57 w 82"/>
                    <a:gd name="T9" fmla="*/ 19 h 160"/>
                    <a:gd name="T10" fmla="*/ 50 w 82"/>
                    <a:gd name="T11" fmla="*/ 29 h 160"/>
                    <a:gd name="T12" fmla="*/ 43 w 82"/>
                    <a:gd name="T13" fmla="*/ 44 h 160"/>
                    <a:gd name="T14" fmla="*/ 35 w 82"/>
                    <a:gd name="T15" fmla="*/ 64 h 160"/>
                    <a:gd name="T16" fmla="*/ 21 w 82"/>
                    <a:gd name="T17" fmla="*/ 112 h 160"/>
                    <a:gd name="T18" fmla="*/ 6 w 82"/>
                    <a:gd name="T19" fmla="*/ 160 h 160"/>
                    <a:gd name="T20" fmla="*/ 3 w 82"/>
                    <a:gd name="T21" fmla="*/ 158 h 160"/>
                    <a:gd name="T22" fmla="*/ 2 w 82"/>
                    <a:gd name="T23" fmla="*/ 156 h 160"/>
                    <a:gd name="T24" fmla="*/ 0 w 82"/>
                    <a:gd name="T25" fmla="*/ 153 h 160"/>
                    <a:gd name="T26" fmla="*/ 0 w 82"/>
                    <a:gd name="T27" fmla="*/ 150 h 160"/>
                    <a:gd name="T28" fmla="*/ 0 w 82"/>
                    <a:gd name="T29" fmla="*/ 145 h 160"/>
                    <a:gd name="T30" fmla="*/ 0 w 82"/>
                    <a:gd name="T31" fmla="*/ 145 h 160"/>
                    <a:gd name="T32" fmla="*/ 0 w 82"/>
                    <a:gd name="T33" fmla="*/ 145 h 160"/>
                    <a:gd name="T34" fmla="*/ 0 w 82"/>
                    <a:gd name="T35" fmla="*/ 145 h 160"/>
                    <a:gd name="T36" fmla="*/ 0 w 82"/>
                    <a:gd name="T37" fmla="*/ 145 h 160"/>
                    <a:gd name="T38" fmla="*/ 0 w 82"/>
                    <a:gd name="T39" fmla="*/ 145 h 160"/>
                    <a:gd name="T40" fmla="*/ 0 w 82"/>
                    <a:gd name="T41" fmla="*/ 145 h 160"/>
                    <a:gd name="T42" fmla="*/ 0 w 82"/>
                    <a:gd name="T43" fmla="*/ 145 h 160"/>
                    <a:gd name="T44" fmla="*/ 0 w 82"/>
                    <a:gd name="T45" fmla="*/ 145 h 160"/>
                    <a:gd name="T46" fmla="*/ 0 w 82"/>
                    <a:gd name="T47" fmla="*/ 145 h 160"/>
                    <a:gd name="T48" fmla="*/ 0 w 82"/>
                    <a:gd name="T49" fmla="*/ 145 h 160"/>
                    <a:gd name="T50" fmla="*/ 0 w 82"/>
                    <a:gd name="T51" fmla="*/ 141 h 160"/>
                    <a:gd name="T52" fmla="*/ 2 w 82"/>
                    <a:gd name="T53" fmla="*/ 137 h 160"/>
                    <a:gd name="T54" fmla="*/ 31 w 82"/>
                    <a:gd name="T55" fmla="*/ 39 h 160"/>
                    <a:gd name="T56" fmla="*/ 38 w 82"/>
                    <a:gd name="T57" fmla="*/ 23 h 160"/>
                    <a:gd name="T58" fmla="*/ 50 w 82"/>
                    <a:gd name="T59" fmla="*/ 10 h 160"/>
                    <a:gd name="T60" fmla="*/ 63 w 82"/>
                    <a:gd name="T61" fmla="*/ 3 h 160"/>
                    <a:gd name="T62" fmla="*/ 78 w 82"/>
                    <a:gd name="T63" fmla="*/ 0 h 1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82" h="160">
                      <a:moveTo>
                        <a:pt x="78" y="0"/>
                      </a:moveTo>
                      <a:lnTo>
                        <a:pt x="82" y="0"/>
                      </a:lnTo>
                      <a:lnTo>
                        <a:pt x="72" y="6"/>
                      </a:lnTo>
                      <a:lnTo>
                        <a:pt x="64" y="12"/>
                      </a:lnTo>
                      <a:lnTo>
                        <a:pt x="57" y="19"/>
                      </a:lnTo>
                      <a:lnTo>
                        <a:pt x="50" y="29"/>
                      </a:lnTo>
                      <a:lnTo>
                        <a:pt x="43" y="44"/>
                      </a:lnTo>
                      <a:lnTo>
                        <a:pt x="35" y="64"/>
                      </a:lnTo>
                      <a:lnTo>
                        <a:pt x="21" y="112"/>
                      </a:lnTo>
                      <a:lnTo>
                        <a:pt x="6" y="160"/>
                      </a:lnTo>
                      <a:lnTo>
                        <a:pt x="3" y="158"/>
                      </a:lnTo>
                      <a:lnTo>
                        <a:pt x="2" y="156"/>
                      </a:lnTo>
                      <a:lnTo>
                        <a:pt x="0" y="153"/>
                      </a:lnTo>
                      <a:lnTo>
                        <a:pt x="0" y="150"/>
                      </a:lnTo>
                      <a:lnTo>
                        <a:pt x="0" y="145"/>
                      </a:lnTo>
                      <a:lnTo>
                        <a:pt x="0" y="145"/>
                      </a:lnTo>
                      <a:lnTo>
                        <a:pt x="0" y="145"/>
                      </a:lnTo>
                      <a:lnTo>
                        <a:pt x="0" y="145"/>
                      </a:lnTo>
                      <a:lnTo>
                        <a:pt x="0" y="145"/>
                      </a:lnTo>
                      <a:lnTo>
                        <a:pt x="0" y="145"/>
                      </a:lnTo>
                      <a:lnTo>
                        <a:pt x="0" y="145"/>
                      </a:lnTo>
                      <a:lnTo>
                        <a:pt x="0" y="145"/>
                      </a:lnTo>
                      <a:lnTo>
                        <a:pt x="0" y="145"/>
                      </a:lnTo>
                      <a:lnTo>
                        <a:pt x="0" y="145"/>
                      </a:lnTo>
                      <a:lnTo>
                        <a:pt x="0" y="145"/>
                      </a:lnTo>
                      <a:lnTo>
                        <a:pt x="0" y="141"/>
                      </a:lnTo>
                      <a:lnTo>
                        <a:pt x="2" y="137"/>
                      </a:lnTo>
                      <a:lnTo>
                        <a:pt x="31" y="39"/>
                      </a:lnTo>
                      <a:lnTo>
                        <a:pt x="38" y="23"/>
                      </a:lnTo>
                      <a:lnTo>
                        <a:pt x="50" y="10"/>
                      </a:lnTo>
                      <a:lnTo>
                        <a:pt x="63" y="3"/>
                      </a:lnTo>
                      <a:lnTo>
                        <a:pt x="78" y="0"/>
                      </a:lnTo>
                      <a:close/>
                    </a:path>
                  </a:pathLst>
                </a:custGeom>
                <a:solidFill>
                  <a:srgbClr val="FFA01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55" name="Freeform 447"/>
                <p:cNvSpPr>
                  <a:spLocks/>
                </p:cNvSpPr>
                <p:nvPr/>
              </p:nvSpPr>
              <p:spPr bwMode="auto">
                <a:xfrm>
                  <a:off x="2424113" y="4132263"/>
                  <a:ext cx="128588" cy="61913"/>
                </a:xfrm>
                <a:custGeom>
                  <a:avLst/>
                  <a:gdLst>
                    <a:gd name="T0" fmla="*/ 15 w 81"/>
                    <a:gd name="T1" fmla="*/ 0 h 39"/>
                    <a:gd name="T2" fmla="*/ 67 w 81"/>
                    <a:gd name="T3" fmla="*/ 0 h 39"/>
                    <a:gd name="T4" fmla="*/ 71 w 81"/>
                    <a:gd name="T5" fmla="*/ 1 h 39"/>
                    <a:gd name="T6" fmla="*/ 76 w 81"/>
                    <a:gd name="T7" fmla="*/ 4 h 39"/>
                    <a:gd name="T8" fmla="*/ 79 w 81"/>
                    <a:gd name="T9" fmla="*/ 8 h 39"/>
                    <a:gd name="T10" fmla="*/ 80 w 81"/>
                    <a:gd name="T11" fmla="*/ 13 h 39"/>
                    <a:gd name="T12" fmla="*/ 81 w 81"/>
                    <a:gd name="T13" fmla="*/ 18 h 39"/>
                    <a:gd name="T14" fmla="*/ 80 w 81"/>
                    <a:gd name="T15" fmla="*/ 26 h 39"/>
                    <a:gd name="T16" fmla="*/ 79 w 81"/>
                    <a:gd name="T17" fmla="*/ 30 h 39"/>
                    <a:gd name="T18" fmla="*/ 76 w 81"/>
                    <a:gd name="T19" fmla="*/ 34 h 39"/>
                    <a:gd name="T20" fmla="*/ 71 w 81"/>
                    <a:gd name="T21" fmla="*/ 37 h 39"/>
                    <a:gd name="T22" fmla="*/ 67 w 81"/>
                    <a:gd name="T23" fmla="*/ 39 h 39"/>
                    <a:gd name="T24" fmla="*/ 15 w 81"/>
                    <a:gd name="T25" fmla="*/ 39 h 39"/>
                    <a:gd name="T26" fmla="*/ 10 w 81"/>
                    <a:gd name="T27" fmla="*/ 37 h 39"/>
                    <a:gd name="T28" fmla="*/ 6 w 81"/>
                    <a:gd name="T29" fmla="*/ 34 h 39"/>
                    <a:gd name="T30" fmla="*/ 3 w 81"/>
                    <a:gd name="T31" fmla="*/ 30 h 39"/>
                    <a:gd name="T32" fmla="*/ 1 w 81"/>
                    <a:gd name="T33" fmla="*/ 26 h 39"/>
                    <a:gd name="T34" fmla="*/ 0 w 81"/>
                    <a:gd name="T35" fmla="*/ 18 h 39"/>
                    <a:gd name="T36" fmla="*/ 1 w 81"/>
                    <a:gd name="T37" fmla="*/ 13 h 39"/>
                    <a:gd name="T38" fmla="*/ 3 w 81"/>
                    <a:gd name="T39" fmla="*/ 8 h 39"/>
                    <a:gd name="T40" fmla="*/ 6 w 81"/>
                    <a:gd name="T41" fmla="*/ 4 h 39"/>
                    <a:gd name="T42" fmla="*/ 10 w 81"/>
                    <a:gd name="T43" fmla="*/ 1 h 39"/>
                    <a:gd name="T44" fmla="*/ 15 w 81"/>
                    <a:gd name="T45" fmla="*/ 0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81" h="39">
                      <a:moveTo>
                        <a:pt x="15" y="0"/>
                      </a:moveTo>
                      <a:lnTo>
                        <a:pt x="67" y="0"/>
                      </a:lnTo>
                      <a:lnTo>
                        <a:pt x="71" y="1"/>
                      </a:lnTo>
                      <a:lnTo>
                        <a:pt x="76" y="4"/>
                      </a:lnTo>
                      <a:lnTo>
                        <a:pt x="79" y="8"/>
                      </a:lnTo>
                      <a:lnTo>
                        <a:pt x="80" y="13"/>
                      </a:lnTo>
                      <a:lnTo>
                        <a:pt x="81" y="18"/>
                      </a:lnTo>
                      <a:lnTo>
                        <a:pt x="80" y="26"/>
                      </a:lnTo>
                      <a:lnTo>
                        <a:pt x="79" y="30"/>
                      </a:lnTo>
                      <a:lnTo>
                        <a:pt x="76" y="34"/>
                      </a:lnTo>
                      <a:lnTo>
                        <a:pt x="71" y="37"/>
                      </a:lnTo>
                      <a:lnTo>
                        <a:pt x="67" y="39"/>
                      </a:lnTo>
                      <a:lnTo>
                        <a:pt x="15" y="39"/>
                      </a:lnTo>
                      <a:lnTo>
                        <a:pt x="10" y="37"/>
                      </a:lnTo>
                      <a:lnTo>
                        <a:pt x="6" y="34"/>
                      </a:lnTo>
                      <a:lnTo>
                        <a:pt x="3" y="30"/>
                      </a:lnTo>
                      <a:lnTo>
                        <a:pt x="1" y="26"/>
                      </a:lnTo>
                      <a:lnTo>
                        <a:pt x="0" y="18"/>
                      </a:lnTo>
                      <a:lnTo>
                        <a:pt x="1" y="13"/>
                      </a:lnTo>
                      <a:lnTo>
                        <a:pt x="3" y="8"/>
                      </a:lnTo>
                      <a:lnTo>
                        <a:pt x="6" y="4"/>
                      </a:lnTo>
                      <a:lnTo>
                        <a:pt x="10" y="1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2D2B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56" name="Freeform 448"/>
                <p:cNvSpPr>
                  <a:spLocks/>
                </p:cNvSpPr>
                <p:nvPr/>
              </p:nvSpPr>
              <p:spPr bwMode="auto">
                <a:xfrm>
                  <a:off x="2160588" y="4175125"/>
                  <a:ext cx="549275" cy="74613"/>
                </a:xfrm>
                <a:custGeom>
                  <a:avLst/>
                  <a:gdLst>
                    <a:gd name="T0" fmla="*/ 23 w 346"/>
                    <a:gd name="T1" fmla="*/ 0 h 47"/>
                    <a:gd name="T2" fmla="*/ 323 w 346"/>
                    <a:gd name="T3" fmla="*/ 0 h 47"/>
                    <a:gd name="T4" fmla="*/ 335 w 346"/>
                    <a:gd name="T5" fmla="*/ 3 h 47"/>
                    <a:gd name="T6" fmla="*/ 343 w 346"/>
                    <a:gd name="T7" fmla="*/ 12 h 47"/>
                    <a:gd name="T8" fmla="*/ 346 w 346"/>
                    <a:gd name="T9" fmla="*/ 23 h 47"/>
                    <a:gd name="T10" fmla="*/ 343 w 346"/>
                    <a:gd name="T11" fmla="*/ 35 h 47"/>
                    <a:gd name="T12" fmla="*/ 335 w 346"/>
                    <a:gd name="T13" fmla="*/ 44 h 47"/>
                    <a:gd name="T14" fmla="*/ 323 w 346"/>
                    <a:gd name="T15" fmla="*/ 47 h 47"/>
                    <a:gd name="T16" fmla="*/ 23 w 346"/>
                    <a:gd name="T17" fmla="*/ 47 h 47"/>
                    <a:gd name="T18" fmla="*/ 12 w 346"/>
                    <a:gd name="T19" fmla="*/ 44 h 47"/>
                    <a:gd name="T20" fmla="*/ 3 w 346"/>
                    <a:gd name="T21" fmla="*/ 35 h 47"/>
                    <a:gd name="T22" fmla="*/ 0 w 346"/>
                    <a:gd name="T23" fmla="*/ 23 h 47"/>
                    <a:gd name="T24" fmla="*/ 3 w 346"/>
                    <a:gd name="T25" fmla="*/ 12 h 47"/>
                    <a:gd name="T26" fmla="*/ 12 w 346"/>
                    <a:gd name="T27" fmla="*/ 3 h 47"/>
                    <a:gd name="T28" fmla="*/ 23 w 346"/>
                    <a:gd name="T29" fmla="*/ 0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46" h="47">
                      <a:moveTo>
                        <a:pt x="23" y="0"/>
                      </a:moveTo>
                      <a:lnTo>
                        <a:pt x="323" y="0"/>
                      </a:lnTo>
                      <a:lnTo>
                        <a:pt x="335" y="3"/>
                      </a:lnTo>
                      <a:lnTo>
                        <a:pt x="343" y="12"/>
                      </a:lnTo>
                      <a:lnTo>
                        <a:pt x="346" y="23"/>
                      </a:lnTo>
                      <a:lnTo>
                        <a:pt x="343" y="35"/>
                      </a:lnTo>
                      <a:lnTo>
                        <a:pt x="335" y="44"/>
                      </a:lnTo>
                      <a:lnTo>
                        <a:pt x="323" y="47"/>
                      </a:lnTo>
                      <a:lnTo>
                        <a:pt x="23" y="47"/>
                      </a:lnTo>
                      <a:lnTo>
                        <a:pt x="12" y="44"/>
                      </a:lnTo>
                      <a:lnTo>
                        <a:pt x="3" y="35"/>
                      </a:lnTo>
                      <a:lnTo>
                        <a:pt x="0" y="23"/>
                      </a:lnTo>
                      <a:lnTo>
                        <a:pt x="3" y="12"/>
                      </a:lnTo>
                      <a:lnTo>
                        <a:pt x="12" y="3"/>
                      </a:lnTo>
                      <a:lnTo>
                        <a:pt x="23" y="0"/>
                      </a:lnTo>
                      <a:close/>
                    </a:path>
                  </a:pathLst>
                </a:custGeom>
                <a:solidFill>
                  <a:srgbClr val="FFF0D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57" name="Freeform 449"/>
                <p:cNvSpPr>
                  <a:spLocks/>
                </p:cNvSpPr>
                <p:nvPr/>
              </p:nvSpPr>
              <p:spPr bwMode="auto">
                <a:xfrm>
                  <a:off x="2160588" y="4175125"/>
                  <a:ext cx="238125" cy="74613"/>
                </a:xfrm>
                <a:custGeom>
                  <a:avLst/>
                  <a:gdLst>
                    <a:gd name="T0" fmla="*/ 23 w 150"/>
                    <a:gd name="T1" fmla="*/ 0 h 47"/>
                    <a:gd name="T2" fmla="*/ 150 w 150"/>
                    <a:gd name="T3" fmla="*/ 0 h 47"/>
                    <a:gd name="T4" fmla="*/ 141 w 150"/>
                    <a:gd name="T5" fmla="*/ 35 h 47"/>
                    <a:gd name="T6" fmla="*/ 141 w 150"/>
                    <a:gd name="T7" fmla="*/ 36 h 47"/>
                    <a:gd name="T8" fmla="*/ 141 w 150"/>
                    <a:gd name="T9" fmla="*/ 39 h 47"/>
                    <a:gd name="T10" fmla="*/ 141 w 150"/>
                    <a:gd name="T11" fmla="*/ 42 h 47"/>
                    <a:gd name="T12" fmla="*/ 143 w 150"/>
                    <a:gd name="T13" fmla="*/ 45 h 47"/>
                    <a:gd name="T14" fmla="*/ 144 w 150"/>
                    <a:gd name="T15" fmla="*/ 47 h 47"/>
                    <a:gd name="T16" fmla="*/ 23 w 150"/>
                    <a:gd name="T17" fmla="*/ 47 h 47"/>
                    <a:gd name="T18" fmla="*/ 12 w 150"/>
                    <a:gd name="T19" fmla="*/ 44 h 47"/>
                    <a:gd name="T20" fmla="*/ 3 w 150"/>
                    <a:gd name="T21" fmla="*/ 35 h 47"/>
                    <a:gd name="T22" fmla="*/ 0 w 150"/>
                    <a:gd name="T23" fmla="*/ 23 h 47"/>
                    <a:gd name="T24" fmla="*/ 3 w 150"/>
                    <a:gd name="T25" fmla="*/ 12 h 47"/>
                    <a:gd name="T26" fmla="*/ 12 w 150"/>
                    <a:gd name="T27" fmla="*/ 3 h 47"/>
                    <a:gd name="T28" fmla="*/ 23 w 150"/>
                    <a:gd name="T29" fmla="*/ 0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0" h="47">
                      <a:moveTo>
                        <a:pt x="23" y="0"/>
                      </a:moveTo>
                      <a:lnTo>
                        <a:pt x="150" y="0"/>
                      </a:lnTo>
                      <a:lnTo>
                        <a:pt x="141" y="35"/>
                      </a:lnTo>
                      <a:lnTo>
                        <a:pt x="141" y="36"/>
                      </a:lnTo>
                      <a:lnTo>
                        <a:pt x="141" y="39"/>
                      </a:lnTo>
                      <a:lnTo>
                        <a:pt x="141" y="42"/>
                      </a:lnTo>
                      <a:lnTo>
                        <a:pt x="143" y="45"/>
                      </a:lnTo>
                      <a:lnTo>
                        <a:pt x="144" y="47"/>
                      </a:lnTo>
                      <a:lnTo>
                        <a:pt x="23" y="47"/>
                      </a:lnTo>
                      <a:lnTo>
                        <a:pt x="12" y="44"/>
                      </a:lnTo>
                      <a:lnTo>
                        <a:pt x="3" y="35"/>
                      </a:lnTo>
                      <a:lnTo>
                        <a:pt x="0" y="23"/>
                      </a:lnTo>
                      <a:lnTo>
                        <a:pt x="3" y="12"/>
                      </a:lnTo>
                      <a:lnTo>
                        <a:pt x="12" y="3"/>
                      </a:lnTo>
                      <a:lnTo>
                        <a:pt x="23" y="0"/>
                      </a:lnTo>
                      <a:close/>
                    </a:path>
                  </a:pathLst>
                </a:custGeom>
                <a:solidFill>
                  <a:srgbClr val="FFE2B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58" name="Freeform 450"/>
                <p:cNvSpPr>
                  <a:spLocks/>
                </p:cNvSpPr>
                <p:nvPr/>
              </p:nvSpPr>
              <p:spPr bwMode="auto">
                <a:xfrm>
                  <a:off x="2262188" y="3814763"/>
                  <a:ext cx="214313" cy="193675"/>
                </a:xfrm>
                <a:custGeom>
                  <a:avLst/>
                  <a:gdLst>
                    <a:gd name="T0" fmla="*/ 69 w 135"/>
                    <a:gd name="T1" fmla="*/ 0 h 122"/>
                    <a:gd name="T2" fmla="*/ 89 w 135"/>
                    <a:gd name="T3" fmla="*/ 3 h 122"/>
                    <a:gd name="T4" fmla="*/ 108 w 135"/>
                    <a:gd name="T5" fmla="*/ 12 h 122"/>
                    <a:gd name="T6" fmla="*/ 122 w 135"/>
                    <a:gd name="T7" fmla="*/ 25 h 122"/>
                    <a:gd name="T8" fmla="*/ 133 w 135"/>
                    <a:gd name="T9" fmla="*/ 43 h 122"/>
                    <a:gd name="T10" fmla="*/ 135 w 135"/>
                    <a:gd name="T11" fmla="*/ 61 h 122"/>
                    <a:gd name="T12" fmla="*/ 133 w 135"/>
                    <a:gd name="T13" fmla="*/ 82 h 122"/>
                    <a:gd name="T14" fmla="*/ 122 w 135"/>
                    <a:gd name="T15" fmla="*/ 98 h 122"/>
                    <a:gd name="T16" fmla="*/ 108 w 135"/>
                    <a:gd name="T17" fmla="*/ 111 h 122"/>
                    <a:gd name="T18" fmla="*/ 89 w 135"/>
                    <a:gd name="T19" fmla="*/ 120 h 122"/>
                    <a:gd name="T20" fmla="*/ 69 w 135"/>
                    <a:gd name="T21" fmla="*/ 122 h 122"/>
                    <a:gd name="T22" fmla="*/ 47 w 135"/>
                    <a:gd name="T23" fmla="*/ 120 h 122"/>
                    <a:gd name="T24" fmla="*/ 28 w 135"/>
                    <a:gd name="T25" fmla="*/ 111 h 122"/>
                    <a:gd name="T26" fmla="*/ 13 w 135"/>
                    <a:gd name="T27" fmla="*/ 98 h 122"/>
                    <a:gd name="T28" fmla="*/ 5 w 135"/>
                    <a:gd name="T29" fmla="*/ 82 h 122"/>
                    <a:gd name="T30" fmla="*/ 0 w 135"/>
                    <a:gd name="T31" fmla="*/ 61 h 122"/>
                    <a:gd name="T32" fmla="*/ 5 w 135"/>
                    <a:gd name="T33" fmla="*/ 43 h 122"/>
                    <a:gd name="T34" fmla="*/ 13 w 135"/>
                    <a:gd name="T35" fmla="*/ 25 h 122"/>
                    <a:gd name="T36" fmla="*/ 28 w 135"/>
                    <a:gd name="T37" fmla="*/ 12 h 122"/>
                    <a:gd name="T38" fmla="*/ 47 w 135"/>
                    <a:gd name="T39" fmla="*/ 3 h 122"/>
                    <a:gd name="T40" fmla="*/ 69 w 135"/>
                    <a:gd name="T41" fmla="*/ 0 h 1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35" h="122">
                      <a:moveTo>
                        <a:pt x="69" y="0"/>
                      </a:moveTo>
                      <a:lnTo>
                        <a:pt x="89" y="3"/>
                      </a:lnTo>
                      <a:lnTo>
                        <a:pt x="108" y="12"/>
                      </a:lnTo>
                      <a:lnTo>
                        <a:pt x="122" y="25"/>
                      </a:lnTo>
                      <a:lnTo>
                        <a:pt x="133" y="43"/>
                      </a:lnTo>
                      <a:lnTo>
                        <a:pt x="135" y="61"/>
                      </a:lnTo>
                      <a:lnTo>
                        <a:pt x="133" y="82"/>
                      </a:lnTo>
                      <a:lnTo>
                        <a:pt x="122" y="98"/>
                      </a:lnTo>
                      <a:lnTo>
                        <a:pt x="108" y="111"/>
                      </a:lnTo>
                      <a:lnTo>
                        <a:pt x="89" y="120"/>
                      </a:lnTo>
                      <a:lnTo>
                        <a:pt x="69" y="122"/>
                      </a:lnTo>
                      <a:lnTo>
                        <a:pt x="47" y="120"/>
                      </a:lnTo>
                      <a:lnTo>
                        <a:pt x="28" y="111"/>
                      </a:lnTo>
                      <a:lnTo>
                        <a:pt x="13" y="98"/>
                      </a:lnTo>
                      <a:lnTo>
                        <a:pt x="5" y="82"/>
                      </a:lnTo>
                      <a:lnTo>
                        <a:pt x="0" y="61"/>
                      </a:lnTo>
                      <a:lnTo>
                        <a:pt x="5" y="43"/>
                      </a:lnTo>
                      <a:lnTo>
                        <a:pt x="13" y="25"/>
                      </a:lnTo>
                      <a:lnTo>
                        <a:pt x="28" y="12"/>
                      </a:lnTo>
                      <a:lnTo>
                        <a:pt x="47" y="3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59" name="Freeform 451"/>
                <p:cNvSpPr>
                  <a:spLocks/>
                </p:cNvSpPr>
                <p:nvPr/>
              </p:nvSpPr>
              <p:spPr bwMode="auto">
                <a:xfrm>
                  <a:off x="3059113" y="5330825"/>
                  <a:ext cx="274638" cy="39688"/>
                </a:xfrm>
                <a:custGeom>
                  <a:avLst/>
                  <a:gdLst>
                    <a:gd name="T0" fmla="*/ 6 w 173"/>
                    <a:gd name="T1" fmla="*/ 0 h 25"/>
                    <a:gd name="T2" fmla="*/ 167 w 173"/>
                    <a:gd name="T3" fmla="*/ 0 h 25"/>
                    <a:gd name="T4" fmla="*/ 170 w 173"/>
                    <a:gd name="T5" fmla="*/ 2 h 25"/>
                    <a:gd name="T6" fmla="*/ 172 w 173"/>
                    <a:gd name="T7" fmla="*/ 5 h 25"/>
                    <a:gd name="T8" fmla="*/ 173 w 173"/>
                    <a:gd name="T9" fmla="*/ 8 h 25"/>
                    <a:gd name="T10" fmla="*/ 173 w 173"/>
                    <a:gd name="T11" fmla="*/ 13 h 25"/>
                    <a:gd name="T12" fmla="*/ 170 w 173"/>
                    <a:gd name="T13" fmla="*/ 18 h 25"/>
                    <a:gd name="T14" fmla="*/ 163 w 173"/>
                    <a:gd name="T15" fmla="*/ 22 h 25"/>
                    <a:gd name="T16" fmla="*/ 154 w 173"/>
                    <a:gd name="T17" fmla="*/ 25 h 25"/>
                    <a:gd name="T18" fmla="*/ 148 w 173"/>
                    <a:gd name="T19" fmla="*/ 25 h 25"/>
                    <a:gd name="T20" fmla="*/ 6 w 173"/>
                    <a:gd name="T21" fmla="*/ 25 h 25"/>
                    <a:gd name="T22" fmla="*/ 3 w 173"/>
                    <a:gd name="T23" fmla="*/ 25 h 25"/>
                    <a:gd name="T24" fmla="*/ 1 w 173"/>
                    <a:gd name="T25" fmla="*/ 22 h 25"/>
                    <a:gd name="T26" fmla="*/ 0 w 173"/>
                    <a:gd name="T27" fmla="*/ 18 h 25"/>
                    <a:gd name="T28" fmla="*/ 0 w 173"/>
                    <a:gd name="T29" fmla="*/ 13 h 25"/>
                    <a:gd name="T30" fmla="*/ 0 w 173"/>
                    <a:gd name="T31" fmla="*/ 8 h 25"/>
                    <a:gd name="T32" fmla="*/ 1 w 173"/>
                    <a:gd name="T33" fmla="*/ 5 h 25"/>
                    <a:gd name="T34" fmla="*/ 3 w 173"/>
                    <a:gd name="T35" fmla="*/ 2 h 25"/>
                    <a:gd name="T36" fmla="*/ 6 w 173"/>
                    <a:gd name="T37" fmla="*/ 0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73" h="25">
                      <a:moveTo>
                        <a:pt x="6" y="0"/>
                      </a:moveTo>
                      <a:lnTo>
                        <a:pt x="167" y="0"/>
                      </a:lnTo>
                      <a:lnTo>
                        <a:pt x="170" y="2"/>
                      </a:lnTo>
                      <a:lnTo>
                        <a:pt x="172" y="5"/>
                      </a:lnTo>
                      <a:lnTo>
                        <a:pt x="173" y="8"/>
                      </a:lnTo>
                      <a:lnTo>
                        <a:pt x="173" y="13"/>
                      </a:lnTo>
                      <a:lnTo>
                        <a:pt x="170" y="18"/>
                      </a:lnTo>
                      <a:lnTo>
                        <a:pt x="163" y="22"/>
                      </a:lnTo>
                      <a:lnTo>
                        <a:pt x="154" y="25"/>
                      </a:lnTo>
                      <a:lnTo>
                        <a:pt x="148" y="25"/>
                      </a:lnTo>
                      <a:lnTo>
                        <a:pt x="6" y="25"/>
                      </a:lnTo>
                      <a:lnTo>
                        <a:pt x="3" y="25"/>
                      </a:lnTo>
                      <a:lnTo>
                        <a:pt x="1" y="22"/>
                      </a:lnTo>
                      <a:lnTo>
                        <a:pt x="0" y="18"/>
                      </a:lnTo>
                      <a:lnTo>
                        <a:pt x="0" y="13"/>
                      </a:lnTo>
                      <a:lnTo>
                        <a:pt x="0" y="8"/>
                      </a:lnTo>
                      <a:lnTo>
                        <a:pt x="1" y="5"/>
                      </a:lnTo>
                      <a:lnTo>
                        <a:pt x="3" y="2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60" name="Freeform 452"/>
                <p:cNvSpPr>
                  <a:spLocks/>
                </p:cNvSpPr>
                <p:nvPr/>
              </p:nvSpPr>
              <p:spPr bwMode="auto">
                <a:xfrm>
                  <a:off x="3059113" y="5330825"/>
                  <a:ext cx="252413" cy="39688"/>
                </a:xfrm>
                <a:custGeom>
                  <a:avLst/>
                  <a:gdLst>
                    <a:gd name="T0" fmla="*/ 6 w 159"/>
                    <a:gd name="T1" fmla="*/ 0 h 25"/>
                    <a:gd name="T2" fmla="*/ 159 w 159"/>
                    <a:gd name="T3" fmla="*/ 0 h 25"/>
                    <a:gd name="T4" fmla="*/ 124 w 159"/>
                    <a:gd name="T5" fmla="*/ 15 h 25"/>
                    <a:gd name="T6" fmla="*/ 89 w 159"/>
                    <a:gd name="T7" fmla="*/ 25 h 25"/>
                    <a:gd name="T8" fmla="*/ 6 w 159"/>
                    <a:gd name="T9" fmla="*/ 25 h 25"/>
                    <a:gd name="T10" fmla="*/ 3 w 159"/>
                    <a:gd name="T11" fmla="*/ 25 h 25"/>
                    <a:gd name="T12" fmla="*/ 1 w 159"/>
                    <a:gd name="T13" fmla="*/ 22 h 25"/>
                    <a:gd name="T14" fmla="*/ 0 w 159"/>
                    <a:gd name="T15" fmla="*/ 18 h 25"/>
                    <a:gd name="T16" fmla="*/ 0 w 159"/>
                    <a:gd name="T17" fmla="*/ 13 h 25"/>
                    <a:gd name="T18" fmla="*/ 0 w 159"/>
                    <a:gd name="T19" fmla="*/ 8 h 25"/>
                    <a:gd name="T20" fmla="*/ 1 w 159"/>
                    <a:gd name="T21" fmla="*/ 5 h 25"/>
                    <a:gd name="T22" fmla="*/ 3 w 159"/>
                    <a:gd name="T23" fmla="*/ 2 h 25"/>
                    <a:gd name="T24" fmla="*/ 6 w 159"/>
                    <a:gd name="T25" fmla="*/ 0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59" h="25">
                      <a:moveTo>
                        <a:pt x="6" y="0"/>
                      </a:moveTo>
                      <a:lnTo>
                        <a:pt x="159" y="0"/>
                      </a:lnTo>
                      <a:lnTo>
                        <a:pt x="124" y="15"/>
                      </a:lnTo>
                      <a:lnTo>
                        <a:pt x="89" y="25"/>
                      </a:lnTo>
                      <a:lnTo>
                        <a:pt x="6" y="25"/>
                      </a:lnTo>
                      <a:lnTo>
                        <a:pt x="3" y="25"/>
                      </a:lnTo>
                      <a:lnTo>
                        <a:pt x="1" y="22"/>
                      </a:lnTo>
                      <a:lnTo>
                        <a:pt x="0" y="18"/>
                      </a:lnTo>
                      <a:lnTo>
                        <a:pt x="0" y="13"/>
                      </a:lnTo>
                      <a:lnTo>
                        <a:pt x="0" y="8"/>
                      </a:lnTo>
                      <a:lnTo>
                        <a:pt x="1" y="5"/>
                      </a:lnTo>
                      <a:lnTo>
                        <a:pt x="3" y="2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rgbClr val="FFA01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61" name="Freeform 453"/>
                <p:cNvSpPr>
                  <a:spLocks/>
                </p:cNvSpPr>
                <p:nvPr/>
              </p:nvSpPr>
              <p:spPr bwMode="auto">
                <a:xfrm>
                  <a:off x="3059113" y="5276850"/>
                  <a:ext cx="268288" cy="77788"/>
                </a:xfrm>
                <a:custGeom>
                  <a:avLst/>
                  <a:gdLst>
                    <a:gd name="T0" fmla="*/ 31 w 169"/>
                    <a:gd name="T1" fmla="*/ 0 h 49"/>
                    <a:gd name="T2" fmla="*/ 49 w 169"/>
                    <a:gd name="T3" fmla="*/ 0 h 49"/>
                    <a:gd name="T4" fmla="*/ 68 w 169"/>
                    <a:gd name="T5" fmla="*/ 2 h 49"/>
                    <a:gd name="T6" fmla="*/ 87 w 169"/>
                    <a:gd name="T7" fmla="*/ 7 h 49"/>
                    <a:gd name="T8" fmla="*/ 106 w 169"/>
                    <a:gd name="T9" fmla="*/ 10 h 49"/>
                    <a:gd name="T10" fmla="*/ 132 w 169"/>
                    <a:gd name="T11" fmla="*/ 10 h 49"/>
                    <a:gd name="T12" fmla="*/ 150 w 169"/>
                    <a:gd name="T13" fmla="*/ 14 h 49"/>
                    <a:gd name="T14" fmla="*/ 161 w 169"/>
                    <a:gd name="T15" fmla="*/ 20 h 49"/>
                    <a:gd name="T16" fmla="*/ 167 w 169"/>
                    <a:gd name="T17" fmla="*/ 27 h 49"/>
                    <a:gd name="T18" fmla="*/ 169 w 169"/>
                    <a:gd name="T19" fmla="*/ 36 h 49"/>
                    <a:gd name="T20" fmla="*/ 164 w 169"/>
                    <a:gd name="T21" fmla="*/ 40 h 49"/>
                    <a:gd name="T22" fmla="*/ 153 w 169"/>
                    <a:gd name="T23" fmla="*/ 45 h 49"/>
                    <a:gd name="T24" fmla="*/ 135 w 169"/>
                    <a:gd name="T25" fmla="*/ 47 h 49"/>
                    <a:gd name="T26" fmla="*/ 113 w 169"/>
                    <a:gd name="T27" fmla="*/ 49 h 49"/>
                    <a:gd name="T28" fmla="*/ 90 w 169"/>
                    <a:gd name="T29" fmla="*/ 49 h 49"/>
                    <a:gd name="T30" fmla="*/ 67 w 169"/>
                    <a:gd name="T31" fmla="*/ 49 h 49"/>
                    <a:gd name="T32" fmla="*/ 44 w 169"/>
                    <a:gd name="T33" fmla="*/ 49 h 49"/>
                    <a:gd name="T34" fmla="*/ 25 w 169"/>
                    <a:gd name="T35" fmla="*/ 49 h 49"/>
                    <a:gd name="T36" fmla="*/ 12 w 169"/>
                    <a:gd name="T37" fmla="*/ 49 h 49"/>
                    <a:gd name="T38" fmla="*/ 4 w 169"/>
                    <a:gd name="T39" fmla="*/ 47 h 49"/>
                    <a:gd name="T40" fmla="*/ 0 w 169"/>
                    <a:gd name="T41" fmla="*/ 40 h 49"/>
                    <a:gd name="T42" fmla="*/ 0 w 169"/>
                    <a:gd name="T43" fmla="*/ 29 h 49"/>
                    <a:gd name="T44" fmla="*/ 0 w 169"/>
                    <a:gd name="T45" fmla="*/ 10 h 49"/>
                    <a:gd name="T46" fmla="*/ 3 w 169"/>
                    <a:gd name="T47" fmla="*/ 4 h 49"/>
                    <a:gd name="T48" fmla="*/ 15 w 169"/>
                    <a:gd name="T49" fmla="*/ 0 h 49"/>
                    <a:gd name="T50" fmla="*/ 31 w 169"/>
                    <a:gd name="T51" fmla="*/ 0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69" h="49">
                      <a:moveTo>
                        <a:pt x="31" y="0"/>
                      </a:moveTo>
                      <a:lnTo>
                        <a:pt x="49" y="0"/>
                      </a:lnTo>
                      <a:lnTo>
                        <a:pt x="68" y="2"/>
                      </a:lnTo>
                      <a:lnTo>
                        <a:pt x="87" y="7"/>
                      </a:lnTo>
                      <a:lnTo>
                        <a:pt x="106" y="10"/>
                      </a:lnTo>
                      <a:lnTo>
                        <a:pt x="132" y="10"/>
                      </a:lnTo>
                      <a:lnTo>
                        <a:pt x="150" y="14"/>
                      </a:lnTo>
                      <a:lnTo>
                        <a:pt x="161" y="20"/>
                      </a:lnTo>
                      <a:lnTo>
                        <a:pt x="167" y="27"/>
                      </a:lnTo>
                      <a:lnTo>
                        <a:pt x="169" y="36"/>
                      </a:lnTo>
                      <a:lnTo>
                        <a:pt x="164" y="40"/>
                      </a:lnTo>
                      <a:lnTo>
                        <a:pt x="153" y="45"/>
                      </a:lnTo>
                      <a:lnTo>
                        <a:pt x="135" y="47"/>
                      </a:lnTo>
                      <a:lnTo>
                        <a:pt x="113" y="49"/>
                      </a:lnTo>
                      <a:lnTo>
                        <a:pt x="90" y="49"/>
                      </a:lnTo>
                      <a:lnTo>
                        <a:pt x="67" y="49"/>
                      </a:lnTo>
                      <a:lnTo>
                        <a:pt x="44" y="49"/>
                      </a:lnTo>
                      <a:lnTo>
                        <a:pt x="25" y="49"/>
                      </a:lnTo>
                      <a:lnTo>
                        <a:pt x="12" y="49"/>
                      </a:lnTo>
                      <a:lnTo>
                        <a:pt x="4" y="47"/>
                      </a:lnTo>
                      <a:lnTo>
                        <a:pt x="0" y="40"/>
                      </a:lnTo>
                      <a:lnTo>
                        <a:pt x="0" y="29"/>
                      </a:lnTo>
                      <a:lnTo>
                        <a:pt x="0" y="10"/>
                      </a:lnTo>
                      <a:lnTo>
                        <a:pt x="3" y="4"/>
                      </a:lnTo>
                      <a:lnTo>
                        <a:pt x="15" y="0"/>
                      </a:lnTo>
                      <a:lnTo>
                        <a:pt x="31" y="0"/>
                      </a:lnTo>
                      <a:close/>
                    </a:path>
                  </a:pathLst>
                </a:custGeom>
                <a:solidFill>
                  <a:srgbClr val="332F2C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62" name="Freeform 454"/>
                <p:cNvSpPr>
                  <a:spLocks/>
                </p:cNvSpPr>
                <p:nvPr/>
              </p:nvSpPr>
              <p:spPr bwMode="auto">
                <a:xfrm>
                  <a:off x="3059113" y="5276850"/>
                  <a:ext cx="258763" cy="77788"/>
                </a:xfrm>
                <a:custGeom>
                  <a:avLst/>
                  <a:gdLst>
                    <a:gd name="T0" fmla="*/ 26 w 163"/>
                    <a:gd name="T1" fmla="*/ 0 h 49"/>
                    <a:gd name="T2" fmla="*/ 28 w 163"/>
                    <a:gd name="T3" fmla="*/ 2 h 49"/>
                    <a:gd name="T4" fmla="*/ 32 w 163"/>
                    <a:gd name="T5" fmla="*/ 5 h 49"/>
                    <a:gd name="T6" fmla="*/ 54 w 163"/>
                    <a:gd name="T7" fmla="*/ 21 h 49"/>
                    <a:gd name="T8" fmla="*/ 80 w 163"/>
                    <a:gd name="T9" fmla="*/ 34 h 49"/>
                    <a:gd name="T10" fmla="*/ 108 w 163"/>
                    <a:gd name="T11" fmla="*/ 43 h 49"/>
                    <a:gd name="T12" fmla="*/ 135 w 163"/>
                    <a:gd name="T13" fmla="*/ 45 h 49"/>
                    <a:gd name="T14" fmla="*/ 163 w 163"/>
                    <a:gd name="T15" fmla="*/ 42 h 49"/>
                    <a:gd name="T16" fmla="*/ 150 w 163"/>
                    <a:gd name="T17" fmla="*/ 45 h 49"/>
                    <a:gd name="T18" fmla="*/ 132 w 163"/>
                    <a:gd name="T19" fmla="*/ 47 h 49"/>
                    <a:gd name="T20" fmla="*/ 112 w 163"/>
                    <a:gd name="T21" fmla="*/ 49 h 49"/>
                    <a:gd name="T22" fmla="*/ 89 w 163"/>
                    <a:gd name="T23" fmla="*/ 49 h 49"/>
                    <a:gd name="T24" fmla="*/ 65 w 163"/>
                    <a:gd name="T25" fmla="*/ 49 h 49"/>
                    <a:gd name="T26" fmla="*/ 44 w 163"/>
                    <a:gd name="T27" fmla="*/ 49 h 49"/>
                    <a:gd name="T28" fmla="*/ 25 w 163"/>
                    <a:gd name="T29" fmla="*/ 49 h 49"/>
                    <a:gd name="T30" fmla="*/ 12 w 163"/>
                    <a:gd name="T31" fmla="*/ 49 h 49"/>
                    <a:gd name="T32" fmla="*/ 4 w 163"/>
                    <a:gd name="T33" fmla="*/ 47 h 49"/>
                    <a:gd name="T34" fmla="*/ 0 w 163"/>
                    <a:gd name="T35" fmla="*/ 40 h 49"/>
                    <a:gd name="T36" fmla="*/ 0 w 163"/>
                    <a:gd name="T37" fmla="*/ 29 h 49"/>
                    <a:gd name="T38" fmla="*/ 0 w 163"/>
                    <a:gd name="T39" fmla="*/ 10 h 49"/>
                    <a:gd name="T40" fmla="*/ 3 w 163"/>
                    <a:gd name="T41" fmla="*/ 4 h 49"/>
                    <a:gd name="T42" fmla="*/ 12 w 163"/>
                    <a:gd name="T43" fmla="*/ 1 h 49"/>
                    <a:gd name="T44" fmla="*/ 26 w 163"/>
                    <a:gd name="T45" fmla="*/ 0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63" h="49">
                      <a:moveTo>
                        <a:pt x="26" y="0"/>
                      </a:moveTo>
                      <a:lnTo>
                        <a:pt x="28" y="2"/>
                      </a:lnTo>
                      <a:lnTo>
                        <a:pt x="32" y="5"/>
                      </a:lnTo>
                      <a:lnTo>
                        <a:pt x="54" y="21"/>
                      </a:lnTo>
                      <a:lnTo>
                        <a:pt x="80" y="34"/>
                      </a:lnTo>
                      <a:lnTo>
                        <a:pt x="108" y="43"/>
                      </a:lnTo>
                      <a:lnTo>
                        <a:pt x="135" y="45"/>
                      </a:lnTo>
                      <a:lnTo>
                        <a:pt x="163" y="42"/>
                      </a:lnTo>
                      <a:lnTo>
                        <a:pt x="150" y="45"/>
                      </a:lnTo>
                      <a:lnTo>
                        <a:pt x="132" y="47"/>
                      </a:lnTo>
                      <a:lnTo>
                        <a:pt x="112" y="49"/>
                      </a:lnTo>
                      <a:lnTo>
                        <a:pt x="89" y="49"/>
                      </a:lnTo>
                      <a:lnTo>
                        <a:pt x="65" y="49"/>
                      </a:lnTo>
                      <a:lnTo>
                        <a:pt x="44" y="49"/>
                      </a:lnTo>
                      <a:lnTo>
                        <a:pt x="25" y="49"/>
                      </a:lnTo>
                      <a:lnTo>
                        <a:pt x="12" y="49"/>
                      </a:lnTo>
                      <a:lnTo>
                        <a:pt x="4" y="47"/>
                      </a:lnTo>
                      <a:lnTo>
                        <a:pt x="0" y="40"/>
                      </a:lnTo>
                      <a:lnTo>
                        <a:pt x="0" y="29"/>
                      </a:lnTo>
                      <a:lnTo>
                        <a:pt x="0" y="10"/>
                      </a:lnTo>
                      <a:lnTo>
                        <a:pt x="3" y="4"/>
                      </a:lnTo>
                      <a:lnTo>
                        <a:pt x="12" y="1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solidFill>
                  <a:srgbClr val="221916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63" name="Freeform 455"/>
                <p:cNvSpPr>
                  <a:spLocks/>
                </p:cNvSpPr>
                <p:nvPr/>
              </p:nvSpPr>
              <p:spPr bwMode="auto">
                <a:xfrm>
                  <a:off x="2740026" y="5381625"/>
                  <a:ext cx="277813" cy="39688"/>
                </a:xfrm>
                <a:custGeom>
                  <a:avLst/>
                  <a:gdLst>
                    <a:gd name="T0" fmla="*/ 168 w 175"/>
                    <a:gd name="T1" fmla="*/ 0 h 25"/>
                    <a:gd name="T2" fmla="*/ 170 w 175"/>
                    <a:gd name="T3" fmla="*/ 0 h 25"/>
                    <a:gd name="T4" fmla="*/ 173 w 175"/>
                    <a:gd name="T5" fmla="*/ 3 h 25"/>
                    <a:gd name="T6" fmla="*/ 175 w 175"/>
                    <a:gd name="T7" fmla="*/ 8 h 25"/>
                    <a:gd name="T8" fmla="*/ 175 w 175"/>
                    <a:gd name="T9" fmla="*/ 12 h 25"/>
                    <a:gd name="T10" fmla="*/ 172 w 175"/>
                    <a:gd name="T11" fmla="*/ 16 h 25"/>
                    <a:gd name="T12" fmla="*/ 163 w 175"/>
                    <a:gd name="T13" fmla="*/ 21 h 25"/>
                    <a:gd name="T14" fmla="*/ 154 w 175"/>
                    <a:gd name="T15" fmla="*/ 24 h 25"/>
                    <a:gd name="T16" fmla="*/ 149 w 175"/>
                    <a:gd name="T17" fmla="*/ 25 h 25"/>
                    <a:gd name="T18" fmla="*/ 8 w 175"/>
                    <a:gd name="T19" fmla="*/ 25 h 25"/>
                    <a:gd name="T20" fmla="*/ 5 w 175"/>
                    <a:gd name="T21" fmla="*/ 24 h 25"/>
                    <a:gd name="T22" fmla="*/ 2 w 175"/>
                    <a:gd name="T23" fmla="*/ 22 h 25"/>
                    <a:gd name="T24" fmla="*/ 2 w 175"/>
                    <a:gd name="T25" fmla="*/ 18 h 25"/>
                    <a:gd name="T26" fmla="*/ 0 w 175"/>
                    <a:gd name="T27" fmla="*/ 13 h 25"/>
                    <a:gd name="T28" fmla="*/ 2 w 175"/>
                    <a:gd name="T29" fmla="*/ 8 h 25"/>
                    <a:gd name="T30" fmla="*/ 2 w 175"/>
                    <a:gd name="T31" fmla="*/ 3 h 25"/>
                    <a:gd name="T32" fmla="*/ 5 w 175"/>
                    <a:gd name="T33" fmla="*/ 2 h 25"/>
                    <a:gd name="T34" fmla="*/ 8 w 175"/>
                    <a:gd name="T35" fmla="*/ 0 h 25"/>
                    <a:gd name="T36" fmla="*/ 168 w 175"/>
                    <a:gd name="T37" fmla="*/ 0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75" h="25">
                      <a:moveTo>
                        <a:pt x="168" y="0"/>
                      </a:moveTo>
                      <a:lnTo>
                        <a:pt x="170" y="0"/>
                      </a:lnTo>
                      <a:lnTo>
                        <a:pt x="173" y="3"/>
                      </a:lnTo>
                      <a:lnTo>
                        <a:pt x="175" y="8"/>
                      </a:lnTo>
                      <a:lnTo>
                        <a:pt x="175" y="12"/>
                      </a:lnTo>
                      <a:lnTo>
                        <a:pt x="172" y="16"/>
                      </a:lnTo>
                      <a:lnTo>
                        <a:pt x="163" y="21"/>
                      </a:lnTo>
                      <a:lnTo>
                        <a:pt x="154" y="24"/>
                      </a:lnTo>
                      <a:lnTo>
                        <a:pt x="149" y="25"/>
                      </a:lnTo>
                      <a:lnTo>
                        <a:pt x="8" y="25"/>
                      </a:lnTo>
                      <a:lnTo>
                        <a:pt x="5" y="24"/>
                      </a:lnTo>
                      <a:lnTo>
                        <a:pt x="2" y="22"/>
                      </a:lnTo>
                      <a:lnTo>
                        <a:pt x="2" y="18"/>
                      </a:lnTo>
                      <a:lnTo>
                        <a:pt x="0" y="13"/>
                      </a:lnTo>
                      <a:lnTo>
                        <a:pt x="2" y="8"/>
                      </a:lnTo>
                      <a:lnTo>
                        <a:pt x="2" y="3"/>
                      </a:lnTo>
                      <a:lnTo>
                        <a:pt x="5" y="2"/>
                      </a:lnTo>
                      <a:lnTo>
                        <a:pt x="8" y="0"/>
                      </a:lnTo>
                      <a:lnTo>
                        <a:pt x="168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64" name="Freeform 456"/>
                <p:cNvSpPr>
                  <a:spLocks/>
                </p:cNvSpPr>
                <p:nvPr/>
              </p:nvSpPr>
              <p:spPr bwMode="auto">
                <a:xfrm>
                  <a:off x="2740026" y="5324475"/>
                  <a:ext cx="269875" cy="80963"/>
                </a:xfrm>
                <a:custGeom>
                  <a:avLst/>
                  <a:gdLst>
                    <a:gd name="T0" fmla="*/ 31 w 170"/>
                    <a:gd name="T1" fmla="*/ 0 h 51"/>
                    <a:gd name="T2" fmla="*/ 50 w 170"/>
                    <a:gd name="T3" fmla="*/ 1 h 51"/>
                    <a:gd name="T4" fmla="*/ 69 w 170"/>
                    <a:gd name="T5" fmla="*/ 4 h 51"/>
                    <a:gd name="T6" fmla="*/ 89 w 170"/>
                    <a:gd name="T7" fmla="*/ 9 h 51"/>
                    <a:gd name="T8" fmla="*/ 108 w 170"/>
                    <a:gd name="T9" fmla="*/ 10 h 51"/>
                    <a:gd name="T10" fmla="*/ 133 w 170"/>
                    <a:gd name="T11" fmla="*/ 12 h 51"/>
                    <a:gd name="T12" fmla="*/ 150 w 170"/>
                    <a:gd name="T13" fmla="*/ 15 h 51"/>
                    <a:gd name="T14" fmla="*/ 162 w 170"/>
                    <a:gd name="T15" fmla="*/ 20 h 51"/>
                    <a:gd name="T16" fmla="*/ 168 w 170"/>
                    <a:gd name="T17" fmla="*/ 28 h 51"/>
                    <a:gd name="T18" fmla="*/ 170 w 170"/>
                    <a:gd name="T19" fmla="*/ 36 h 51"/>
                    <a:gd name="T20" fmla="*/ 166 w 170"/>
                    <a:gd name="T21" fmla="*/ 42 h 51"/>
                    <a:gd name="T22" fmla="*/ 154 w 170"/>
                    <a:gd name="T23" fmla="*/ 45 h 51"/>
                    <a:gd name="T24" fmla="*/ 136 w 170"/>
                    <a:gd name="T25" fmla="*/ 48 h 51"/>
                    <a:gd name="T26" fmla="*/ 114 w 170"/>
                    <a:gd name="T27" fmla="*/ 49 h 51"/>
                    <a:gd name="T28" fmla="*/ 90 w 170"/>
                    <a:gd name="T29" fmla="*/ 51 h 51"/>
                    <a:gd name="T30" fmla="*/ 67 w 170"/>
                    <a:gd name="T31" fmla="*/ 51 h 51"/>
                    <a:gd name="T32" fmla="*/ 45 w 170"/>
                    <a:gd name="T33" fmla="*/ 51 h 51"/>
                    <a:gd name="T34" fmla="*/ 25 w 170"/>
                    <a:gd name="T35" fmla="*/ 51 h 51"/>
                    <a:gd name="T36" fmla="*/ 12 w 170"/>
                    <a:gd name="T37" fmla="*/ 51 h 51"/>
                    <a:gd name="T38" fmla="*/ 5 w 170"/>
                    <a:gd name="T39" fmla="*/ 48 h 51"/>
                    <a:gd name="T40" fmla="*/ 2 w 170"/>
                    <a:gd name="T41" fmla="*/ 42 h 51"/>
                    <a:gd name="T42" fmla="*/ 0 w 170"/>
                    <a:gd name="T43" fmla="*/ 31 h 51"/>
                    <a:gd name="T44" fmla="*/ 0 w 170"/>
                    <a:gd name="T45" fmla="*/ 10 h 51"/>
                    <a:gd name="T46" fmla="*/ 5 w 170"/>
                    <a:gd name="T47" fmla="*/ 4 h 51"/>
                    <a:gd name="T48" fmla="*/ 15 w 170"/>
                    <a:gd name="T49" fmla="*/ 1 h 51"/>
                    <a:gd name="T50" fmla="*/ 31 w 170"/>
                    <a:gd name="T51" fmla="*/ 0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70" h="51">
                      <a:moveTo>
                        <a:pt x="31" y="0"/>
                      </a:moveTo>
                      <a:lnTo>
                        <a:pt x="50" y="1"/>
                      </a:lnTo>
                      <a:lnTo>
                        <a:pt x="69" y="4"/>
                      </a:lnTo>
                      <a:lnTo>
                        <a:pt x="89" y="9"/>
                      </a:lnTo>
                      <a:lnTo>
                        <a:pt x="108" y="10"/>
                      </a:lnTo>
                      <a:lnTo>
                        <a:pt x="133" y="12"/>
                      </a:lnTo>
                      <a:lnTo>
                        <a:pt x="150" y="15"/>
                      </a:lnTo>
                      <a:lnTo>
                        <a:pt x="162" y="20"/>
                      </a:lnTo>
                      <a:lnTo>
                        <a:pt x="168" y="28"/>
                      </a:lnTo>
                      <a:lnTo>
                        <a:pt x="170" y="36"/>
                      </a:lnTo>
                      <a:lnTo>
                        <a:pt x="166" y="42"/>
                      </a:lnTo>
                      <a:lnTo>
                        <a:pt x="154" y="45"/>
                      </a:lnTo>
                      <a:lnTo>
                        <a:pt x="136" y="48"/>
                      </a:lnTo>
                      <a:lnTo>
                        <a:pt x="114" y="49"/>
                      </a:lnTo>
                      <a:lnTo>
                        <a:pt x="90" y="51"/>
                      </a:lnTo>
                      <a:lnTo>
                        <a:pt x="67" y="51"/>
                      </a:lnTo>
                      <a:lnTo>
                        <a:pt x="45" y="51"/>
                      </a:lnTo>
                      <a:lnTo>
                        <a:pt x="25" y="51"/>
                      </a:lnTo>
                      <a:lnTo>
                        <a:pt x="12" y="51"/>
                      </a:lnTo>
                      <a:lnTo>
                        <a:pt x="5" y="48"/>
                      </a:lnTo>
                      <a:lnTo>
                        <a:pt x="2" y="42"/>
                      </a:lnTo>
                      <a:lnTo>
                        <a:pt x="0" y="31"/>
                      </a:lnTo>
                      <a:lnTo>
                        <a:pt x="0" y="10"/>
                      </a:lnTo>
                      <a:lnTo>
                        <a:pt x="5" y="4"/>
                      </a:lnTo>
                      <a:lnTo>
                        <a:pt x="15" y="1"/>
                      </a:lnTo>
                      <a:lnTo>
                        <a:pt x="31" y="0"/>
                      </a:lnTo>
                      <a:close/>
                    </a:path>
                  </a:pathLst>
                </a:custGeom>
                <a:solidFill>
                  <a:srgbClr val="332F2C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65" name="Freeform 457"/>
                <p:cNvSpPr>
                  <a:spLocks/>
                </p:cNvSpPr>
                <p:nvPr/>
              </p:nvSpPr>
              <p:spPr bwMode="auto">
                <a:xfrm>
                  <a:off x="2740026" y="5324475"/>
                  <a:ext cx="261938" cy="80963"/>
                </a:xfrm>
                <a:custGeom>
                  <a:avLst/>
                  <a:gdLst>
                    <a:gd name="T0" fmla="*/ 26 w 165"/>
                    <a:gd name="T1" fmla="*/ 0 h 51"/>
                    <a:gd name="T2" fmla="*/ 29 w 165"/>
                    <a:gd name="T3" fmla="*/ 4 h 51"/>
                    <a:gd name="T4" fmla="*/ 32 w 165"/>
                    <a:gd name="T5" fmla="*/ 7 h 51"/>
                    <a:gd name="T6" fmla="*/ 54 w 165"/>
                    <a:gd name="T7" fmla="*/ 23 h 51"/>
                    <a:gd name="T8" fmla="*/ 80 w 165"/>
                    <a:gd name="T9" fmla="*/ 36 h 51"/>
                    <a:gd name="T10" fmla="*/ 108 w 165"/>
                    <a:gd name="T11" fmla="*/ 44 h 51"/>
                    <a:gd name="T12" fmla="*/ 137 w 165"/>
                    <a:gd name="T13" fmla="*/ 47 h 51"/>
                    <a:gd name="T14" fmla="*/ 165 w 165"/>
                    <a:gd name="T15" fmla="*/ 42 h 51"/>
                    <a:gd name="T16" fmla="*/ 152 w 165"/>
                    <a:gd name="T17" fmla="*/ 45 h 51"/>
                    <a:gd name="T18" fmla="*/ 134 w 165"/>
                    <a:gd name="T19" fmla="*/ 48 h 51"/>
                    <a:gd name="T20" fmla="*/ 112 w 165"/>
                    <a:gd name="T21" fmla="*/ 49 h 51"/>
                    <a:gd name="T22" fmla="*/ 89 w 165"/>
                    <a:gd name="T23" fmla="*/ 51 h 51"/>
                    <a:gd name="T24" fmla="*/ 66 w 165"/>
                    <a:gd name="T25" fmla="*/ 51 h 51"/>
                    <a:gd name="T26" fmla="*/ 45 w 165"/>
                    <a:gd name="T27" fmla="*/ 51 h 51"/>
                    <a:gd name="T28" fmla="*/ 25 w 165"/>
                    <a:gd name="T29" fmla="*/ 51 h 51"/>
                    <a:gd name="T30" fmla="*/ 12 w 165"/>
                    <a:gd name="T31" fmla="*/ 51 h 51"/>
                    <a:gd name="T32" fmla="*/ 5 w 165"/>
                    <a:gd name="T33" fmla="*/ 48 h 51"/>
                    <a:gd name="T34" fmla="*/ 2 w 165"/>
                    <a:gd name="T35" fmla="*/ 42 h 51"/>
                    <a:gd name="T36" fmla="*/ 0 w 165"/>
                    <a:gd name="T37" fmla="*/ 31 h 51"/>
                    <a:gd name="T38" fmla="*/ 0 w 165"/>
                    <a:gd name="T39" fmla="*/ 10 h 51"/>
                    <a:gd name="T40" fmla="*/ 3 w 165"/>
                    <a:gd name="T41" fmla="*/ 6 h 51"/>
                    <a:gd name="T42" fmla="*/ 13 w 165"/>
                    <a:gd name="T43" fmla="*/ 1 h 51"/>
                    <a:gd name="T44" fmla="*/ 26 w 165"/>
                    <a:gd name="T45" fmla="*/ 0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65" h="51">
                      <a:moveTo>
                        <a:pt x="26" y="0"/>
                      </a:moveTo>
                      <a:lnTo>
                        <a:pt x="29" y="4"/>
                      </a:lnTo>
                      <a:lnTo>
                        <a:pt x="32" y="7"/>
                      </a:lnTo>
                      <a:lnTo>
                        <a:pt x="54" y="23"/>
                      </a:lnTo>
                      <a:lnTo>
                        <a:pt x="80" y="36"/>
                      </a:lnTo>
                      <a:lnTo>
                        <a:pt x="108" y="44"/>
                      </a:lnTo>
                      <a:lnTo>
                        <a:pt x="137" y="47"/>
                      </a:lnTo>
                      <a:lnTo>
                        <a:pt x="165" y="42"/>
                      </a:lnTo>
                      <a:lnTo>
                        <a:pt x="152" y="45"/>
                      </a:lnTo>
                      <a:lnTo>
                        <a:pt x="134" y="48"/>
                      </a:lnTo>
                      <a:lnTo>
                        <a:pt x="112" y="49"/>
                      </a:lnTo>
                      <a:lnTo>
                        <a:pt x="89" y="51"/>
                      </a:lnTo>
                      <a:lnTo>
                        <a:pt x="66" y="51"/>
                      </a:lnTo>
                      <a:lnTo>
                        <a:pt x="45" y="51"/>
                      </a:lnTo>
                      <a:lnTo>
                        <a:pt x="25" y="51"/>
                      </a:lnTo>
                      <a:lnTo>
                        <a:pt x="12" y="51"/>
                      </a:lnTo>
                      <a:lnTo>
                        <a:pt x="5" y="48"/>
                      </a:lnTo>
                      <a:lnTo>
                        <a:pt x="2" y="42"/>
                      </a:lnTo>
                      <a:lnTo>
                        <a:pt x="0" y="31"/>
                      </a:lnTo>
                      <a:lnTo>
                        <a:pt x="0" y="10"/>
                      </a:lnTo>
                      <a:lnTo>
                        <a:pt x="3" y="6"/>
                      </a:lnTo>
                      <a:lnTo>
                        <a:pt x="13" y="1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solidFill>
                  <a:srgbClr val="221916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66" name="Freeform 458"/>
                <p:cNvSpPr>
                  <a:spLocks/>
                </p:cNvSpPr>
                <p:nvPr/>
              </p:nvSpPr>
              <p:spPr bwMode="auto">
                <a:xfrm>
                  <a:off x="4081463" y="4254500"/>
                  <a:ext cx="106363" cy="36513"/>
                </a:xfrm>
                <a:custGeom>
                  <a:avLst/>
                  <a:gdLst>
                    <a:gd name="T0" fmla="*/ 67 w 67"/>
                    <a:gd name="T1" fmla="*/ 0 h 23"/>
                    <a:gd name="T2" fmla="*/ 66 w 67"/>
                    <a:gd name="T3" fmla="*/ 5 h 23"/>
                    <a:gd name="T4" fmla="*/ 64 w 67"/>
                    <a:gd name="T5" fmla="*/ 11 h 23"/>
                    <a:gd name="T6" fmla="*/ 60 w 67"/>
                    <a:gd name="T7" fmla="*/ 16 h 23"/>
                    <a:gd name="T8" fmla="*/ 56 w 67"/>
                    <a:gd name="T9" fmla="*/ 20 h 23"/>
                    <a:gd name="T10" fmla="*/ 50 w 67"/>
                    <a:gd name="T11" fmla="*/ 21 h 23"/>
                    <a:gd name="T12" fmla="*/ 44 w 67"/>
                    <a:gd name="T13" fmla="*/ 23 h 23"/>
                    <a:gd name="T14" fmla="*/ 0 w 67"/>
                    <a:gd name="T15" fmla="*/ 23 h 23"/>
                    <a:gd name="T16" fmla="*/ 6 w 67"/>
                    <a:gd name="T17" fmla="*/ 16 h 23"/>
                    <a:gd name="T18" fmla="*/ 11 w 67"/>
                    <a:gd name="T19" fmla="*/ 11 h 23"/>
                    <a:gd name="T20" fmla="*/ 13 w 67"/>
                    <a:gd name="T21" fmla="*/ 7 h 23"/>
                    <a:gd name="T22" fmla="*/ 44 w 67"/>
                    <a:gd name="T23" fmla="*/ 7 h 23"/>
                    <a:gd name="T24" fmla="*/ 50 w 67"/>
                    <a:gd name="T25" fmla="*/ 7 h 23"/>
                    <a:gd name="T26" fmla="*/ 56 w 67"/>
                    <a:gd name="T27" fmla="*/ 5 h 23"/>
                    <a:gd name="T28" fmla="*/ 60 w 67"/>
                    <a:gd name="T29" fmla="*/ 4 h 23"/>
                    <a:gd name="T30" fmla="*/ 64 w 67"/>
                    <a:gd name="T31" fmla="*/ 2 h 23"/>
                    <a:gd name="T32" fmla="*/ 66 w 67"/>
                    <a:gd name="T33" fmla="*/ 1 h 23"/>
                    <a:gd name="T34" fmla="*/ 67 w 67"/>
                    <a:gd name="T35" fmla="*/ 0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7" h="23">
                      <a:moveTo>
                        <a:pt x="67" y="0"/>
                      </a:moveTo>
                      <a:lnTo>
                        <a:pt x="66" y="5"/>
                      </a:lnTo>
                      <a:lnTo>
                        <a:pt x="64" y="11"/>
                      </a:lnTo>
                      <a:lnTo>
                        <a:pt x="60" y="16"/>
                      </a:lnTo>
                      <a:lnTo>
                        <a:pt x="56" y="20"/>
                      </a:lnTo>
                      <a:lnTo>
                        <a:pt x="50" y="21"/>
                      </a:lnTo>
                      <a:lnTo>
                        <a:pt x="44" y="23"/>
                      </a:lnTo>
                      <a:lnTo>
                        <a:pt x="0" y="23"/>
                      </a:lnTo>
                      <a:lnTo>
                        <a:pt x="6" y="16"/>
                      </a:lnTo>
                      <a:lnTo>
                        <a:pt x="11" y="11"/>
                      </a:lnTo>
                      <a:lnTo>
                        <a:pt x="13" y="7"/>
                      </a:lnTo>
                      <a:lnTo>
                        <a:pt x="44" y="7"/>
                      </a:lnTo>
                      <a:lnTo>
                        <a:pt x="50" y="7"/>
                      </a:lnTo>
                      <a:lnTo>
                        <a:pt x="56" y="5"/>
                      </a:lnTo>
                      <a:lnTo>
                        <a:pt x="60" y="4"/>
                      </a:lnTo>
                      <a:lnTo>
                        <a:pt x="64" y="2"/>
                      </a:lnTo>
                      <a:lnTo>
                        <a:pt x="66" y="1"/>
                      </a:lnTo>
                      <a:lnTo>
                        <a:pt x="67" y="0"/>
                      </a:lnTo>
                      <a:close/>
                    </a:path>
                  </a:pathLst>
                </a:custGeom>
                <a:solidFill>
                  <a:srgbClr val="070503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67" name="Freeform 459"/>
                <p:cNvSpPr>
                  <a:spLocks/>
                </p:cNvSpPr>
                <p:nvPr/>
              </p:nvSpPr>
              <p:spPr bwMode="auto">
                <a:xfrm>
                  <a:off x="3810001" y="4254500"/>
                  <a:ext cx="114300" cy="36513"/>
                </a:xfrm>
                <a:custGeom>
                  <a:avLst/>
                  <a:gdLst>
                    <a:gd name="T0" fmla="*/ 0 w 72"/>
                    <a:gd name="T1" fmla="*/ 0 h 23"/>
                    <a:gd name="T2" fmla="*/ 1 w 72"/>
                    <a:gd name="T3" fmla="*/ 1 h 23"/>
                    <a:gd name="T4" fmla="*/ 3 w 72"/>
                    <a:gd name="T5" fmla="*/ 2 h 23"/>
                    <a:gd name="T6" fmla="*/ 7 w 72"/>
                    <a:gd name="T7" fmla="*/ 4 h 23"/>
                    <a:gd name="T8" fmla="*/ 11 w 72"/>
                    <a:gd name="T9" fmla="*/ 5 h 23"/>
                    <a:gd name="T10" fmla="*/ 16 w 72"/>
                    <a:gd name="T11" fmla="*/ 7 h 23"/>
                    <a:gd name="T12" fmla="*/ 22 w 72"/>
                    <a:gd name="T13" fmla="*/ 7 h 23"/>
                    <a:gd name="T14" fmla="*/ 72 w 72"/>
                    <a:gd name="T15" fmla="*/ 7 h 23"/>
                    <a:gd name="T16" fmla="*/ 62 w 72"/>
                    <a:gd name="T17" fmla="*/ 23 h 23"/>
                    <a:gd name="T18" fmla="*/ 22 w 72"/>
                    <a:gd name="T19" fmla="*/ 23 h 23"/>
                    <a:gd name="T20" fmla="*/ 16 w 72"/>
                    <a:gd name="T21" fmla="*/ 21 h 23"/>
                    <a:gd name="T22" fmla="*/ 11 w 72"/>
                    <a:gd name="T23" fmla="*/ 20 h 23"/>
                    <a:gd name="T24" fmla="*/ 7 w 72"/>
                    <a:gd name="T25" fmla="*/ 16 h 23"/>
                    <a:gd name="T26" fmla="*/ 3 w 72"/>
                    <a:gd name="T27" fmla="*/ 11 h 23"/>
                    <a:gd name="T28" fmla="*/ 1 w 72"/>
                    <a:gd name="T29" fmla="*/ 5 h 23"/>
                    <a:gd name="T30" fmla="*/ 0 w 72"/>
                    <a:gd name="T31" fmla="*/ 0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72" h="23">
                      <a:moveTo>
                        <a:pt x="0" y="0"/>
                      </a:moveTo>
                      <a:lnTo>
                        <a:pt x="1" y="1"/>
                      </a:lnTo>
                      <a:lnTo>
                        <a:pt x="3" y="2"/>
                      </a:lnTo>
                      <a:lnTo>
                        <a:pt x="7" y="4"/>
                      </a:lnTo>
                      <a:lnTo>
                        <a:pt x="11" y="5"/>
                      </a:lnTo>
                      <a:lnTo>
                        <a:pt x="16" y="7"/>
                      </a:lnTo>
                      <a:lnTo>
                        <a:pt x="22" y="7"/>
                      </a:lnTo>
                      <a:lnTo>
                        <a:pt x="72" y="7"/>
                      </a:lnTo>
                      <a:lnTo>
                        <a:pt x="62" y="23"/>
                      </a:lnTo>
                      <a:lnTo>
                        <a:pt x="22" y="23"/>
                      </a:lnTo>
                      <a:lnTo>
                        <a:pt x="16" y="21"/>
                      </a:lnTo>
                      <a:lnTo>
                        <a:pt x="11" y="20"/>
                      </a:lnTo>
                      <a:lnTo>
                        <a:pt x="7" y="16"/>
                      </a:lnTo>
                      <a:lnTo>
                        <a:pt x="3" y="11"/>
                      </a:lnTo>
                      <a:lnTo>
                        <a:pt x="1" y="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7F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68" name="Freeform 460"/>
                <p:cNvSpPr>
                  <a:spLocks noEditPoints="1"/>
                </p:cNvSpPr>
                <p:nvPr/>
              </p:nvSpPr>
              <p:spPr bwMode="auto">
                <a:xfrm>
                  <a:off x="3908426" y="4265613"/>
                  <a:ext cx="193675" cy="25400"/>
                </a:xfrm>
                <a:custGeom>
                  <a:avLst/>
                  <a:gdLst>
                    <a:gd name="T0" fmla="*/ 24 w 122"/>
                    <a:gd name="T1" fmla="*/ 0 h 16"/>
                    <a:gd name="T2" fmla="*/ 122 w 122"/>
                    <a:gd name="T3" fmla="*/ 0 h 16"/>
                    <a:gd name="T4" fmla="*/ 120 w 122"/>
                    <a:gd name="T5" fmla="*/ 4 h 16"/>
                    <a:gd name="T6" fmla="*/ 115 w 122"/>
                    <a:gd name="T7" fmla="*/ 9 h 16"/>
                    <a:gd name="T8" fmla="*/ 109 w 122"/>
                    <a:gd name="T9" fmla="*/ 16 h 16"/>
                    <a:gd name="T10" fmla="*/ 10 w 122"/>
                    <a:gd name="T11" fmla="*/ 16 h 16"/>
                    <a:gd name="T12" fmla="*/ 24 w 122"/>
                    <a:gd name="T13" fmla="*/ 0 h 16"/>
                    <a:gd name="T14" fmla="*/ 10 w 122"/>
                    <a:gd name="T15" fmla="*/ 0 h 16"/>
                    <a:gd name="T16" fmla="*/ 12 w 122"/>
                    <a:gd name="T17" fmla="*/ 0 h 16"/>
                    <a:gd name="T18" fmla="*/ 2 w 122"/>
                    <a:gd name="T19" fmla="*/ 16 h 16"/>
                    <a:gd name="T20" fmla="*/ 0 w 122"/>
                    <a:gd name="T21" fmla="*/ 16 h 16"/>
                    <a:gd name="T22" fmla="*/ 10 w 122"/>
                    <a:gd name="T23" fmla="*/ 0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22" h="16">
                      <a:moveTo>
                        <a:pt x="24" y="0"/>
                      </a:moveTo>
                      <a:lnTo>
                        <a:pt x="122" y="0"/>
                      </a:lnTo>
                      <a:lnTo>
                        <a:pt x="120" y="4"/>
                      </a:lnTo>
                      <a:lnTo>
                        <a:pt x="115" y="9"/>
                      </a:lnTo>
                      <a:lnTo>
                        <a:pt x="109" y="16"/>
                      </a:lnTo>
                      <a:lnTo>
                        <a:pt x="10" y="16"/>
                      </a:lnTo>
                      <a:lnTo>
                        <a:pt x="24" y="0"/>
                      </a:lnTo>
                      <a:close/>
                      <a:moveTo>
                        <a:pt x="10" y="0"/>
                      </a:moveTo>
                      <a:lnTo>
                        <a:pt x="12" y="0"/>
                      </a:lnTo>
                      <a:lnTo>
                        <a:pt x="2" y="16"/>
                      </a:lnTo>
                      <a:lnTo>
                        <a:pt x="0" y="16"/>
                      </a:lnTo>
                      <a:lnTo>
                        <a:pt x="10" y="0"/>
                      </a:lnTo>
                      <a:close/>
                    </a:path>
                  </a:pathLst>
                </a:custGeom>
                <a:solidFill>
                  <a:srgbClr val="FF7F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69" name="Freeform 461"/>
                <p:cNvSpPr>
                  <a:spLocks/>
                </p:cNvSpPr>
                <p:nvPr/>
              </p:nvSpPr>
              <p:spPr bwMode="auto">
                <a:xfrm>
                  <a:off x="3911601" y="4265613"/>
                  <a:ext cx="34925" cy="25400"/>
                </a:xfrm>
                <a:custGeom>
                  <a:avLst/>
                  <a:gdLst>
                    <a:gd name="T0" fmla="*/ 10 w 22"/>
                    <a:gd name="T1" fmla="*/ 0 h 16"/>
                    <a:gd name="T2" fmla="*/ 22 w 22"/>
                    <a:gd name="T3" fmla="*/ 0 h 16"/>
                    <a:gd name="T4" fmla="*/ 8 w 22"/>
                    <a:gd name="T5" fmla="*/ 16 h 16"/>
                    <a:gd name="T6" fmla="*/ 0 w 22"/>
                    <a:gd name="T7" fmla="*/ 16 h 16"/>
                    <a:gd name="T8" fmla="*/ 10 w 22"/>
                    <a:gd name="T9" fmla="*/ 0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2" h="16">
                      <a:moveTo>
                        <a:pt x="10" y="0"/>
                      </a:moveTo>
                      <a:lnTo>
                        <a:pt x="22" y="0"/>
                      </a:lnTo>
                      <a:lnTo>
                        <a:pt x="8" y="16"/>
                      </a:lnTo>
                      <a:lnTo>
                        <a:pt x="0" y="16"/>
                      </a:lnTo>
                      <a:lnTo>
                        <a:pt x="10" y="0"/>
                      </a:lnTo>
                      <a:close/>
                    </a:path>
                  </a:pathLst>
                </a:custGeom>
                <a:solidFill>
                  <a:srgbClr val="CB6438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70" name="Freeform 462"/>
                <p:cNvSpPr>
                  <a:spLocks/>
                </p:cNvSpPr>
                <p:nvPr/>
              </p:nvSpPr>
              <p:spPr bwMode="auto">
                <a:xfrm>
                  <a:off x="2220913" y="3289300"/>
                  <a:ext cx="6350" cy="1588"/>
                </a:xfrm>
                <a:custGeom>
                  <a:avLst/>
                  <a:gdLst>
                    <a:gd name="T0" fmla="*/ 4 w 4"/>
                    <a:gd name="T1" fmla="*/ 0 h 1"/>
                    <a:gd name="T2" fmla="*/ 4 w 4"/>
                    <a:gd name="T3" fmla="*/ 0 h 1"/>
                    <a:gd name="T4" fmla="*/ 0 w 4"/>
                    <a:gd name="T5" fmla="*/ 1 h 1"/>
                    <a:gd name="T6" fmla="*/ 4 w 4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1">
                      <a:moveTo>
                        <a:pt x="4" y="0"/>
                      </a:move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2D2B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71" name="Freeform 463"/>
                <p:cNvSpPr>
                  <a:spLocks/>
                </p:cNvSpPr>
                <p:nvPr/>
              </p:nvSpPr>
              <p:spPr bwMode="auto">
                <a:xfrm>
                  <a:off x="2384426" y="3814763"/>
                  <a:ext cx="552450" cy="439738"/>
                </a:xfrm>
                <a:custGeom>
                  <a:avLst/>
                  <a:gdLst>
                    <a:gd name="T0" fmla="*/ 104 w 348"/>
                    <a:gd name="T1" fmla="*/ 0 h 277"/>
                    <a:gd name="T2" fmla="*/ 330 w 348"/>
                    <a:gd name="T3" fmla="*/ 0 h 277"/>
                    <a:gd name="T4" fmla="*/ 336 w 348"/>
                    <a:gd name="T5" fmla="*/ 2 h 277"/>
                    <a:gd name="T6" fmla="*/ 341 w 348"/>
                    <a:gd name="T7" fmla="*/ 5 h 277"/>
                    <a:gd name="T8" fmla="*/ 344 w 348"/>
                    <a:gd name="T9" fmla="*/ 9 h 277"/>
                    <a:gd name="T10" fmla="*/ 346 w 348"/>
                    <a:gd name="T11" fmla="*/ 13 h 277"/>
                    <a:gd name="T12" fmla="*/ 348 w 348"/>
                    <a:gd name="T13" fmla="*/ 21 h 277"/>
                    <a:gd name="T14" fmla="*/ 348 w 348"/>
                    <a:gd name="T15" fmla="*/ 258 h 277"/>
                    <a:gd name="T16" fmla="*/ 346 w 348"/>
                    <a:gd name="T17" fmla="*/ 263 h 277"/>
                    <a:gd name="T18" fmla="*/ 344 w 348"/>
                    <a:gd name="T19" fmla="*/ 269 h 277"/>
                    <a:gd name="T20" fmla="*/ 341 w 348"/>
                    <a:gd name="T21" fmla="*/ 274 h 277"/>
                    <a:gd name="T22" fmla="*/ 336 w 348"/>
                    <a:gd name="T23" fmla="*/ 277 h 277"/>
                    <a:gd name="T24" fmla="*/ 330 w 348"/>
                    <a:gd name="T25" fmla="*/ 277 h 277"/>
                    <a:gd name="T26" fmla="*/ 12 w 348"/>
                    <a:gd name="T27" fmla="*/ 277 h 277"/>
                    <a:gd name="T28" fmla="*/ 8 w 348"/>
                    <a:gd name="T29" fmla="*/ 277 h 277"/>
                    <a:gd name="T30" fmla="*/ 3 w 348"/>
                    <a:gd name="T31" fmla="*/ 275 h 277"/>
                    <a:gd name="T32" fmla="*/ 2 w 348"/>
                    <a:gd name="T33" fmla="*/ 272 h 277"/>
                    <a:gd name="T34" fmla="*/ 0 w 348"/>
                    <a:gd name="T35" fmla="*/ 268 h 277"/>
                    <a:gd name="T36" fmla="*/ 0 w 348"/>
                    <a:gd name="T37" fmla="*/ 262 h 277"/>
                    <a:gd name="T38" fmla="*/ 67 w 348"/>
                    <a:gd name="T39" fmla="*/ 19 h 277"/>
                    <a:gd name="T40" fmla="*/ 72 w 348"/>
                    <a:gd name="T41" fmla="*/ 12 h 277"/>
                    <a:gd name="T42" fmla="*/ 82 w 348"/>
                    <a:gd name="T43" fmla="*/ 6 h 277"/>
                    <a:gd name="T44" fmla="*/ 95 w 348"/>
                    <a:gd name="T45" fmla="*/ 2 h 277"/>
                    <a:gd name="T46" fmla="*/ 104 w 348"/>
                    <a:gd name="T47" fmla="*/ 0 h 2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348" h="277">
                      <a:moveTo>
                        <a:pt x="104" y="0"/>
                      </a:moveTo>
                      <a:lnTo>
                        <a:pt x="330" y="0"/>
                      </a:lnTo>
                      <a:lnTo>
                        <a:pt x="336" y="2"/>
                      </a:lnTo>
                      <a:lnTo>
                        <a:pt x="341" y="5"/>
                      </a:lnTo>
                      <a:lnTo>
                        <a:pt x="344" y="9"/>
                      </a:lnTo>
                      <a:lnTo>
                        <a:pt x="346" y="13"/>
                      </a:lnTo>
                      <a:lnTo>
                        <a:pt x="348" y="21"/>
                      </a:lnTo>
                      <a:lnTo>
                        <a:pt x="348" y="258"/>
                      </a:lnTo>
                      <a:lnTo>
                        <a:pt x="346" y="263"/>
                      </a:lnTo>
                      <a:lnTo>
                        <a:pt x="344" y="269"/>
                      </a:lnTo>
                      <a:lnTo>
                        <a:pt x="341" y="274"/>
                      </a:lnTo>
                      <a:lnTo>
                        <a:pt x="336" y="277"/>
                      </a:lnTo>
                      <a:lnTo>
                        <a:pt x="330" y="277"/>
                      </a:lnTo>
                      <a:lnTo>
                        <a:pt x="12" y="277"/>
                      </a:lnTo>
                      <a:lnTo>
                        <a:pt x="8" y="277"/>
                      </a:lnTo>
                      <a:lnTo>
                        <a:pt x="3" y="275"/>
                      </a:lnTo>
                      <a:lnTo>
                        <a:pt x="2" y="272"/>
                      </a:lnTo>
                      <a:lnTo>
                        <a:pt x="0" y="268"/>
                      </a:lnTo>
                      <a:lnTo>
                        <a:pt x="0" y="262"/>
                      </a:lnTo>
                      <a:lnTo>
                        <a:pt x="67" y="19"/>
                      </a:lnTo>
                      <a:lnTo>
                        <a:pt x="72" y="12"/>
                      </a:lnTo>
                      <a:lnTo>
                        <a:pt x="82" y="6"/>
                      </a:lnTo>
                      <a:lnTo>
                        <a:pt x="95" y="2"/>
                      </a:lnTo>
                      <a:lnTo>
                        <a:pt x="104" y="0"/>
                      </a:lnTo>
                      <a:close/>
                    </a:path>
                  </a:pathLst>
                </a:custGeom>
                <a:solidFill>
                  <a:srgbClr val="FFF0D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72" name="Freeform 464"/>
                <p:cNvSpPr>
                  <a:spLocks/>
                </p:cNvSpPr>
                <p:nvPr/>
              </p:nvSpPr>
              <p:spPr bwMode="auto">
                <a:xfrm>
                  <a:off x="2384426" y="4232275"/>
                  <a:ext cx="0" cy="9525"/>
                </a:xfrm>
                <a:custGeom>
                  <a:avLst/>
                  <a:gdLst>
                    <a:gd name="T0" fmla="*/ 0 h 6"/>
                    <a:gd name="T1" fmla="*/ 3 h 6"/>
                    <a:gd name="T2" fmla="*/ 6 h 6"/>
                    <a:gd name="T3" fmla="*/ 3 h 6"/>
                    <a:gd name="T4" fmla="*/ 0 h 6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</a:cxnLst>
                  <a:rect l="0" t="0" r="r" b="b"/>
                  <a:pathLst>
                    <a:path h="6">
                      <a:moveTo>
                        <a:pt x="0" y="0"/>
                      </a:moveTo>
                      <a:lnTo>
                        <a:pt x="0" y="3"/>
                      </a:lnTo>
                      <a:lnTo>
                        <a:pt x="0" y="6"/>
                      </a:lnTo>
                      <a:lnTo>
                        <a:pt x="0" y="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D599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73" name="Freeform 465"/>
                <p:cNvSpPr>
                  <a:spLocks/>
                </p:cNvSpPr>
                <p:nvPr/>
              </p:nvSpPr>
              <p:spPr bwMode="auto">
                <a:xfrm>
                  <a:off x="2439988" y="3979863"/>
                  <a:ext cx="14288" cy="46038"/>
                </a:xfrm>
                <a:custGeom>
                  <a:avLst/>
                  <a:gdLst>
                    <a:gd name="T0" fmla="*/ 9 w 9"/>
                    <a:gd name="T1" fmla="*/ 0 h 29"/>
                    <a:gd name="T2" fmla="*/ 0 w 9"/>
                    <a:gd name="T3" fmla="*/ 29 h 29"/>
                    <a:gd name="T4" fmla="*/ 9 w 9"/>
                    <a:gd name="T5" fmla="*/ 0 h 29"/>
                    <a:gd name="T6" fmla="*/ 9 w 9"/>
                    <a:gd name="T7" fmla="*/ 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9" h="29">
                      <a:moveTo>
                        <a:pt x="9" y="0"/>
                      </a:moveTo>
                      <a:lnTo>
                        <a:pt x="0" y="29"/>
                      </a:lnTo>
                      <a:lnTo>
                        <a:pt x="9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solidFill>
                  <a:srgbClr val="E6A36B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74" name="Freeform 466"/>
                <p:cNvSpPr>
                  <a:spLocks/>
                </p:cNvSpPr>
                <p:nvPr/>
              </p:nvSpPr>
              <p:spPr bwMode="auto">
                <a:xfrm>
                  <a:off x="2454276" y="3970338"/>
                  <a:ext cx="1588" cy="9525"/>
                </a:xfrm>
                <a:custGeom>
                  <a:avLst/>
                  <a:gdLst>
                    <a:gd name="T0" fmla="*/ 1 w 1"/>
                    <a:gd name="T1" fmla="*/ 0 h 6"/>
                    <a:gd name="T2" fmla="*/ 0 w 1"/>
                    <a:gd name="T3" fmla="*/ 6 h 6"/>
                    <a:gd name="T4" fmla="*/ 0 w 1"/>
                    <a:gd name="T5" fmla="*/ 6 h 6"/>
                    <a:gd name="T6" fmla="*/ 1 w 1"/>
                    <a:gd name="T7" fmla="*/ 1 h 6"/>
                    <a:gd name="T8" fmla="*/ 1 w 1"/>
                    <a:gd name="T9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" h="6">
                      <a:moveTo>
                        <a:pt x="1" y="0"/>
                      </a:move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1" y="1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solidFill>
                  <a:srgbClr val="FFBE3C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75" name="Freeform 467"/>
                <p:cNvSpPr>
                  <a:spLocks/>
                </p:cNvSpPr>
                <p:nvPr/>
              </p:nvSpPr>
              <p:spPr bwMode="auto">
                <a:xfrm>
                  <a:off x="2476501" y="3848100"/>
                  <a:ext cx="14288" cy="47625"/>
                </a:xfrm>
                <a:custGeom>
                  <a:avLst/>
                  <a:gdLst>
                    <a:gd name="T0" fmla="*/ 9 w 9"/>
                    <a:gd name="T1" fmla="*/ 0 h 30"/>
                    <a:gd name="T2" fmla="*/ 0 w 9"/>
                    <a:gd name="T3" fmla="*/ 30 h 30"/>
                    <a:gd name="T4" fmla="*/ 0 w 9"/>
                    <a:gd name="T5" fmla="*/ 30 h 30"/>
                    <a:gd name="T6" fmla="*/ 9 w 9"/>
                    <a:gd name="T7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9" h="30">
                      <a:moveTo>
                        <a:pt x="9" y="0"/>
                      </a:moveTo>
                      <a:lnTo>
                        <a:pt x="0" y="30"/>
                      </a:lnTo>
                      <a:lnTo>
                        <a:pt x="0" y="3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solidFill>
                  <a:srgbClr val="332C2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76" name="Rectangle 468"/>
                <p:cNvSpPr>
                  <a:spLocks noChangeArrowheads="1"/>
                </p:cNvSpPr>
                <p:nvPr/>
              </p:nvSpPr>
              <p:spPr bwMode="auto">
                <a:xfrm>
                  <a:off x="2476501" y="3895725"/>
                  <a:ext cx="1588" cy="3175"/>
                </a:xfrm>
                <a:prstGeom prst="rect">
                  <a:avLst/>
                </a:prstGeom>
                <a:solidFill>
                  <a:srgbClr val="FFBE3C"/>
                </a:soli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77" name="Freeform 469"/>
                <p:cNvSpPr>
                  <a:spLocks/>
                </p:cNvSpPr>
                <p:nvPr/>
              </p:nvSpPr>
              <p:spPr bwMode="auto">
                <a:xfrm>
                  <a:off x="2455863" y="3898900"/>
                  <a:ext cx="20638" cy="73025"/>
                </a:xfrm>
                <a:custGeom>
                  <a:avLst/>
                  <a:gdLst>
                    <a:gd name="T0" fmla="*/ 13 w 13"/>
                    <a:gd name="T1" fmla="*/ 0 h 46"/>
                    <a:gd name="T2" fmla="*/ 13 w 13"/>
                    <a:gd name="T3" fmla="*/ 0 h 46"/>
                    <a:gd name="T4" fmla="*/ 0 w 13"/>
                    <a:gd name="T5" fmla="*/ 45 h 46"/>
                    <a:gd name="T6" fmla="*/ 0 w 13"/>
                    <a:gd name="T7" fmla="*/ 46 h 46"/>
                    <a:gd name="T8" fmla="*/ 13 w 13"/>
                    <a:gd name="T9" fmla="*/ 0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46">
                      <a:moveTo>
                        <a:pt x="13" y="0"/>
                      </a:moveTo>
                      <a:lnTo>
                        <a:pt x="13" y="0"/>
                      </a:lnTo>
                      <a:lnTo>
                        <a:pt x="0" y="45"/>
                      </a:lnTo>
                      <a:lnTo>
                        <a:pt x="0" y="46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FFBE3C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78" name="Freeform 470"/>
                <p:cNvSpPr>
                  <a:spLocks/>
                </p:cNvSpPr>
                <p:nvPr/>
              </p:nvSpPr>
              <p:spPr bwMode="auto">
                <a:xfrm>
                  <a:off x="2506663" y="3814763"/>
                  <a:ext cx="42863" cy="14288"/>
                </a:xfrm>
                <a:custGeom>
                  <a:avLst/>
                  <a:gdLst>
                    <a:gd name="T0" fmla="*/ 12 w 27"/>
                    <a:gd name="T1" fmla="*/ 0 h 9"/>
                    <a:gd name="T2" fmla="*/ 27 w 27"/>
                    <a:gd name="T3" fmla="*/ 0 h 9"/>
                    <a:gd name="T4" fmla="*/ 24 w 27"/>
                    <a:gd name="T5" fmla="*/ 2 h 9"/>
                    <a:gd name="T6" fmla="*/ 12 w 27"/>
                    <a:gd name="T7" fmla="*/ 3 h 9"/>
                    <a:gd name="T8" fmla="*/ 0 w 27"/>
                    <a:gd name="T9" fmla="*/ 9 h 9"/>
                    <a:gd name="T10" fmla="*/ 0 w 27"/>
                    <a:gd name="T11" fmla="*/ 5 h 9"/>
                    <a:gd name="T12" fmla="*/ 6 w 27"/>
                    <a:gd name="T13" fmla="*/ 2 h 9"/>
                    <a:gd name="T14" fmla="*/ 12 w 27"/>
                    <a:gd name="T15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7" h="9">
                      <a:moveTo>
                        <a:pt x="12" y="0"/>
                      </a:moveTo>
                      <a:lnTo>
                        <a:pt x="27" y="0"/>
                      </a:lnTo>
                      <a:lnTo>
                        <a:pt x="24" y="2"/>
                      </a:lnTo>
                      <a:lnTo>
                        <a:pt x="12" y="3"/>
                      </a:lnTo>
                      <a:lnTo>
                        <a:pt x="0" y="9"/>
                      </a:lnTo>
                      <a:lnTo>
                        <a:pt x="0" y="5"/>
                      </a:lnTo>
                      <a:lnTo>
                        <a:pt x="6" y="2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332C2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79" name="Freeform 471"/>
                <p:cNvSpPr>
                  <a:spLocks/>
                </p:cNvSpPr>
                <p:nvPr/>
              </p:nvSpPr>
              <p:spPr bwMode="auto">
                <a:xfrm>
                  <a:off x="2493963" y="3822700"/>
                  <a:ext cx="12700" cy="15875"/>
                </a:xfrm>
                <a:custGeom>
                  <a:avLst/>
                  <a:gdLst>
                    <a:gd name="T0" fmla="*/ 8 w 8"/>
                    <a:gd name="T1" fmla="*/ 0 h 10"/>
                    <a:gd name="T2" fmla="*/ 8 w 8"/>
                    <a:gd name="T3" fmla="*/ 4 h 10"/>
                    <a:gd name="T4" fmla="*/ 3 w 8"/>
                    <a:gd name="T5" fmla="*/ 7 h 10"/>
                    <a:gd name="T6" fmla="*/ 0 w 8"/>
                    <a:gd name="T7" fmla="*/ 10 h 10"/>
                    <a:gd name="T8" fmla="*/ 3 w 8"/>
                    <a:gd name="T9" fmla="*/ 6 h 10"/>
                    <a:gd name="T10" fmla="*/ 8 w 8"/>
                    <a:gd name="T11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" h="10">
                      <a:moveTo>
                        <a:pt x="8" y="0"/>
                      </a:moveTo>
                      <a:lnTo>
                        <a:pt x="8" y="4"/>
                      </a:lnTo>
                      <a:lnTo>
                        <a:pt x="3" y="7"/>
                      </a:lnTo>
                      <a:lnTo>
                        <a:pt x="0" y="10"/>
                      </a:lnTo>
                      <a:lnTo>
                        <a:pt x="3" y="6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332C2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80" name="Freeform 472"/>
                <p:cNvSpPr>
                  <a:spLocks/>
                </p:cNvSpPr>
                <p:nvPr/>
              </p:nvSpPr>
              <p:spPr bwMode="auto">
                <a:xfrm>
                  <a:off x="2384426" y="3817938"/>
                  <a:ext cx="160338" cy="436563"/>
                </a:xfrm>
                <a:custGeom>
                  <a:avLst/>
                  <a:gdLst>
                    <a:gd name="T0" fmla="*/ 101 w 101"/>
                    <a:gd name="T1" fmla="*/ 0 h 275"/>
                    <a:gd name="T2" fmla="*/ 95 w 101"/>
                    <a:gd name="T3" fmla="*/ 1 h 275"/>
                    <a:gd name="T4" fmla="*/ 89 w 101"/>
                    <a:gd name="T5" fmla="*/ 4 h 275"/>
                    <a:gd name="T6" fmla="*/ 85 w 101"/>
                    <a:gd name="T7" fmla="*/ 10 h 275"/>
                    <a:gd name="T8" fmla="*/ 82 w 101"/>
                    <a:gd name="T9" fmla="*/ 16 h 275"/>
                    <a:gd name="T10" fmla="*/ 48 w 101"/>
                    <a:gd name="T11" fmla="*/ 136 h 275"/>
                    <a:gd name="T12" fmla="*/ 15 w 101"/>
                    <a:gd name="T13" fmla="*/ 257 h 275"/>
                    <a:gd name="T14" fmla="*/ 13 w 101"/>
                    <a:gd name="T15" fmla="*/ 263 h 275"/>
                    <a:gd name="T16" fmla="*/ 15 w 101"/>
                    <a:gd name="T17" fmla="*/ 267 h 275"/>
                    <a:gd name="T18" fmla="*/ 18 w 101"/>
                    <a:gd name="T19" fmla="*/ 272 h 275"/>
                    <a:gd name="T20" fmla="*/ 21 w 101"/>
                    <a:gd name="T21" fmla="*/ 275 h 275"/>
                    <a:gd name="T22" fmla="*/ 26 w 101"/>
                    <a:gd name="T23" fmla="*/ 275 h 275"/>
                    <a:gd name="T24" fmla="*/ 12 w 101"/>
                    <a:gd name="T25" fmla="*/ 275 h 275"/>
                    <a:gd name="T26" fmla="*/ 6 w 101"/>
                    <a:gd name="T27" fmla="*/ 275 h 275"/>
                    <a:gd name="T28" fmla="*/ 3 w 101"/>
                    <a:gd name="T29" fmla="*/ 272 h 275"/>
                    <a:gd name="T30" fmla="*/ 0 w 101"/>
                    <a:gd name="T31" fmla="*/ 267 h 275"/>
                    <a:gd name="T32" fmla="*/ 0 w 101"/>
                    <a:gd name="T33" fmla="*/ 264 h 275"/>
                    <a:gd name="T34" fmla="*/ 0 w 101"/>
                    <a:gd name="T35" fmla="*/ 261 h 275"/>
                    <a:gd name="T36" fmla="*/ 0 w 101"/>
                    <a:gd name="T37" fmla="*/ 257 h 275"/>
                    <a:gd name="T38" fmla="*/ 35 w 101"/>
                    <a:gd name="T39" fmla="*/ 131 h 275"/>
                    <a:gd name="T40" fmla="*/ 44 w 101"/>
                    <a:gd name="T41" fmla="*/ 102 h 275"/>
                    <a:gd name="T42" fmla="*/ 45 w 101"/>
                    <a:gd name="T43" fmla="*/ 96 h 275"/>
                    <a:gd name="T44" fmla="*/ 58 w 101"/>
                    <a:gd name="T45" fmla="*/ 51 h 275"/>
                    <a:gd name="T46" fmla="*/ 58 w 101"/>
                    <a:gd name="T47" fmla="*/ 49 h 275"/>
                    <a:gd name="T48" fmla="*/ 67 w 101"/>
                    <a:gd name="T49" fmla="*/ 19 h 275"/>
                    <a:gd name="T50" fmla="*/ 67 w 101"/>
                    <a:gd name="T51" fmla="*/ 16 h 275"/>
                    <a:gd name="T52" fmla="*/ 69 w 101"/>
                    <a:gd name="T53" fmla="*/ 13 h 275"/>
                    <a:gd name="T54" fmla="*/ 72 w 101"/>
                    <a:gd name="T55" fmla="*/ 10 h 275"/>
                    <a:gd name="T56" fmla="*/ 77 w 101"/>
                    <a:gd name="T57" fmla="*/ 7 h 275"/>
                    <a:gd name="T58" fmla="*/ 89 w 101"/>
                    <a:gd name="T59" fmla="*/ 1 h 275"/>
                    <a:gd name="T60" fmla="*/ 101 w 101"/>
                    <a:gd name="T61" fmla="*/ 0 h 2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01" h="275">
                      <a:moveTo>
                        <a:pt x="101" y="0"/>
                      </a:moveTo>
                      <a:lnTo>
                        <a:pt x="95" y="1"/>
                      </a:lnTo>
                      <a:lnTo>
                        <a:pt x="89" y="4"/>
                      </a:lnTo>
                      <a:lnTo>
                        <a:pt x="85" y="10"/>
                      </a:lnTo>
                      <a:lnTo>
                        <a:pt x="82" y="16"/>
                      </a:lnTo>
                      <a:lnTo>
                        <a:pt x="48" y="136"/>
                      </a:lnTo>
                      <a:lnTo>
                        <a:pt x="15" y="257"/>
                      </a:lnTo>
                      <a:lnTo>
                        <a:pt x="13" y="263"/>
                      </a:lnTo>
                      <a:lnTo>
                        <a:pt x="15" y="267"/>
                      </a:lnTo>
                      <a:lnTo>
                        <a:pt x="18" y="272"/>
                      </a:lnTo>
                      <a:lnTo>
                        <a:pt x="21" y="275"/>
                      </a:lnTo>
                      <a:lnTo>
                        <a:pt x="26" y="275"/>
                      </a:lnTo>
                      <a:lnTo>
                        <a:pt x="12" y="275"/>
                      </a:lnTo>
                      <a:lnTo>
                        <a:pt x="6" y="275"/>
                      </a:lnTo>
                      <a:lnTo>
                        <a:pt x="3" y="272"/>
                      </a:lnTo>
                      <a:lnTo>
                        <a:pt x="0" y="267"/>
                      </a:lnTo>
                      <a:lnTo>
                        <a:pt x="0" y="264"/>
                      </a:lnTo>
                      <a:lnTo>
                        <a:pt x="0" y="261"/>
                      </a:lnTo>
                      <a:lnTo>
                        <a:pt x="0" y="257"/>
                      </a:lnTo>
                      <a:lnTo>
                        <a:pt x="35" y="131"/>
                      </a:lnTo>
                      <a:lnTo>
                        <a:pt x="44" y="102"/>
                      </a:lnTo>
                      <a:lnTo>
                        <a:pt x="45" y="96"/>
                      </a:lnTo>
                      <a:lnTo>
                        <a:pt x="58" y="51"/>
                      </a:lnTo>
                      <a:lnTo>
                        <a:pt x="58" y="49"/>
                      </a:lnTo>
                      <a:lnTo>
                        <a:pt x="67" y="19"/>
                      </a:lnTo>
                      <a:lnTo>
                        <a:pt x="67" y="16"/>
                      </a:lnTo>
                      <a:lnTo>
                        <a:pt x="69" y="13"/>
                      </a:lnTo>
                      <a:lnTo>
                        <a:pt x="72" y="10"/>
                      </a:lnTo>
                      <a:lnTo>
                        <a:pt x="77" y="7"/>
                      </a:lnTo>
                      <a:lnTo>
                        <a:pt x="89" y="1"/>
                      </a:lnTo>
                      <a:lnTo>
                        <a:pt x="101" y="0"/>
                      </a:lnTo>
                      <a:close/>
                    </a:path>
                  </a:pathLst>
                </a:custGeom>
                <a:solidFill>
                  <a:srgbClr val="FFE2B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81" name="Freeform 473"/>
                <p:cNvSpPr>
                  <a:spLocks/>
                </p:cNvSpPr>
                <p:nvPr/>
              </p:nvSpPr>
              <p:spPr bwMode="auto">
                <a:xfrm>
                  <a:off x="2405063" y="3814763"/>
                  <a:ext cx="669925" cy="439738"/>
                </a:xfrm>
                <a:custGeom>
                  <a:avLst/>
                  <a:gdLst>
                    <a:gd name="T0" fmla="*/ 91 w 422"/>
                    <a:gd name="T1" fmla="*/ 0 h 277"/>
                    <a:gd name="T2" fmla="*/ 411 w 422"/>
                    <a:gd name="T3" fmla="*/ 0 h 277"/>
                    <a:gd name="T4" fmla="*/ 415 w 422"/>
                    <a:gd name="T5" fmla="*/ 2 h 277"/>
                    <a:gd name="T6" fmla="*/ 418 w 422"/>
                    <a:gd name="T7" fmla="*/ 3 h 277"/>
                    <a:gd name="T8" fmla="*/ 421 w 422"/>
                    <a:gd name="T9" fmla="*/ 6 h 277"/>
                    <a:gd name="T10" fmla="*/ 422 w 422"/>
                    <a:gd name="T11" fmla="*/ 11 h 277"/>
                    <a:gd name="T12" fmla="*/ 422 w 422"/>
                    <a:gd name="T13" fmla="*/ 15 h 277"/>
                    <a:gd name="T14" fmla="*/ 422 w 422"/>
                    <a:gd name="T15" fmla="*/ 21 h 277"/>
                    <a:gd name="T16" fmla="*/ 355 w 422"/>
                    <a:gd name="T17" fmla="*/ 258 h 277"/>
                    <a:gd name="T18" fmla="*/ 352 w 422"/>
                    <a:gd name="T19" fmla="*/ 263 h 277"/>
                    <a:gd name="T20" fmla="*/ 349 w 422"/>
                    <a:gd name="T21" fmla="*/ 269 h 277"/>
                    <a:gd name="T22" fmla="*/ 344 w 422"/>
                    <a:gd name="T23" fmla="*/ 274 h 277"/>
                    <a:gd name="T24" fmla="*/ 339 w 422"/>
                    <a:gd name="T25" fmla="*/ 277 h 277"/>
                    <a:gd name="T26" fmla="*/ 333 w 422"/>
                    <a:gd name="T27" fmla="*/ 277 h 277"/>
                    <a:gd name="T28" fmla="*/ 13 w 422"/>
                    <a:gd name="T29" fmla="*/ 277 h 277"/>
                    <a:gd name="T30" fmla="*/ 8 w 422"/>
                    <a:gd name="T31" fmla="*/ 277 h 277"/>
                    <a:gd name="T32" fmla="*/ 5 w 422"/>
                    <a:gd name="T33" fmla="*/ 274 h 277"/>
                    <a:gd name="T34" fmla="*/ 2 w 422"/>
                    <a:gd name="T35" fmla="*/ 269 h 277"/>
                    <a:gd name="T36" fmla="*/ 0 w 422"/>
                    <a:gd name="T37" fmla="*/ 265 h 277"/>
                    <a:gd name="T38" fmla="*/ 2 w 422"/>
                    <a:gd name="T39" fmla="*/ 259 h 277"/>
                    <a:gd name="T40" fmla="*/ 35 w 422"/>
                    <a:gd name="T41" fmla="*/ 138 h 277"/>
                    <a:gd name="T42" fmla="*/ 69 w 422"/>
                    <a:gd name="T43" fmla="*/ 18 h 277"/>
                    <a:gd name="T44" fmla="*/ 72 w 422"/>
                    <a:gd name="T45" fmla="*/ 12 h 277"/>
                    <a:gd name="T46" fmla="*/ 75 w 422"/>
                    <a:gd name="T47" fmla="*/ 8 h 277"/>
                    <a:gd name="T48" fmla="*/ 80 w 422"/>
                    <a:gd name="T49" fmla="*/ 5 h 277"/>
                    <a:gd name="T50" fmla="*/ 85 w 422"/>
                    <a:gd name="T51" fmla="*/ 2 h 277"/>
                    <a:gd name="T52" fmla="*/ 91 w 422"/>
                    <a:gd name="T53" fmla="*/ 0 h 2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422" h="277">
                      <a:moveTo>
                        <a:pt x="91" y="0"/>
                      </a:moveTo>
                      <a:lnTo>
                        <a:pt x="411" y="0"/>
                      </a:lnTo>
                      <a:lnTo>
                        <a:pt x="415" y="2"/>
                      </a:lnTo>
                      <a:lnTo>
                        <a:pt x="418" y="3"/>
                      </a:lnTo>
                      <a:lnTo>
                        <a:pt x="421" y="6"/>
                      </a:lnTo>
                      <a:lnTo>
                        <a:pt x="422" y="11"/>
                      </a:lnTo>
                      <a:lnTo>
                        <a:pt x="422" y="15"/>
                      </a:lnTo>
                      <a:lnTo>
                        <a:pt x="422" y="21"/>
                      </a:lnTo>
                      <a:lnTo>
                        <a:pt x="355" y="258"/>
                      </a:lnTo>
                      <a:lnTo>
                        <a:pt x="352" y="263"/>
                      </a:lnTo>
                      <a:lnTo>
                        <a:pt x="349" y="269"/>
                      </a:lnTo>
                      <a:lnTo>
                        <a:pt x="344" y="274"/>
                      </a:lnTo>
                      <a:lnTo>
                        <a:pt x="339" y="277"/>
                      </a:lnTo>
                      <a:lnTo>
                        <a:pt x="333" y="277"/>
                      </a:lnTo>
                      <a:lnTo>
                        <a:pt x="13" y="277"/>
                      </a:lnTo>
                      <a:lnTo>
                        <a:pt x="8" y="277"/>
                      </a:lnTo>
                      <a:lnTo>
                        <a:pt x="5" y="274"/>
                      </a:lnTo>
                      <a:lnTo>
                        <a:pt x="2" y="269"/>
                      </a:lnTo>
                      <a:lnTo>
                        <a:pt x="0" y="265"/>
                      </a:lnTo>
                      <a:lnTo>
                        <a:pt x="2" y="259"/>
                      </a:lnTo>
                      <a:lnTo>
                        <a:pt x="35" y="138"/>
                      </a:lnTo>
                      <a:lnTo>
                        <a:pt x="69" y="18"/>
                      </a:lnTo>
                      <a:lnTo>
                        <a:pt x="72" y="12"/>
                      </a:lnTo>
                      <a:lnTo>
                        <a:pt x="75" y="8"/>
                      </a:lnTo>
                      <a:lnTo>
                        <a:pt x="80" y="5"/>
                      </a:lnTo>
                      <a:lnTo>
                        <a:pt x="85" y="2"/>
                      </a:lnTo>
                      <a:lnTo>
                        <a:pt x="91" y="0"/>
                      </a:lnTo>
                      <a:close/>
                    </a:path>
                  </a:pathLst>
                </a:custGeom>
                <a:solidFill>
                  <a:srgbClr val="FFF0D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82" name="Freeform 474"/>
                <p:cNvSpPr>
                  <a:spLocks/>
                </p:cNvSpPr>
                <p:nvPr/>
              </p:nvSpPr>
              <p:spPr bwMode="auto">
                <a:xfrm>
                  <a:off x="2689226" y="3981450"/>
                  <a:ext cx="95250" cy="106363"/>
                </a:xfrm>
                <a:custGeom>
                  <a:avLst/>
                  <a:gdLst>
                    <a:gd name="T0" fmla="*/ 38 w 60"/>
                    <a:gd name="T1" fmla="*/ 0 h 67"/>
                    <a:gd name="T2" fmla="*/ 40 w 60"/>
                    <a:gd name="T3" fmla="*/ 0 h 67"/>
                    <a:gd name="T4" fmla="*/ 50 w 60"/>
                    <a:gd name="T5" fmla="*/ 3 h 67"/>
                    <a:gd name="T6" fmla="*/ 57 w 60"/>
                    <a:gd name="T7" fmla="*/ 10 h 67"/>
                    <a:gd name="T8" fmla="*/ 60 w 60"/>
                    <a:gd name="T9" fmla="*/ 22 h 67"/>
                    <a:gd name="T10" fmla="*/ 58 w 60"/>
                    <a:gd name="T11" fmla="*/ 33 h 67"/>
                    <a:gd name="T12" fmla="*/ 50 w 60"/>
                    <a:gd name="T13" fmla="*/ 51 h 67"/>
                    <a:gd name="T14" fmla="*/ 37 w 60"/>
                    <a:gd name="T15" fmla="*/ 63 h 67"/>
                    <a:gd name="T16" fmla="*/ 21 w 60"/>
                    <a:gd name="T17" fmla="*/ 67 h 67"/>
                    <a:gd name="T18" fmla="*/ 21 w 60"/>
                    <a:gd name="T19" fmla="*/ 67 h 67"/>
                    <a:gd name="T20" fmla="*/ 10 w 60"/>
                    <a:gd name="T21" fmla="*/ 64 h 67"/>
                    <a:gd name="T22" fmla="*/ 3 w 60"/>
                    <a:gd name="T23" fmla="*/ 58 h 67"/>
                    <a:gd name="T24" fmla="*/ 0 w 60"/>
                    <a:gd name="T25" fmla="*/ 47 h 67"/>
                    <a:gd name="T26" fmla="*/ 2 w 60"/>
                    <a:gd name="T27" fmla="*/ 33 h 67"/>
                    <a:gd name="T28" fmla="*/ 10 w 60"/>
                    <a:gd name="T29" fmla="*/ 17 h 67"/>
                    <a:gd name="T30" fmla="*/ 24 w 60"/>
                    <a:gd name="T31" fmla="*/ 6 h 67"/>
                    <a:gd name="T32" fmla="*/ 38 w 60"/>
                    <a:gd name="T33" fmla="*/ 0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0" h="67">
                      <a:moveTo>
                        <a:pt x="38" y="0"/>
                      </a:moveTo>
                      <a:lnTo>
                        <a:pt x="40" y="0"/>
                      </a:lnTo>
                      <a:lnTo>
                        <a:pt x="50" y="3"/>
                      </a:lnTo>
                      <a:lnTo>
                        <a:pt x="57" y="10"/>
                      </a:lnTo>
                      <a:lnTo>
                        <a:pt x="60" y="22"/>
                      </a:lnTo>
                      <a:lnTo>
                        <a:pt x="58" y="33"/>
                      </a:lnTo>
                      <a:lnTo>
                        <a:pt x="50" y="51"/>
                      </a:lnTo>
                      <a:lnTo>
                        <a:pt x="37" y="63"/>
                      </a:lnTo>
                      <a:lnTo>
                        <a:pt x="21" y="67"/>
                      </a:lnTo>
                      <a:lnTo>
                        <a:pt x="21" y="67"/>
                      </a:lnTo>
                      <a:lnTo>
                        <a:pt x="10" y="64"/>
                      </a:lnTo>
                      <a:lnTo>
                        <a:pt x="3" y="58"/>
                      </a:lnTo>
                      <a:lnTo>
                        <a:pt x="0" y="47"/>
                      </a:lnTo>
                      <a:lnTo>
                        <a:pt x="2" y="33"/>
                      </a:lnTo>
                      <a:lnTo>
                        <a:pt x="10" y="17"/>
                      </a:lnTo>
                      <a:lnTo>
                        <a:pt x="24" y="6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FFE2B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83" name="Freeform 475"/>
                <p:cNvSpPr>
                  <a:spLocks/>
                </p:cNvSpPr>
                <p:nvPr/>
              </p:nvSpPr>
              <p:spPr bwMode="auto">
                <a:xfrm>
                  <a:off x="5991226" y="4168775"/>
                  <a:ext cx="127000" cy="60325"/>
                </a:xfrm>
                <a:custGeom>
                  <a:avLst/>
                  <a:gdLst>
                    <a:gd name="T0" fmla="*/ 15 w 80"/>
                    <a:gd name="T1" fmla="*/ 0 h 38"/>
                    <a:gd name="T2" fmla="*/ 67 w 80"/>
                    <a:gd name="T3" fmla="*/ 0 h 38"/>
                    <a:gd name="T4" fmla="*/ 72 w 80"/>
                    <a:gd name="T5" fmla="*/ 1 h 38"/>
                    <a:gd name="T6" fmla="*/ 74 w 80"/>
                    <a:gd name="T7" fmla="*/ 4 h 38"/>
                    <a:gd name="T8" fmla="*/ 79 w 80"/>
                    <a:gd name="T9" fmla="*/ 7 h 38"/>
                    <a:gd name="T10" fmla="*/ 80 w 80"/>
                    <a:gd name="T11" fmla="*/ 13 h 38"/>
                    <a:gd name="T12" fmla="*/ 80 w 80"/>
                    <a:gd name="T13" fmla="*/ 19 h 38"/>
                    <a:gd name="T14" fmla="*/ 80 w 80"/>
                    <a:gd name="T15" fmla="*/ 24 h 38"/>
                    <a:gd name="T16" fmla="*/ 79 w 80"/>
                    <a:gd name="T17" fmla="*/ 30 h 38"/>
                    <a:gd name="T18" fmla="*/ 74 w 80"/>
                    <a:gd name="T19" fmla="*/ 35 h 38"/>
                    <a:gd name="T20" fmla="*/ 72 w 80"/>
                    <a:gd name="T21" fmla="*/ 38 h 38"/>
                    <a:gd name="T22" fmla="*/ 67 w 80"/>
                    <a:gd name="T23" fmla="*/ 38 h 38"/>
                    <a:gd name="T24" fmla="*/ 15 w 80"/>
                    <a:gd name="T25" fmla="*/ 38 h 38"/>
                    <a:gd name="T26" fmla="*/ 10 w 80"/>
                    <a:gd name="T27" fmla="*/ 38 h 38"/>
                    <a:gd name="T28" fmla="*/ 6 w 80"/>
                    <a:gd name="T29" fmla="*/ 35 h 38"/>
                    <a:gd name="T30" fmla="*/ 3 w 80"/>
                    <a:gd name="T31" fmla="*/ 30 h 38"/>
                    <a:gd name="T32" fmla="*/ 2 w 80"/>
                    <a:gd name="T33" fmla="*/ 24 h 38"/>
                    <a:gd name="T34" fmla="*/ 0 w 80"/>
                    <a:gd name="T35" fmla="*/ 19 h 38"/>
                    <a:gd name="T36" fmla="*/ 2 w 80"/>
                    <a:gd name="T37" fmla="*/ 13 h 38"/>
                    <a:gd name="T38" fmla="*/ 3 w 80"/>
                    <a:gd name="T39" fmla="*/ 7 h 38"/>
                    <a:gd name="T40" fmla="*/ 6 w 80"/>
                    <a:gd name="T41" fmla="*/ 4 h 38"/>
                    <a:gd name="T42" fmla="*/ 10 w 80"/>
                    <a:gd name="T43" fmla="*/ 1 h 38"/>
                    <a:gd name="T44" fmla="*/ 15 w 80"/>
                    <a:gd name="T45" fmla="*/ 0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80" h="38">
                      <a:moveTo>
                        <a:pt x="15" y="0"/>
                      </a:moveTo>
                      <a:lnTo>
                        <a:pt x="67" y="0"/>
                      </a:lnTo>
                      <a:lnTo>
                        <a:pt x="72" y="1"/>
                      </a:lnTo>
                      <a:lnTo>
                        <a:pt x="74" y="4"/>
                      </a:lnTo>
                      <a:lnTo>
                        <a:pt x="79" y="7"/>
                      </a:lnTo>
                      <a:lnTo>
                        <a:pt x="80" y="13"/>
                      </a:lnTo>
                      <a:lnTo>
                        <a:pt x="80" y="19"/>
                      </a:lnTo>
                      <a:lnTo>
                        <a:pt x="80" y="24"/>
                      </a:lnTo>
                      <a:lnTo>
                        <a:pt x="79" y="30"/>
                      </a:lnTo>
                      <a:lnTo>
                        <a:pt x="74" y="35"/>
                      </a:lnTo>
                      <a:lnTo>
                        <a:pt x="72" y="38"/>
                      </a:lnTo>
                      <a:lnTo>
                        <a:pt x="67" y="38"/>
                      </a:lnTo>
                      <a:lnTo>
                        <a:pt x="15" y="38"/>
                      </a:lnTo>
                      <a:lnTo>
                        <a:pt x="10" y="38"/>
                      </a:lnTo>
                      <a:lnTo>
                        <a:pt x="6" y="35"/>
                      </a:lnTo>
                      <a:lnTo>
                        <a:pt x="3" y="30"/>
                      </a:lnTo>
                      <a:lnTo>
                        <a:pt x="2" y="24"/>
                      </a:lnTo>
                      <a:lnTo>
                        <a:pt x="0" y="19"/>
                      </a:lnTo>
                      <a:lnTo>
                        <a:pt x="2" y="13"/>
                      </a:lnTo>
                      <a:lnTo>
                        <a:pt x="3" y="7"/>
                      </a:lnTo>
                      <a:lnTo>
                        <a:pt x="6" y="4"/>
                      </a:lnTo>
                      <a:lnTo>
                        <a:pt x="10" y="1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2D2B4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84" name="Freeform 476"/>
                <p:cNvSpPr>
                  <a:spLocks/>
                </p:cNvSpPr>
                <p:nvPr/>
              </p:nvSpPr>
              <p:spPr bwMode="auto">
                <a:xfrm>
                  <a:off x="5832476" y="4211638"/>
                  <a:ext cx="552450" cy="74613"/>
                </a:xfrm>
                <a:custGeom>
                  <a:avLst/>
                  <a:gdLst>
                    <a:gd name="T0" fmla="*/ 25 w 348"/>
                    <a:gd name="T1" fmla="*/ 0 h 47"/>
                    <a:gd name="T2" fmla="*/ 324 w 348"/>
                    <a:gd name="T3" fmla="*/ 0 h 47"/>
                    <a:gd name="T4" fmla="*/ 336 w 348"/>
                    <a:gd name="T5" fmla="*/ 3 h 47"/>
                    <a:gd name="T6" fmla="*/ 345 w 348"/>
                    <a:gd name="T7" fmla="*/ 12 h 47"/>
                    <a:gd name="T8" fmla="*/ 348 w 348"/>
                    <a:gd name="T9" fmla="*/ 24 h 47"/>
                    <a:gd name="T10" fmla="*/ 345 w 348"/>
                    <a:gd name="T11" fmla="*/ 35 h 47"/>
                    <a:gd name="T12" fmla="*/ 336 w 348"/>
                    <a:gd name="T13" fmla="*/ 44 h 47"/>
                    <a:gd name="T14" fmla="*/ 324 w 348"/>
                    <a:gd name="T15" fmla="*/ 47 h 47"/>
                    <a:gd name="T16" fmla="*/ 25 w 348"/>
                    <a:gd name="T17" fmla="*/ 47 h 47"/>
                    <a:gd name="T18" fmla="*/ 12 w 348"/>
                    <a:gd name="T19" fmla="*/ 44 h 47"/>
                    <a:gd name="T20" fmla="*/ 4 w 348"/>
                    <a:gd name="T21" fmla="*/ 35 h 47"/>
                    <a:gd name="T22" fmla="*/ 0 w 348"/>
                    <a:gd name="T23" fmla="*/ 24 h 47"/>
                    <a:gd name="T24" fmla="*/ 4 w 348"/>
                    <a:gd name="T25" fmla="*/ 12 h 47"/>
                    <a:gd name="T26" fmla="*/ 12 w 348"/>
                    <a:gd name="T27" fmla="*/ 3 h 47"/>
                    <a:gd name="T28" fmla="*/ 25 w 348"/>
                    <a:gd name="T29" fmla="*/ 0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48" h="47">
                      <a:moveTo>
                        <a:pt x="25" y="0"/>
                      </a:moveTo>
                      <a:lnTo>
                        <a:pt x="324" y="0"/>
                      </a:lnTo>
                      <a:lnTo>
                        <a:pt x="336" y="3"/>
                      </a:lnTo>
                      <a:lnTo>
                        <a:pt x="345" y="12"/>
                      </a:lnTo>
                      <a:lnTo>
                        <a:pt x="348" y="24"/>
                      </a:lnTo>
                      <a:lnTo>
                        <a:pt x="345" y="35"/>
                      </a:lnTo>
                      <a:lnTo>
                        <a:pt x="336" y="44"/>
                      </a:lnTo>
                      <a:lnTo>
                        <a:pt x="324" y="47"/>
                      </a:lnTo>
                      <a:lnTo>
                        <a:pt x="25" y="47"/>
                      </a:lnTo>
                      <a:lnTo>
                        <a:pt x="12" y="44"/>
                      </a:lnTo>
                      <a:lnTo>
                        <a:pt x="4" y="35"/>
                      </a:lnTo>
                      <a:lnTo>
                        <a:pt x="0" y="24"/>
                      </a:lnTo>
                      <a:lnTo>
                        <a:pt x="4" y="12"/>
                      </a:lnTo>
                      <a:lnTo>
                        <a:pt x="12" y="3"/>
                      </a:lnTo>
                      <a:lnTo>
                        <a:pt x="25" y="0"/>
                      </a:lnTo>
                      <a:close/>
                    </a:path>
                  </a:pathLst>
                </a:custGeom>
                <a:solidFill>
                  <a:srgbClr val="FFF0D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85" name="Freeform 477"/>
                <p:cNvSpPr>
                  <a:spLocks/>
                </p:cNvSpPr>
                <p:nvPr/>
              </p:nvSpPr>
              <p:spPr bwMode="auto">
                <a:xfrm>
                  <a:off x="5848351" y="4211638"/>
                  <a:ext cx="536575" cy="74613"/>
                </a:xfrm>
                <a:custGeom>
                  <a:avLst/>
                  <a:gdLst>
                    <a:gd name="T0" fmla="*/ 189 w 338"/>
                    <a:gd name="T1" fmla="*/ 0 h 47"/>
                    <a:gd name="T2" fmla="*/ 314 w 338"/>
                    <a:gd name="T3" fmla="*/ 0 h 47"/>
                    <a:gd name="T4" fmla="*/ 326 w 338"/>
                    <a:gd name="T5" fmla="*/ 3 h 47"/>
                    <a:gd name="T6" fmla="*/ 335 w 338"/>
                    <a:gd name="T7" fmla="*/ 12 h 47"/>
                    <a:gd name="T8" fmla="*/ 338 w 338"/>
                    <a:gd name="T9" fmla="*/ 24 h 47"/>
                    <a:gd name="T10" fmla="*/ 335 w 338"/>
                    <a:gd name="T11" fmla="*/ 35 h 47"/>
                    <a:gd name="T12" fmla="*/ 326 w 338"/>
                    <a:gd name="T13" fmla="*/ 44 h 47"/>
                    <a:gd name="T14" fmla="*/ 314 w 338"/>
                    <a:gd name="T15" fmla="*/ 47 h 47"/>
                    <a:gd name="T16" fmla="*/ 15 w 338"/>
                    <a:gd name="T17" fmla="*/ 47 h 47"/>
                    <a:gd name="T18" fmla="*/ 9 w 338"/>
                    <a:gd name="T19" fmla="*/ 47 h 47"/>
                    <a:gd name="T20" fmla="*/ 4 w 338"/>
                    <a:gd name="T21" fmla="*/ 45 h 47"/>
                    <a:gd name="T22" fmla="*/ 0 w 338"/>
                    <a:gd name="T23" fmla="*/ 43 h 47"/>
                    <a:gd name="T24" fmla="*/ 185 w 338"/>
                    <a:gd name="T25" fmla="*/ 43 h 47"/>
                    <a:gd name="T26" fmla="*/ 189 w 338"/>
                    <a:gd name="T27" fmla="*/ 41 h 47"/>
                    <a:gd name="T28" fmla="*/ 192 w 338"/>
                    <a:gd name="T29" fmla="*/ 41 h 47"/>
                    <a:gd name="T30" fmla="*/ 195 w 338"/>
                    <a:gd name="T31" fmla="*/ 38 h 47"/>
                    <a:gd name="T32" fmla="*/ 196 w 338"/>
                    <a:gd name="T33" fmla="*/ 35 h 47"/>
                    <a:gd name="T34" fmla="*/ 196 w 338"/>
                    <a:gd name="T35" fmla="*/ 32 h 47"/>
                    <a:gd name="T36" fmla="*/ 196 w 338"/>
                    <a:gd name="T37" fmla="*/ 29 h 47"/>
                    <a:gd name="T38" fmla="*/ 196 w 338"/>
                    <a:gd name="T39" fmla="*/ 28 h 47"/>
                    <a:gd name="T40" fmla="*/ 189 w 338"/>
                    <a:gd name="T41" fmla="*/ 0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38" h="47">
                      <a:moveTo>
                        <a:pt x="189" y="0"/>
                      </a:moveTo>
                      <a:lnTo>
                        <a:pt x="314" y="0"/>
                      </a:lnTo>
                      <a:lnTo>
                        <a:pt x="326" y="3"/>
                      </a:lnTo>
                      <a:lnTo>
                        <a:pt x="335" y="12"/>
                      </a:lnTo>
                      <a:lnTo>
                        <a:pt x="338" y="24"/>
                      </a:lnTo>
                      <a:lnTo>
                        <a:pt x="335" y="35"/>
                      </a:lnTo>
                      <a:lnTo>
                        <a:pt x="326" y="44"/>
                      </a:lnTo>
                      <a:lnTo>
                        <a:pt x="314" y="47"/>
                      </a:lnTo>
                      <a:lnTo>
                        <a:pt x="15" y="47"/>
                      </a:lnTo>
                      <a:lnTo>
                        <a:pt x="9" y="47"/>
                      </a:lnTo>
                      <a:lnTo>
                        <a:pt x="4" y="45"/>
                      </a:lnTo>
                      <a:lnTo>
                        <a:pt x="0" y="43"/>
                      </a:lnTo>
                      <a:lnTo>
                        <a:pt x="185" y="43"/>
                      </a:lnTo>
                      <a:lnTo>
                        <a:pt x="189" y="41"/>
                      </a:lnTo>
                      <a:lnTo>
                        <a:pt x="192" y="41"/>
                      </a:lnTo>
                      <a:lnTo>
                        <a:pt x="195" y="38"/>
                      </a:lnTo>
                      <a:lnTo>
                        <a:pt x="196" y="35"/>
                      </a:lnTo>
                      <a:lnTo>
                        <a:pt x="196" y="32"/>
                      </a:lnTo>
                      <a:lnTo>
                        <a:pt x="196" y="29"/>
                      </a:lnTo>
                      <a:lnTo>
                        <a:pt x="196" y="28"/>
                      </a:lnTo>
                      <a:lnTo>
                        <a:pt x="189" y="0"/>
                      </a:lnTo>
                      <a:close/>
                    </a:path>
                  </a:pathLst>
                </a:custGeom>
                <a:solidFill>
                  <a:srgbClr val="FFE2B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86" name="Freeform 478"/>
                <p:cNvSpPr>
                  <a:spLocks/>
                </p:cNvSpPr>
                <p:nvPr/>
              </p:nvSpPr>
              <p:spPr bwMode="auto">
                <a:xfrm>
                  <a:off x="5608638" y="3840163"/>
                  <a:ext cx="550863" cy="439738"/>
                </a:xfrm>
                <a:custGeom>
                  <a:avLst/>
                  <a:gdLst>
                    <a:gd name="T0" fmla="*/ 16 w 347"/>
                    <a:gd name="T1" fmla="*/ 0 h 277"/>
                    <a:gd name="T2" fmla="*/ 243 w 347"/>
                    <a:gd name="T3" fmla="*/ 0 h 277"/>
                    <a:gd name="T4" fmla="*/ 253 w 347"/>
                    <a:gd name="T5" fmla="*/ 2 h 277"/>
                    <a:gd name="T6" fmla="*/ 265 w 347"/>
                    <a:gd name="T7" fmla="*/ 5 h 277"/>
                    <a:gd name="T8" fmla="*/ 276 w 347"/>
                    <a:gd name="T9" fmla="*/ 12 h 277"/>
                    <a:gd name="T10" fmla="*/ 281 w 347"/>
                    <a:gd name="T11" fmla="*/ 19 h 277"/>
                    <a:gd name="T12" fmla="*/ 347 w 347"/>
                    <a:gd name="T13" fmla="*/ 262 h 277"/>
                    <a:gd name="T14" fmla="*/ 347 w 347"/>
                    <a:gd name="T15" fmla="*/ 266 h 277"/>
                    <a:gd name="T16" fmla="*/ 346 w 347"/>
                    <a:gd name="T17" fmla="*/ 271 h 277"/>
                    <a:gd name="T18" fmla="*/ 343 w 347"/>
                    <a:gd name="T19" fmla="*/ 274 h 277"/>
                    <a:gd name="T20" fmla="*/ 340 w 347"/>
                    <a:gd name="T21" fmla="*/ 275 h 277"/>
                    <a:gd name="T22" fmla="*/ 336 w 347"/>
                    <a:gd name="T23" fmla="*/ 277 h 277"/>
                    <a:gd name="T24" fmla="*/ 16 w 347"/>
                    <a:gd name="T25" fmla="*/ 277 h 277"/>
                    <a:gd name="T26" fmla="*/ 11 w 347"/>
                    <a:gd name="T27" fmla="*/ 275 h 277"/>
                    <a:gd name="T28" fmla="*/ 7 w 347"/>
                    <a:gd name="T29" fmla="*/ 272 h 277"/>
                    <a:gd name="T30" fmla="*/ 3 w 347"/>
                    <a:gd name="T31" fmla="*/ 268 h 277"/>
                    <a:gd name="T32" fmla="*/ 1 w 347"/>
                    <a:gd name="T33" fmla="*/ 263 h 277"/>
                    <a:gd name="T34" fmla="*/ 0 w 347"/>
                    <a:gd name="T35" fmla="*/ 256 h 277"/>
                    <a:gd name="T36" fmla="*/ 0 w 347"/>
                    <a:gd name="T37" fmla="*/ 19 h 277"/>
                    <a:gd name="T38" fmla="*/ 1 w 347"/>
                    <a:gd name="T39" fmla="*/ 13 h 277"/>
                    <a:gd name="T40" fmla="*/ 3 w 347"/>
                    <a:gd name="T41" fmla="*/ 8 h 277"/>
                    <a:gd name="T42" fmla="*/ 7 w 347"/>
                    <a:gd name="T43" fmla="*/ 3 h 277"/>
                    <a:gd name="T44" fmla="*/ 11 w 347"/>
                    <a:gd name="T45" fmla="*/ 0 h 277"/>
                    <a:gd name="T46" fmla="*/ 16 w 347"/>
                    <a:gd name="T47" fmla="*/ 0 h 2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347" h="277">
                      <a:moveTo>
                        <a:pt x="16" y="0"/>
                      </a:moveTo>
                      <a:lnTo>
                        <a:pt x="243" y="0"/>
                      </a:lnTo>
                      <a:lnTo>
                        <a:pt x="253" y="2"/>
                      </a:lnTo>
                      <a:lnTo>
                        <a:pt x="265" y="5"/>
                      </a:lnTo>
                      <a:lnTo>
                        <a:pt x="276" y="12"/>
                      </a:lnTo>
                      <a:lnTo>
                        <a:pt x="281" y="19"/>
                      </a:lnTo>
                      <a:lnTo>
                        <a:pt x="347" y="262"/>
                      </a:lnTo>
                      <a:lnTo>
                        <a:pt x="347" y="266"/>
                      </a:lnTo>
                      <a:lnTo>
                        <a:pt x="346" y="271"/>
                      </a:lnTo>
                      <a:lnTo>
                        <a:pt x="343" y="274"/>
                      </a:lnTo>
                      <a:lnTo>
                        <a:pt x="340" y="275"/>
                      </a:lnTo>
                      <a:lnTo>
                        <a:pt x="336" y="277"/>
                      </a:lnTo>
                      <a:lnTo>
                        <a:pt x="16" y="277"/>
                      </a:lnTo>
                      <a:lnTo>
                        <a:pt x="11" y="275"/>
                      </a:lnTo>
                      <a:lnTo>
                        <a:pt x="7" y="272"/>
                      </a:lnTo>
                      <a:lnTo>
                        <a:pt x="3" y="268"/>
                      </a:lnTo>
                      <a:lnTo>
                        <a:pt x="1" y="263"/>
                      </a:lnTo>
                      <a:lnTo>
                        <a:pt x="0" y="256"/>
                      </a:lnTo>
                      <a:lnTo>
                        <a:pt x="0" y="19"/>
                      </a:lnTo>
                      <a:lnTo>
                        <a:pt x="1" y="13"/>
                      </a:lnTo>
                      <a:lnTo>
                        <a:pt x="3" y="8"/>
                      </a:lnTo>
                      <a:lnTo>
                        <a:pt x="7" y="3"/>
                      </a:lnTo>
                      <a:lnTo>
                        <a:pt x="11" y="0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solidFill>
                  <a:srgbClr val="FFF0D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87" name="Freeform 479"/>
                <p:cNvSpPr>
                  <a:spLocks/>
                </p:cNvSpPr>
                <p:nvPr/>
              </p:nvSpPr>
              <p:spPr bwMode="auto">
                <a:xfrm>
                  <a:off x="6070601" y="3929063"/>
                  <a:ext cx="31750" cy="119063"/>
                </a:xfrm>
                <a:custGeom>
                  <a:avLst/>
                  <a:gdLst>
                    <a:gd name="T0" fmla="*/ 0 w 20"/>
                    <a:gd name="T1" fmla="*/ 0 h 75"/>
                    <a:gd name="T2" fmla="*/ 0 w 20"/>
                    <a:gd name="T3" fmla="*/ 0 h 75"/>
                    <a:gd name="T4" fmla="*/ 20 w 20"/>
                    <a:gd name="T5" fmla="*/ 75 h 75"/>
                    <a:gd name="T6" fmla="*/ 0 w 20"/>
                    <a:gd name="T7" fmla="*/ 0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0" h="75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20" y="7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6A36B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88" name="Freeform 480"/>
                <p:cNvSpPr>
                  <a:spLocks/>
                </p:cNvSpPr>
                <p:nvPr/>
              </p:nvSpPr>
              <p:spPr bwMode="auto">
                <a:xfrm>
                  <a:off x="6054726" y="3873500"/>
                  <a:ext cx="15875" cy="55563"/>
                </a:xfrm>
                <a:custGeom>
                  <a:avLst/>
                  <a:gdLst>
                    <a:gd name="T0" fmla="*/ 0 w 10"/>
                    <a:gd name="T1" fmla="*/ 0 h 35"/>
                    <a:gd name="T2" fmla="*/ 10 w 10"/>
                    <a:gd name="T3" fmla="*/ 35 h 35"/>
                    <a:gd name="T4" fmla="*/ 10 w 10"/>
                    <a:gd name="T5" fmla="*/ 35 h 35"/>
                    <a:gd name="T6" fmla="*/ 0 w 10"/>
                    <a:gd name="T7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0" h="35">
                      <a:moveTo>
                        <a:pt x="0" y="0"/>
                      </a:moveTo>
                      <a:lnTo>
                        <a:pt x="10" y="35"/>
                      </a:lnTo>
                      <a:lnTo>
                        <a:pt x="10" y="3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AF192A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89" name="Freeform 481"/>
                <p:cNvSpPr>
                  <a:spLocks/>
                </p:cNvSpPr>
                <p:nvPr/>
              </p:nvSpPr>
              <p:spPr bwMode="auto">
                <a:xfrm>
                  <a:off x="5995988" y="3840163"/>
                  <a:ext cx="50800" cy="19050"/>
                </a:xfrm>
                <a:custGeom>
                  <a:avLst/>
                  <a:gdLst>
                    <a:gd name="T0" fmla="*/ 0 w 32"/>
                    <a:gd name="T1" fmla="*/ 0 h 12"/>
                    <a:gd name="T2" fmla="*/ 13 w 32"/>
                    <a:gd name="T3" fmla="*/ 0 h 12"/>
                    <a:gd name="T4" fmla="*/ 19 w 32"/>
                    <a:gd name="T5" fmla="*/ 0 h 12"/>
                    <a:gd name="T6" fmla="*/ 25 w 32"/>
                    <a:gd name="T7" fmla="*/ 3 h 12"/>
                    <a:gd name="T8" fmla="*/ 29 w 32"/>
                    <a:gd name="T9" fmla="*/ 6 h 12"/>
                    <a:gd name="T10" fmla="*/ 32 w 32"/>
                    <a:gd name="T11" fmla="*/ 11 h 12"/>
                    <a:gd name="T12" fmla="*/ 32 w 32"/>
                    <a:gd name="T13" fmla="*/ 12 h 12"/>
                    <a:gd name="T14" fmla="*/ 23 w 32"/>
                    <a:gd name="T15" fmla="*/ 6 h 12"/>
                    <a:gd name="T16" fmla="*/ 12 w 32"/>
                    <a:gd name="T17" fmla="*/ 2 h 12"/>
                    <a:gd name="T18" fmla="*/ 3 w 32"/>
                    <a:gd name="T19" fmla="*/ 0 h 12"/>
                    <a:gd name="T20" fmla="*/ 0 w 32"/>
                    <a:gd name="T21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2" h="12">
                      <a:moveTo>
                        <a:pt x="0" y="0"/>
                      </a:moveTo>
                      <a:lnTo>
                        <a:pt x="13" y="0"/>
                      </a:lnTo>
                      <a:lnTo>
                        <a:pt x="19" y="0"/>
                      </a:lnTo>
                      <a:lnTo>
                        <a:pt x="25" y="3"/>
                      </a:lnTo>
                      <a:lnTo>
                        <a:pt x="29" y="6"/>
                      </a:lnTo>
                      <a:lnTo>
                        <a:pt x="32" y="11"/>
                      </a:lnTo>
                      <a:lnTo>
                        <a:pt x="32" y="12"/>
                      </a:lnTo>
                      <a:lnTo>
                        <a:pt x="23" y="6"/>
                      </a:lnTo>
                      <a:lnTo>
                        <a:pt x="12" y="2"/>
                      </a:lnTo>
                      <a:lnTo>
                        <a:pt x="3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0D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90" name="Freeform 482"/>
                <p:cNvSpPr>
                  <a:spLocks/>
                </p:cNvSpPr>
                <p:nvPr/>
              </p:nvSpPr>
              <p:spPr bwMode="auto">
                <a:xfrm>
                  <a:off x="6046788" y="3857625"/>
                  <a:ext cx="4763" cy="6350"/>
                </a:xfrm>
                <a:custGeom>
                  <a:avLst/>
                  <a:gdLst>
                    <a:gd name="T0" fmla="*/ 0 w 3"/>
                    <a:gd name="T1" fmla="*/ 0 h 4"/>
                    <a:gd name="T2" fmla="*/ 3 w 3"/>
                    <a:gd name="T3" fmla="*/ 4 h 4"/>
                    <a:gd name="T4" fmla="*/ 0 w 3"/>
                    <a:gd name="T5" fmla="*/ 1 h 4"/>
                    <a:gd name="T6" fmla="*/ 0 w 3"/>
                    <a:gd name="T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4">
                      <a:moveTo>
                        <a:pt x="0" y="0"/>
                      </a:moveTo>
                      <a:lnTo>
                        <a:pt x="3" y="4"/>
                      </a:lnTo>
                      <a:lnTo>
                        <a:pt x="0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AF192A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91" name="Freeform 483"/>
                <p:cNvSpPr>
                  <a:spLocks/>
                </p:cNvSpPr>
                <p:nvPr/>
              </p:nvSpPr>
              <p:spPr bwMode="auto">
                <a:xfrm>
                  <a:off x="6159501" y="4257675"/>
                  <a:ext cx="0" cy="9525"/>
                </a:xfrm>
                <a:custGeom>
                  <a:avLst/>
                  <a:gdLst>
                    <a:gd name="T0" fmla="*/ 0 h 6"/>
                    <a:gd name="T1" fmla="*/ 3 h 6"/>
                    <a:gd name="T2" fmla="*/ 6 h 6"/>
                    <a:gd name="T3" fmla="*/ 3 h 6"/>
                    <a:gd name="T4" fmla="*/ 0 h 6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</a:cxnLst>
                  <a:rect l="0" t="0" r="r" b="b"/>
                  <a:pathLst>
                    <a:path h="6">
                      <a:moveTo>
                        <a:pt x="0" y="0"/>
                      </a:moveTo>
                      <a:lnTo>
                        <a:pt x="0" y="3"/>
                      </a:lnTo>
                      <a:lnTo>
                        <a:pt x="0" y="6"/>
                      </a:lnTo>
                      <a:lnTo>
                        <a:pt x="0" y="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D599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92" name="Freeform 484"/>
                <p:cNvSpPr>
                  <a:spLocks/>
                </p:cNvSpPr>
                <p:nvPr/>
              </p:nvSpPr>
              <p:spPr bwMode="auto">
                <a:xfrm>
                  <a:off x="6000751" y="3840163"/>
                  <a:ext cx="158750" cy="439738"/>
                </a:xfrm>
                <a:custGeom>
                  <a:avLst/>
                  <a:gdLst>
                    <a:gd name="T0" fmla="*/ 0 w 100"/>
                    <a:gd name="T1" fmla="*/ 0 h 277"/>
                    <a:gd name="T2" fmla="*/ 9 w 100"/>
                    <a:gd name="T3" fmla="*/ 2 h 277"/>
                    <a:gd name="T4" fmla="*/ 20 w 100"/>
                    <a:gd name="T5" fmla="*/ 6 h 277"/>
                    <a:gd name="T6" fmla="*/ 29 w 100"/>
                    <a:gd name="T7" fmla="*/ 12 h 277"/>
                    <a:gd name="T8" fmla="*/ 32 w 100"/>
                    <a:gd name="T9" fmla="*/ 15 h 277"/>
                    <a:gd name="T10" fmla="*/ 32 w 100"/>
                    <a:gd name="T11" fmla="*/ 16 h 277"/>
                    <a:gd name="T12" fmla="*/ 34 w 100"/>
                    <a:gd name="T13" fmla="*/ 21 h 277"/>
                    <a:gd name="T14" fmla="*/ 44 w 100"/>
                    <a:gd name="T15" fmla="*/ 56 h 277"/>
                    <a:gd name="T16" fmla="*/ 64 w 100"/>
                    <a:gd name="T17" fmla="*/ 131 h 277"/>
                    <a:gd name="T18" fmla="*/ 100 w 100"/>
                    <a:gd name="T19" fmla="*/ 259 h 277"/>
                    <a:gd name="T20" fmla="*/ 100 w 100"/>
                    <a:gd name="T21" fmla="*/ 263 h 277"/>
                    <a:gd name="T22" fmla="*/ 100 w 100"/>
                    <a:gd name="T23" fmla="*/ 266 h 277"/>
                    <a:gd name="T24" fmla="*/ 100 w 100"/>
                    <a:gd name="T25" fmla="*/ 269 h 277"/>
                    <a:gd name="T26" fmla="*/ 98 w 100"/>
                    <a:gd name="T27" fmla="*/ 272 h 277"/>
                    <a:gd name="T28" fmla="*/ 93 w 100"/>
                    <a:gd name="T29" fmla="*/ 275 h 277"/>
                    <a:gd name="T30" fmla="*/ 89 w 100"/>
                    <a:gd name="T31" fmla="*/ 277 h 277"/>
                    <a:gd name="T32" fmla="*/ 74 w 100"/>
                    <a:gd name="T33" fmla="*/ 277 h 277"/>
                    <a:gd name="T34" fmla="*/ 79 w 100"/>
                    <a:gd name="T35" fmla="*/ 275 h 277"/>
                    <a:gd name="T36" fmla="*/ 83 w 100"/>
                    <a:gd name="T37" fmla="*/ 272 h 277"/>
                    <a:gd name="T38" fmla="*/ 86 w 100"/>
                    <a:gd name="T39" fmla="*/ 269 h 277"/>
                    <a:gd name="T40" fmla="*/ 86 w 100"/>
                    <a:gd name="T41" fmla="*/ 265 h 277"/>
                    <a:gd name="T42" fmla="*/ 86 w 100"/>
                    <a:gd name="T43" fmla="*/ 259 h 277"/>
                    <a:gd name="T44" fmla="*/ 52 w 100"/>
                    <a:gd name="T45" fmla="*/ 138 h 277"/>
                    <a:gd name="T46" fmla="*/ 19 w 100"/>
                    <a:gd name="T47" fmla="*/ 18 h 277"/>
                    <a:gd name="T48" fmla="*/ 16 w 100"/>
                    <a:gd name="T49" fmla="*/ 11 h 277"/>
                    <a:gd name="T50" fmla="*/ 12 w 100"/>
                    <a:gd name="T51" fmla="*/ 6 h 277"/>
                    <a:gd name="T52" fmla="*/ 6 w 100"/>
                    <a:gd name="T53" fmla="*/ 2 h 277"/>
                    <a:gd name="T54" fmla="*/ 0 w 100"/>
                    <a:gd name="T55" fmla="*/ 0 h 2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100" h="277">
                      <a:moveTo>
                        <a:pt x="0" y="0"/>
                      </a:moveTo>
                      <a:lnTo>
                        <a:pt x="9" y="2"/>
                      </a:lnTo>
                      <a:lnTo>
                        <a:pt x="20" y="6"/>
                      </a:lnTo>
                      <a:lnTo>
                        <a:pt x="29" y="12"/>
                      </a:lnTo>
                      <a:lnTo>
                        <a:pt x="32" y="15"/>
                      </a:lnTo>
                      <a:lnTo>
                        <a:pt x="32" y="16"/>
                      </a:lnTo>
                      <a:lnTo>
                        <a:pt x="34" y="21"/>
                      </a:lnTo>
                      <a:lnTo>
                        <a:pt x="44" y="56"/>
                      </a:lnTo>
                      <a:lnTo>
                        <a:pt x="64" y="131"/>
                      </a:lnTo>
                      <a:lnTo>
                        <a:pt x="100" y="259"/>
                      </a:lnTo>
                      <a:lnTo>
                        <a:pt x="100" y="263"/>
                      </a:lnTo>
                      <a:lnTo>
                        <a:pt x="100" y="266"/>
                      </a:lnTo>
                      <a:lnTo>
                        <a:pt x="100" y="269"/>
                      </a:lnTo>
                      <a:lnTo>
                        <a:pt x="98" y="272"/>
                      </a:lnTo>
                      <a:lnTo>
                        <a:pt x="93" y="275"/>
                      </a:lnTo>
                      <a:lnTo>
                        <a:pt x="89" y="277"/>
                      </a:lnTo>
                      <a:lnTo>
                        <a:pt x="74" y="277"/>
                      </a:lnTo>
                      <a:lnTo>
                        <a:pt x="79" y="275"/>
                      </a:lnTo>
                      <a:lnTo>
                        <a:pt x="83" y="272"/>
                      </a:lnTo>
                      <a:lnTo>
                        <a:pt x="86" y="269"/>
                      </a:lnTo>
                      <a:lnTo>
                        <a:pt x="86" y="265"/>
                      </a:lnTo>
                      <a:lnTo>
                        <a:pt x="86" y="259"/>
                      </a:lnTo>
                      <a:lnTo>
                        <a:pt x="52" y="138"/>
                      </a:lnTo>
                      <a:lnTo>
                        <a:pt x="19" y="18"/>
                      </a:lnTo>
                      <a:lnTo>
                        <a:pt x="16" y="11"/>
                      </a:lnTo>
                      <a:lnTo>
                        <a:pt x="12" y="6"/>
                      </a:lnTo>
                      <a:lnTo>
                        <a:pt x="6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E2B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93" name="Freeform 485"/>
                <p:cNvSpPr>
                  <a:spLocks/>
                </p:cNvSpPr>
                <p:nvPr/>
              </p:nvSpPr>
              <p:spPr bwMode="auto">
                <a:xfrm>
                  <a:off x="5467351" y="3840163"/>
                  <a:ext cx="669925" cy="439738"/>
                </a:xfrm>
                <a:custGeom>
                  <a:avLst/>
                  <a:gdLst>
                    <a:gd name="T0" fmla="*/ 12 w 422"/>
                    <a:gd name="T1" fmla="*/ 0 h 277"/>
                    <a:gd name="T2" fmla="*/ 333 w 422"/>
                    <a:gd name="T3" fmla="*/ 0 h 277"/>
                    <a:gd name="T4" fmla="*/ 338 w 422"/>
                    <a:gd name="T5" fmla="*/ 0 h 277"/>
                    <a:gd name="T6" fmla="*/ 343 w 422"/>
                    <a:gd name="T7" fmla="*/ 3 h 277"/>
                    <a:gd name="T8" fmla="*/ 348 w 422"/>
                    <a:gd name="T9" fmla="*/ 6 h 277"/>
                    <a:gd name="T10" fmla="*/ 352 w 422"/>
                    <a:gd name="T11" fmla="*/ 12 h 277"/>
                    <a:gd name="T12" fmla="*/ 355 w 422"/>
                    <a:gd name="T13" fmla="*/ 18 h 277"/>
                    <a:gd name="T14" fmla="*/ 388 w 422"/>
                    <a:gd name="T15" fmla="*/ 138 h 277"/>
                    <a:gd name="T16" fmla="*/ 422 w 422"/>
                    <a:gd name="T17" fmla="*/ 259 h 277"/>
                    <a:gd name="T18" fmla="*/ 422 w 422"/>
                    <a:gd name="T19" fmla="*/ 265 h 277"/>
                    <a:gd name="T20" fmla="*/ 422 w 422"/>
                    <a:gd name="T21" fmla="*/ 269 h 277"/>
                    <a:gd name="T22" fmla="*/ 419 w 422"/>
                    <a:gd name="T23" fmla="*/ 272 h 277"/>
                    <a:gd name="T24" fmla="*/ 415 w 422"/>
                    <a:gd name="T25" fmla="*/ 275 h 277"/>
                    <a:gd name="T26" fmla="*/ 410 w 422"/>
                    <a:gd name="T27" fmla="*/ 277 h 277"/>
                    <a:gd name="T28" fmla="*/ 90 w 422"/>
                    <a:gd name="T29" fmla="*/ 277 h 277"/>
                    <a:gd name="T30" fmla="*/ 84 w 422"/>
                    <a:gd name="T31" fmla="*/ 275 h 277"/>
                    <a:gd name="T32" fmla="*/ 79 w 422"/>
                    <a:gd name="T33" fmla="*/ 272 h 277"/>
                    <a:gd name="T34" fmla="*/ 74 w 422"/>
                    <a:gd name="T35" fmla="*/ 268 h 277"/>
                    <a:gd name="T36" fmla="*/ 70 w 422"/>
                    <a:gd name="T37" fmla="*/ 262 h 277"/>
                    <a:gd name="T38" fmla="*/ 67 w 422"/>
                    <a:gd name="T39" fmla="*/ 256 h 277"/>
                    <a:gd name="T40" fmla="*/ 2 w 422"/>
                    <a:gd name="T41" fmla="*/ 19 h 277"/>
                    <a:gd name="T42" fmla="*/ 0 w 422"/>
                    <a:gd name="T43" fmla="*/ 15 h 277"/>
                    <a:gd name="T44" fmla="*/ 2 w 422"/>
                    <a:gd name="T45" fmla="*/ 9 h 277"/>
                    <a:gd name="T46" fmla="*/ 3 w 422"/>
                    <a:gd name="T47" fmla="*/ 6 h 277"/>
                    <a:gd name="T48" fmla="*/ 4 w 422"/>
                    <a:gd name="T49" fmla="*/ 3 h 277"/>
                    <a:gd name="T50" fmla="*/ 9 w 422"/>
                    <a:gd name="T51" fmla="*/ 0 h 277"/>
                    <a:gd name="T52" fmla="*/ 12 w 422"/>
                    <a:gd name="T53" fmla="*/ 0 h 2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422" h="277">
                      <a:moveTo>
                        <a:pt x="12" y="0"/>
                      </a:moveTo>
                      <a:lnTo>
                        <a:pt x="333" y="0"/>
                      </a:lnTo>
                      <a:lnTo>
                        <a:pt x="338" y="0"/>
                      </a:lnTo>
                      <a:lnTo>
                        <a:pt x="343" y="3"/>
                      </a:lnTo>
                      <a:lnTo>
                        <a:pt x="348" y="6"/>
                      </a:lnTo>
                      <a:lnTo>
                        <a:pt x="352" y="12"/>
                      </a:lnTo>
                      <a:lnTo>
                        <a:pt x="355" y="18"/>
                      </a:lnTo>
                      <a:lnTo>
                        <a:pt x="388" y="138"/>
                      </a:lnTo>
                      <a:lnTo>
                        <a:pt x="422" y="259"/>
                      </a:lnTo>
                      <a:lnTo>
                        <a:pt x="422" y="265"/>
                      </a:lnTo>
                      <a:lnTo>
                        <a:pt x="422" y="269"/>
                      </a:lnTo>
                      <a:lnTo>
                        <a:pt x="419" y="272"/>
                      </a:lnTo>
                      <a:lnTo>
                        <a:pt x="415" y="275"/>
                      </a:lnTo>
                      <a:lnTo>
                        <a:pt x="410" y="277"/>
                      </a:lnTo>
                      <a:lnTo>
                        <a:pt x="90" y="277"/>
                      </a:lnTo>
                      <a:lnTo>
                        <a:pt x="84" y="275"/>
                      </a:lnTo>
                      <a:lnTo>
                        <a:pt x="79" y="272"/>
                      </a:lnTo>
                      <a:lnTo>
                        <a:pt x="74" y="268"/>
                      </a:lnTo>
                      <a:lnTo>
                        <a:pt x="70" y="262"/>
                      </a:lnTo>
                      <a:lnTo>
                        <a:pt x="67" y="256"/>
                      </a:lnTo>
                      <a:lnTo>
                        <a:pt x="2" y="19"/>
                      </a:lnTo>
                      <a:lnTo>
                        <a:pt x="0" y="15"/>
                      </a:lnTo>
                      <a:lnTo>
                        <a:pt x="2" y="9"/>
                      </a:lnTo>
                      <a:lnTo>
                        <a:pt x="3" y="6"/>
                      </a:lnTo>
                      <a:lnTo>
                        <a:pt x="4" y="3"/>
                      </a:lnTo>
                      <a:lnTo>
                        <a:pt x="9" y="0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FFF0D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94" name="Freeform 486"/>
                <p:cNvSpPr>
                  <a:spLocks/>
                </p:cNvSpPr>
                <p:nvPr/>
              </p:nvSpPr>
              <p:spPr bwMode="auto">
                <a:xfrm>
                  <a:off x="5761038" y="4006850"/>
                  <a:ext cx="93663" cy="106363"/>
                </a:xfrm>
                <a:custGeom>
                  <a:avLst/>
                  <a:gdLst>
                    <a:gd name="T0" fmla="*/ 20 w 59"/>
                    <a:gd name="T1" fmla="*/ 0 h 67"/>
                    <a:gd name="T2" fmla="*/ 20 w 59"/>
                    <a:gd name="T3" fmla="*/ 0 h 67"/>
                    <a:gd name="T4" fmla="*/ 36 w 59"/>
                    <a:gd name="T5" fmla="*/ 4 h 67"/>
                    <a:gd name="T6" fmla="*/ 49 w 59"/>
                    <a:gd name="T7" fmla="*/ 16 h 67"/>
                    <a:gd name="T8" fmla="*/ 58 w 59"/>
                    <a:gd name="T9" fmla="*/ 33 h 67"/>
                    <a:gd name="T10" fmla="*/ 59 w 59"/>
                    <a:gd name="T11" fmla="*/ 47 h 67"/>
                    <a:gd name="T12" fmla="*/ 57 w 59"/>
                    <a:gd name="T13" fmla="*/ 57 h 67"/>
                    <a:gd name="T14" fmla="*/ 49 w 59"/>
                    <a:gd name="T15" fmla="*/ 64 h 67"/>
                    <a:gd name="T16" fmla="*/ 39 w 59"/>
                    <a:gd name="T17" fmla="*/ 67 h 67"/>
                    <a:gd name="T18" fmla="*/ 39 w 59"/>
                    <a:gd name="T19" fmla="*/ 67 h 67"/>
                    <a:gd name="T20" fmla="*/ 23 w 59"/>
                    <a:gd name="T21" fmla="*/ 63 h 67"/>
                    <a:gd name="T22" fmla="*/ 10 w 59"/>
                    <a:gd name="T23" fmla="*/ 49 h 67"/>
                    <a:gd name="T24" fmla="*/ 1 w 59"/>
                    <a:gd name="T25" fmla="*/ 33 h 67"/>
                    <a:gd name="T26" fmla="*/ 0 w 59"/>
                    <a:gd name="T27" fmla="*/ 20 h 67"/>
                    <a:gd name="T28" fmla="*/ 3 w 59"/>
                    <a:gd name="T29" fmla="*/ 10 h 67"/>
                    <a:gd name="T30" fmla="*/ 10 w 59"/>
                    <a:gd name="T31" fmla="*/ 3 h 67"/>
                    <a:gd name="T32" fmla="*/ 20 w 59"/>
                    <a:gd name="T33" fmla="*/ 0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59" h="67">
                      <a:moveTo>
                        <a:pt x="20" y="0"/>
                      </a:moveTo>
                      <a:lnTo>
                        <a:pt x="20" y="0"/>
                      </a:lnTo>
                      <a:lnTo>
                        <a:pt x="36" y="4"/>
                      </a:lnTo>
                      <a:lnTo>
                        <a:pt x="49" y="16"/>
                      </a:lnTo>
                      <a:lnTo>
                        <a:pt x="58" y="33"/>
                      </a:lnTo>
                      <a:lnTo>
                        <a:pt x="59" y="47"/>
                      </a:lnTo>
                      <a:lnTo>
                        <a:pt x="57" y="57"/>
                      </a:lnTo>
                      <a:lnTo>
                        <a:pt x="49" y="64"/>
                      </a:lnTo>
                      <a:lnTo>
                        <a:pt x="39" y="67"/>
                      </a:lnTo>
                      <a:lnTo>
                        <a:pt x="39" y="67"/>
                      </a:lnTo>
                      <a:lnTo>
                        <a:pt x="23" y="63"/>
                      </a:lnTo>
                      <a:lnTo>
                        <a:pt x="10" y="49"/>
                      </a:lnTo>
                      <a:lnTo>
                        <a:pt x="1" y="33"/>
                      </a:lnTo>
                      <a:lnTo>
                        <a:pt x="0" y="20"/>
                      </a:lnTo>
                      <a:lnTo>
                        <a:pt x="3" y="10"/>
                      </a:lnTo>
                      <a:lnTo>
                        <a:pt x="10" y="3"/>
                      </a:lnTo>
                      <a:lnTo>
                        <a:pt x="20" y="0"/>
                      </a:lnTo>
                      <a:close/>
                    </a:path>
                  </a:pathLst>
                </a:custGeom>
                <a:solidFill>
                  <a:srgbClr val="FFE2B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95" name="Freeform 487"/>
                <p:cNvSpPr>
                  <a:spLocks/>
                </p:cNvSpPr>
                <p:nvPr/>
              </p:nvSpPr>
              <p:spPr bwMode="auto">
                <a:xfrm>
                  <a:off x="3200401" y="3935413"/>
                  <a:ext cx="219075" cy="219075"/>
                </a:xfrm>
                <a:custGeom>
                  <a:avLst/>
                  <a:gdLst>
                    <a:gd name="T0" fmla="*/ 70 w 138"/>
                    <a:gd name="T1" fmla="*/ 0 h 138"/>
                    <a:gd name="T2" fmla="*/ 91 w 138"/>
                    <a:gd name="T3" fmla="*/ 4 h 138"/>
                    <a:gd name="T4" fmla="*/ 110 w 138"/>
                    <a:gd name="T5" fmla="*/ 14 h 138"/>
                    <a:gd name="T6" fmla="*/ 125 w 138"/>
                    <a:gd name="T7" fmla="*/ 29 h 138"/>
                    <a:gd name="T8" fmla="*/ 135 w 138"/>
                    <a:gd name="T9" fmla="*/ 48 h 138"/>
                    <a:gd name="T10" fmla="*/ 138 w 138"/>
                    <a:gd name="T11" fmla="*/ 70 h 138"/>
                    <a:gd name="T12" fmla="*/ 135 w 138"/>
                    <a:gd name="T13" fmla="*/ 92 h 138"/>
                    <a:gd name="T14" fmla="*/ 125 w 138"/>
                    <a:gd name="T15" fmla="*/ 110 h 138"/>
                    <a:gd name="T16" fmla="*/ 110 w 138"/>
                    <a:gd name="T17" fmla="*/ 125 h 138"/>
                    <a:gd name="T18" fmla="*/ 91 w 138"/>
                    <a:gd name="T19" fmla="*/ 135 h 138"/>
                    <a:gd name="T20" fmla="*/ 70 w 138"/>
                    <a:gd name="T21" fmla="*/ 138 h 138"/>
                    <a:gd name="T22" fmla="*/ 46 w 138"/>
                    <a:gd name="T23" fmla="*/ 135 h 138"/>
                    <a:gd name="T24" fmla="*/ 27 w 138"/>
                    <a:gd name="T25" fmla="*/ 125 h 138"/>
                    <a:gd name="T26" fmla="*/ 13 w 138"/>
                    <a:gd name="T27" fmla="*/ 110 h 138"/>
                    <a:gd name="T28" fmla="*/ 3 w 138"/>
                    <a:gd name="T29" fmla="*/ 92 h 138"/>
                    <a:gd name="T30" fmla="*/ 0 w 138"/>
                    <a:gd name="T31" fmla="*/ 70 h 138"/>
                    <a:gd name="T32" fmla="*/ 3 w 138"/>
                    <a:gd name="T33" fmla="*/ 48 h 138"/>
                    <a:gd name="T34" fmla="*/ 13 w 138"/>
                    <a:gd name="T35" fmla="*/ 29 h 138"/>
                    <a:gd name="T36" fmla="*/ 27 w 138"/>
                    <a:gd name="T37" fmla="*/ 14 h 138"/>
                    <a:gd name="T38" fmla="*/ 46 w 138"/>
                    <a:gd name="T39" fmla="*/ 4 h 138"/>
                    <a:gd name="T40" fmla="*/ 70 w 138"/>
                    <a:gd name="T41" fmla="*/ 0 h 1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38" h="138">
                      <a:moveTo>
                        <a:pt x="70" y="0"/>
                      </a:moveTo>
                      <a:lnTo>
                        <a:pt x="91" y="4"/>
                      </a:lnTo>
                      <a:lnTo>
                        <a:pt x="110" y="14"/>
                      </a:lnTo>
                      <a:lnTo>
                        <a:pt x="125" y="29"/>
                      </a:lnTo>
                      <a:lnTo>
                        <a:pt x="135" y="48"/>
                      </a:lnTo>
                      <a:lnTo>
                        <a:pt x="138" y="70"/>
                      </a:lnTo>
                      <a:lnTo>
                        <a:pt x="135" y="92"/>
                      </a:lnTo>
                      <a:lnTo>
                        <a:pt x="125" y="110"/>
                      </a:lnTo>
                      <a:lnTo>
                        <a:pt x="110" y="125"/>
                      </a:lnTo>
                      <a:lnTo>
                        <a:pt x="91" y="135"/>
                      </a:lnTo>
                      <a:lnTo>
                        <a:pt x="70" y="138"/>
                      </a:lnTo>
                      <a:lnTo>
                        <a:pt x="46" y="135"/>
                      </a:lnTo>
                      <a:lnTo>
                        <a:pt x="27" y="125"/>
                      </a:lnTo>
                      <a:lnTo>
                        <a:pt x="13" y="110"/>
                      </a:lnTo>
                      <a:lnTo>
                        <a:pt x="3" y="92"/>
                      </a:lnTo>
                      <a:lnTo>
                        <a:pt x="0" y="70"/>
                      </a:lnTo>
                      <a:lnTo>
                        <a:pt x="3" y="48"/>
                      </a:lnTo>
                      <a:lnTo>
                        <a:pt x="13" y="29"/>
                      </a:lnTo>
                      <a:lnTo>
                        <a:pt x="27" y="14"/>
                      </a:lnTo>
                      <a:lnTo>
                        <a:pt x="46" y="4"/>
                      </a:lnTo>
                      <a:lnTo>
                        <a:pt x="70" y="0"/>
                      </a:lnTo>
                      <a:close/>
                    </a:path>
                  </a:pathLst>
                </a:custGeom>
                <a:solidFill>
                  <a:srgbClr val="30B2A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96" name="Freeform 488"/>
                <p:cNvSpPr>
                  <a:spLocks/>
                </p:cNvSpPr>
                <p:nvPr/>
              </p:nvSpPr>
              <p:spPr bwMode="auto">
                <a:xfrm>
                  <a:off x="3200401" y="3935413"/>
                  <a:ext cx="111125" cy="171450"/>
                </a:xfrm>
                <a:custGeom>
                  <a:avLst/>
                  <a:gdLst>
                    <a:gd name="T0" fmla="*/ 70 w 70"/>
                    <a:gd name="T1" fmla="*/ 0 h 108"/>
                    <a:gd name="T2" fmla="*/ 70 w 70"/>
                    <a:gd name="T3" fmla="*/ 0 h 108"/>
                    <a:gd name="T4" fmla="*/ 54 w 70"/>
                    <a:gd name="T5" fmla="*/ 13 h 108"/>
                    <a:gd name="T6" fmla="*/ 42 w 70"/>
                    <a:gd name="T7" fmla="*/ 28 h 108"/>
                    <a:gd name="T8" fmla="*/ 36 w 70"/>
                    <a:gd name="T9" fmla="*/ 46 h 108"/>
                    <a:gd name="T10" fmla="*/ 33 w 70"/>
                    <a:gd name="T11" fmla="*/ 65 h 108"/>
                    <a:gd name="T12" fmla="*/ 35 w 70"/>
                    <a:gd name="T13" fmla="*/ 86 h 108"/>
                    <a:gd name="T14" fmla="*/ 39 w 70"/>
                    <a:gd name="T15" fmla="*/ 108 h 108"/>
                    <a:gd name="T16" fmla="*/ 11 w 70"/>
                    <a:gd name="T17" fmla="*/ 108 h 108"/>
                    <a:gd name="T18" fmla="*/ 3 w 70"/>
                    <a:gd name="T19" fmla="*/ 90 h 108"/>
                    <a:gd name="T20" fmla="*/ 0 w 70"/>
                    <a:gd name="T21" fmla="*/ 73 h 108"/>
                    <a:gd name="T22" fmla="*/ 0 w 70"/>
                    <a:gd name="T23" fmla="*/ 71 h 108"/>
                    <a:gd name="T24" fmla="*/ 0 w 70"/>
                    <a:gd name="T25" fmla="*/ 71 h 108"/>
                    <a:gd name="T26" fmla="*/ 0 w 70"/>
                    <a:gd name="T27" fmla="*/ 71 h 108"/>
                    <a:gd name="T28" fmla="*/ 0 w 70"/>
                    <a:gd name="T29" fmla="*/ 71 h 108"/>
                    <a:gd name="T30" fmla="*/ 0 w 70"/>
                    <a:gd name="T31" fmla="*/ 71 h 108"/>
                    <a:gd name="T32" fmla="*/ 0 w 70"/>
                    <a:gd name="T33" fmla="*/ 71 h 108"/>
                    <a:gd name="T34" fmla="*/ 0 w 70"/>
                    <a:gd name="T35" fmla="*/ 71 h 108"/>
                    <a:gd name="T36" fmla="*/ 0 w 70"/>
                    <a:gd name="T37" fmla="*/ 71 h 108"/>
                    <a:gd name="T38" fmla="*/ 0 w 70"/>
                    <a:gd name="T39" fmla="*/ 70 h 108"/>
                    <a:gd name="T40" fmla="*/ 3 w 70"/>
                    <a:gd name="T41" fmla="*/ 48 h 108"/>
                    <a:gd name="T42" fmla="*/ 13 w 70"/>
                    <a:gd name="T43" fmla="*/ 29 h 108"/>
                    <a:gd name="T44" fmla="*/ 27 w 70"/>
                    <a:gd name="T45" fmla="*/ 14 h 108"/>
                    <a:gd name="T46" fmla="*/ 46 w 70"/>
                    <a:gd name="T47" fmla="*/ 4 h 108"/>
                    <a:gd name="T48" fmla="*/ 70 w 70"/>
                    <a:gd name="T49" fmla="*/ 0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70" h="108">
                      <a:moveTo>
                        <a:pt x="70" y="0"/>
                      </a:moveTo>
                      <a:lnTo>
                        <a:pt x="70" y="0"/>
                      </a:lnTo>
                      <a:lnTo>
                        <a:pt x="54" y="13"/>
                      </a:lnTo>
                      <a:lnTo>
                        <a:pt x="42" y="28"/>
                      </a:lnTo>
                      <a:lnTo>
                        <a:pt x="36" y="46"/>
                      </a:lnTo>
                      <a:lnTo>
                        <a:pt x="33" y="65"/>
                      </a:lnTo>
                      <a:lnTo>
                        <a:pt x="35" y="86"/>
                      </a:lnTo>
                      <a:lnTo>
                        <a:pt x="39" y="108"/>
                      </a:lnTo>
                      <a:lnTo>
                        <a:pt x="11" y="108"/>
                      </a:lnTo>
                      <a:lnTo>
                        <a:pt x="3" y="90"/>
                      </a:lnTo>
                      <a:lnTo>
                        <a:pt x="0" y="73"/>
                      </a:lnTo>
                      <a:lnTo>
                        <a:pt x="0" y="71"/>
                      </a:lnTo>
                      <a:lnTo>
                        <a:pt x="0" y="71"/>
                      </a:lnTo>
                      <a:lnTo>
                        <a:pt x="0" y="71"/>
                      </a:lnTo>
                      <a:lnTo>
                        <a:pt x="0" y="71"/>
                      </a:lnTo>
                      <a:lnTo>
                        <a:pt x="0" y="71"/>
                      </a:lnTo>
                      <a:lnTo>
                        <a:pt x="0" y="71"/>
                      </a:lnTo>
                      <a:lnTo>
                        <a:pt x="0" y="71"/>
                      </a:lnTo>
                      <a:lnTo>
                        <a:pt x="0" y="71"/>
                      </a:lnTo>
                      <a:lnTo>
                        <a:pt x="0" y="70"/>
                      </a:lnTo>
                      <a:lnTo>
                        <a:pt x="3" y="48"/>
                      </a:lnTo>
                      <a:lnTo>
                        <a:pt x="13" y="29"/>
                      </a:lnTo>
                      <a:lnTo>
                        <a:pt x="27" y="14"/>
                      </a:lnTo>
                      <a:lnTo>
                        <a:pt x="46" y="4"/>
                      </a:lnTo>
                      <a:lnTo>
                        <a:pt x="70" y="0"/>
                      </a:lnTo>
                      <a:close/>
                    </a:path>
                  </a:pathLst>
                </a:custGeom>
                <a:solidFill>
                  <a:srgbClr val="2A968C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97" name="Freeform 489"/>
                <p:cNvSpPr>
                  <a:spLocks/>
                </p:cNvSpPr>
                <p:nvPr/>
              </p:nvSpPr>
              <p:spPr bwMode="auto">
                <a:xfrm>
                  <a:off x="3190876" y="4124325"/>
                  <a:ext cx="238125" cy="157163"/>
                </a:xfrm>
                <a:custGeom>
                  <a:avLst/>
                  <a:gdLst>
                    <a:gd name="T0" fmla="*/ 0 w 150"/>
                    <a:gd name="T1" fmla="*/ 0 h 99"/>
                    <a:gd name="T2" fmla="*/ 150 w 150"/>
                    <a:gd name="T3" fmla="*/ 0 h 99"/>
                    <a:gd name="T4" fmla="*/ 124 w 150"/>
                    <a:gd name="T5" fmla="*/ 99 h 99"/>
                    <a:gd name="T6" fmla="*/ 26 w 150"/>
                    <a:gd name="T7" fmla="*/ 99 h 99"/>
                    <a:gd name="T8" fmla="*/ 0 w 150"/>
                    <a:gd name="T9" fmla="*/ 0 h 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50" h="99">
                      <a:moveTo>
                        <a:pt x="0" y="0"/>
                      </a:moveTo>
                      <a:lnTo>
                        <a:pt x="150" y="0"/>
                      </a:lnTo>
                      <a:lnTo>
                        <a:pt x="124" y="99"/>
                      </a:lnTo>
                      <a:lnTo>
                        <a:pt x="26" y="9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0D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98" name="Freeform 490"/>
                <p:cNvSpPr>
                  <a:spLocks/>
                </p:cNvSpPr>
                <p:nvPr/>
              </p:nvSpPr>
              <p:spPr bwMode="auto">
                <a:xfrm>
                  <a:off x="3195638" y="4144963"/>
                  <a:ext cx="228600" cy="136525"/>
                </a:xfrm>
                <a:custGeom>
                  <a:avLst/>
                  <a:gdLst>
                    <a:gd name="T0" fmla="*/ 0 w 144"/>
                    <a:gd name="T1" fmla="*/ 0 h 86"/>
                    <a:gd name="T2" fmla="*/ 144 w 144"/>
                    <a:gd name="T3" fmla="*/ 0 h 86"/>
                    <a:gd name="T4" fmla="*/ 141 w 144"/>
                    <a:gd name="T5" fmla="*/ 10 h 86"/>
                    <a:gd name="T6" fmla="*/ 135 w 144"/>
                    <a:gd name="T7" fmla="*/ 8 h 86"/>
                    <a:gd name="T8" fmla="*/ 128 w 144"/>
                    <a:gd name="T9" fmla="*/ 6 h 86"/>
                    <a:gd name="T10" fmla="*/ 109 w 144"/>
                    <a:gd name="T11" fmla="*/ 6 h 86"/>
                    <a:gd name="T12" fmla="*/ 89 w 144"/>
                    <a:gd name="T13" fmla="*/ 8 h 86"/>
                    <a:gd name="T14" fmla="*/ 68 w 144"/>
                    <a:gd name="T15" fmla="*/ 13 h 86"/>
                    <a:gd name="T16" fmla="*/ 54 w 144"/>
                    <a:gd name="T17" fmla="*/ 22 h 86"/>
                    <a:gd name="T18" fmla="*/ 45 w 144"/>
                    <a:gd name="T19" fmla="*/ 34 h 86"/>
                    <a:gd name="T20" fmla="*/ 41 w 144"/>
                    <a:gd name="T21" fmla="*/ 50 h 86"/>
                    <a:gd name="T22" fmla="*/ 39 w 144"/>
                    <a:gd name="T23" fmla="*/ 66 h 86"/>
                    <a:gd name="T24" fmla="*/ 42 w 144"/>
                    <a:gd name="T25" fmla="*/ 80 h 86"/>
                    <a:gd name="T26" fmla="*/ 43 w 144"/>
                    <a:gd name="T27" fmla="*/ 86 h 86"/>
                    <a:gd name="T28" fmla="*/ 23 w 144"/>
                    <a:gd name="T29" fmla="*/ 86 h 86"/>
                    <a:gd name="T30" fmla="*/ 0 w 144"/>
                    <a:gd name="T31" fmla="*/ 0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44" h="86">
                      <a:moveTo>
                        <a:pt x="0" y="0"/>
                      </a:moveTo>
                      <a:lnTo>
                        <a:pt x="144" y="0"/>
                      </a:lnTo>
                      <a:lnTo>
                        <a:pt x="141" y="10"/>
                      </a:lnTo>
                      <a:lnTo>
                        <a:pt x="135" y="8"/>
                      </a:lnTo>
                      <a:lnTo>
                        <a:pt x="128" y="6"/>
                      </a:lnTo>
                      <a:lnTo>
                        <a:pt x="109" y="6"/>
                      </a:lnTo>
                      <a:lnTo>
                        <a:pt x="89" y="8"/>
                      </a:lnTo>
                      <a:lnTo>
                        <a:pt x="68" y="13"/>
                      </a:lnTo>
                      <a:lnTo>
                        <a:pt x="54" y="22"/>
                      </a:lnTo>
                      <a:lnTo>
                        <a:pt x="45" y="34"/>
                      </a:lnTo>
                      <a:lnTo>
                        <a:pt x="41" y="50"/>
                      </a:lnTo>
                      <a:lnTo>
                        <a:pt x="39" y="66"/>
                      </a:lnTo>
                      <a:lnTo>
                        <a:pt x="42" y="80"/>
                      </a:lnTo>
                      <a:lnTo>
                        <a:pt x="43" y="86"/>
                      </a:lnTo>
                      <a:lnTo>
                        <a:pt x="23" y="8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E2B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599" name="Freeform 491"/>
                <p:cNvSpPr>
                  <a:spLocks/>
                </p:cNvSpPr>
                <p:nvPr/>
              </p:nvSpPr>
              <p:spPr bwMode="auto">
                <a:xfrm>
                  <a:off x="3167063" y="4106863"/>
                  <a:ext cx="284163" cy="38100"/>
                </a:xfrm>
                <a:custGeom>
                  <a:avLst/>
                  <a:gdLst>
                    <a:gd name="T0" fmla="*/ 12 w 179"/>
                    <a:gd name="T1" fmla="*/ 0 h 24"/>
                    <a:gd name="T2" fmla="*/ 168 w 179"/>
                    <a:gd name="T3" fmla="*/ 0 h 24"/>
                    <a:gd name="T4" fmla="*/ 172 w 179"/>
                    <a:gd name="T5" fmla="*/ 0 h 24"/>
                    <a:gd name="T6" fmla="*/ 176 w 179"/>
                    <a:gd name="T7" fmla="*/ 2 h 24"/>
                    <a:gd name="T8" fmla="*/ 179 w 179"/>
                    <a:gd name="T9" fmla="*/ 7 h 24"/>
                    <a:gd name="T10" fmla="*/ 179 w 179"/>
                    <a:gd name="T11" fmla="*/ 11 h 24"/>
                    <a:gd name="T12" fmla="*/ 179 w 179"/>
                    <a:gd name="T13" fmla="*/ 17 h 24"/>
                    <a:gd name="T14" fmla="*/ 176 w 179"/>
                    <a:gd name="T15" fmla="*/ 21 h 24"/>
                    <a:gd name="T16" fmla="*/ 172 w 179"/>
                    <a:gd name="T17" fmla="*/ 23 h 24"/>
                    <a:gd name="T18" fmla="*/ 168 w 179"/>
                    <a:gd name="T19" fmla="*/ 24 h 24"/>
                    <a:gd name="T20" fmla="*/ 12 w 179"/>
                    <a:gd name="T21" fmla="*/ 24 h 24"/>
                    <a:gd name="T22" fmla="*/ 8 w 179"/>
                    <a:gd name="T23" fmla="*/ 23 h 24"/>
                    <a:gd name="T24" fmla="*/ 3 w 179"/>
                    <a:gd name="T25" fmla="*/ 21 h 24"/>
                    <a:gd name="T26" fmla="*/ 0 w 179"/>
                    <a:gd name="T27" fmla="*/ 17 h 24"/>
                    <a:gd name="T28" fmla="*/ 0 w 179"/>
                    <a:gd name="T29" fmla="*/ 11 h 24"/>
                    <a:gd name="T30" fmla="*/ 0 w 179"/>
                    <a:gd name="T31" fmla="*/ 7 h 24"/>
                    <a:gd name="T32" fmla="*/ 3 w 179"/>
                    <a:gd name="T33" fmla="*/ 2 h 24"/>
                    <a:gd name="T34" fmla="*/ 8 w 179"/>
                    <a:gd name="T35" fmla="*/ 0 h 24"/>
                    <a:gd name="T36" fmla="*/ 12 w 179"/>
                    <a:gd name="T37" fmla="*/ 0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79" h="24">
                      <a:moveTo>
                        <a:pt x="12" y="0"/>
                      </a:moveTo>
                      <a:lnTo>
                        <a:pt x="168" y="0"/>
                      </a:lnTo>
                      <a:lnTo>
                        <a:pt x="172" y="0"/>
                      </a:lnTo>
                      <a:lnTo>
                        <a:pt x="176" y="2"/>
                      </a:lnTo>
                      <a:lnTo>
                        <a:pt x="179" y="7"/>
                      </a:lnTo>
                      <a:lnTo>
                        <a:pt x="179" y="11"/>
                      </a:lnTo>
                      <a:lnTo>
                        <a:pt x="179" y="17"/>
                      </a:lnTo>
                      <a:lnTo>
                        <a:pt x="176" y="21"/>
                      </a:lnTo>
                      <a:lnTo>
                        <a:pt x="172" y="23"/>
                      </a:lnTo>
                      <a:lnTo>
                        <a:pt x="168" y="24"/>
                      </a:lnTo>
                      <a:lnTo>
                        <a:pt x="12" y="24"/>
                      </a:lnTo>
                      <a:lnTo>
                        <a:pt x="8" y="23"/>
                      </a:lnTo>
                      <a:lnTo>
                        <a:pt x="3" y="21"/>
                      </a:lnTo>
                      <a:lnTo>
                        <a:pt x="0" y="17"/>
                      </a:lnTo>
                      <a:lnTo>
                        <a:pt x="0" y="11"/>
                      </a:lnTo>
                      <a:lnTo>
                        <a:pt x="0" y="7"/>
                      </a:lnTo>
                      <a:lnTo>
                        <a:pt x="3" y="2"/>
                      </a:lnTo>
                      <a:lnTo>
                        <a:pt x="8" y="0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FFF0D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00" name="Freeform 492"/>
                <p:cNvSpPr>
                  <a:spLocks/>
                </p:cNvSpPr>
                <p:nvPr/>
              </p:nvSpPr>
              <p:spPr bwMode="auto">
                <a:xfrm>
                  <a:off x="3167063" y="4106863"/>
                  <a:ext cx="88900" cy="38100"/>
                </a:xfrm>
                <a:custGeom>
                  <a:avLst/>
                  <a:gdLst>
                    <a:gd name="T0" fmla="*/ 12 w 56"/>
                    <a:gd name="T1" fmla="*/ 0 h 24"/>
                    <a:gd name="T2" fmla="*/ 54 w 56"/>
                    <a:gd name="T3" fmla="*/ 0 h 24"/>
                    <a:gd name="T4" fmla="*/ 53 w 56"/>
                    <a:gd name="T5" fmla="*/ 13 h 24"/>
                    <a:gd name="T6" fmla="*/ 56 w 56"/>
                    <a:gd name="T7" fmla="*/ 24 h 24"/>
                    <a:gd name="T8" fmla="*/ 12 w 56"/>
                    <a:gd name="T9" fmla="*/ 24 h 24"/>
                    <a:gd name="T10" fmla="*/ 8 w 56"/>
                    <a:gd name="T11" fmla="*/ 23 h 24"/>
                    <a:gd name="T12" fmla="*/ 3 w 56"/>
                    <a:gd name="T13" fmla="*/ 21 h 24"/>
                    <a:gd name="T14" fmla="*/ 0 w 56"/>
                    <a:gd name="T15" fmla="*/ 17 h 24"/>
                    <a:gd name="T16" fmla="*/ 0 w 56"/>
                    <a:gd name="T17" fmla="*/ 11 h 24"/>
                    <a:gd name="T18" fmla="*/ 0 w 56"/>
                    <a:gd name="T19" fmla="*/ 7 h 24"/>
                    <a:gd name="T20" fmla="*/ 3 w 56"/>
                    <a:gd name="T21" fmla="*/ 2 h 24"/>
                    <a:gd name="T22" fmla="*/ 8 w 56"/>
                    <a:gd name="T23" fmla="*/ 0 h 24"/>
                    <a:gd name="T24" fmla="*/ 12 w 56"/>
                    <a:gd name="T25" fmla="*/ 0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56" h="24">
                      <a:moveTo>
                        <a:pt x="12" y="0"/>
                      </a:moveTo>
                      <a:lnTo>
                        <a:pt x="54" y="0"/>
                      </a:lnTo>
                      <a:lnTo>
                        <a:pt x="53" y="13"/>
                      </a:lnTo>
                      <a:lnTo>
                        <a:pt x="56" y="24"/>
                      </a:lnTo>
                      <a:lnTo>
                        <a:pt x="12" y="24"/>
                      </a:lnTo>
                      <a:lnTo>
                        <a:pt x="8" y="23"/>
                      </a:lnTo>
                      <a:lnTo>
                        <a:pt x="3" y="21"/>
                      </a:lnTo>
                      <a:lnTo>
                        <a:pt x="0" y="17"/>
                      </a:lnTo>
                      <a:lnTo>
                        <a:pt x="0" y="11"/>
                      </a:lnTo>
                      <a:lnTo>
                        <a:pt x="0" y="7"/>
                      </a:lnTo>
                      <a:lnTo>
                        <a:pt x="3" y="2"/>
                      </a:lnTo>
                      <a:lnTo>
                        <a:pt x="8" y="0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FFE2B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01" name="Freeform 493"/>
                <p:cNvSpPr>
                  <a:spLocks/>
                </p:cNvSpPr>
                <p:nvPr/>
              </p:nvSpPr>
              <p:spPr bwMode="auto">
                <a:xfrm>
                  <a:off x="3298826" y="3884613"/>
                  <a:ext cx="4763" cy="65088"/>
                </a:xfrm>
                <a:custGeom>
                  <a:avLst/>
                  <a:gdLst>
                    <a:gd name="T0" fmla="*/ 2 w 3"/>
                    <a:gd name="T1" fmla="*/ 0 h 41"/>
                    <a:gd name="T2" fmla="*/ 3 w 3"/>
                    <a:gd name="T3" fmla="*/ 4 h 41"/>
                    <a:gd name="T4" fmla="*/ 3 w 3"/>
                    <a:gd name="T5" fmla="*/ 15 h 41"/>
                    <a:gd name="T6" fmla="*/ 3 w 3"/>
                    <a:gd name="T7" fmla="*/ 29 h 41"/>
                    <a:gd name="T8" fmla="*/ 3 w 3"/>
                    <a:gd name="T9" fmla="*/ 35 h 41"/>
                    <a:gd name="T10" fmla="*/ 3 w 3"/>
                    <a:gd name="T11" fmla="*/ 39 h 41"/>
                    <a:gd name="T12" fmla="*/ 3 w 3"/>
                    <a:gd name="T13" fmla="*/ 41 h 41"/>
                    <a:gd name="T14" fmla="*/ 2 w 3"/>
                    <a:gd name="T15" fmla="*/ 41 h 41"/>
                    <a:gd name="T16" fmla="*/ 2 w 3"/>
                    <a:gd name="T17" fmla="*/ 39 h 41"/>
                    <a:gd name="T18" fmla="*/ 2 w 3"/>
                    <a:gd name="T19" fmla="*/ 35 h 41"/>
                    <a:gd name="T20" fmla="*/ 0 w 3"/>
                    <a:gd name="T21" fmla="*/ 29 h 41"/>
                    <a:gd name="T22" fmla="*/ 2 w 3"/>
                    <a:gd name="T23" fmla="*/ 15 h 41"/>
                    <a:gd name="T24" fmla="*/ 2 w 3"/>
                    <a:gd name="T25" fmla="*/ 4 h 41"/>
                    <a:gd name="T26" fmla="*/ 2 w 3"/>
                    <a:gd name="T27" fmla="*/ 0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" h="41">
                      <a:moveTo>
                        <a:pt x="2" y="0"/>
                      </a:moveTo>
                      <a:lnTo>
                        <a:pt x="3" y="4"/>
                      </a:lnTo>
                      <a:lnTo>
                        <a:pt x="3" y="15"/>
                      </a:lnTo>
                      <a:lnTo>
                        <a:pt x="3" y="29"/>
                      </a:lnTo>
                      <a:lnTo>
                        <a:pt x="3" y="35"/>
                      </a:lnTo>
                      <a:lnTo>
                        <a:pt x="3" y="39"/>
                      </a:lnTo>
                      <a:lnTo>
                        <a:pt x="3" y="41"/>
                      </a:lnTo>
                      <a:lnTo>
                        <a:pt x="2" y="41"/>
                      </a:lnTo>
                      <a:lnTo>
                        <a:pt x="2" y="39"/>
                      </a:lnTo>
                      <a:lnTo>
                        <a:pt x="2" y="35"/>
                      </a:lnTo>
                      <a:lnTo>
                        <a:pt x="0" y="29"/>
                      </a:lnTo>
                      <a:lnTo>
                        <a:pt x="2" y="15"/>
                      </a:lnTo>
                      <a:lnTo>
                        <a:pt x="2" y="4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02" name="Freeform 494"/>
                <p:cNvSpPr>
                  <a:spLocks/>
                </p:cNvSpPr>
                <p:nvPr/>
              </p:nvSpPr>
              <p:spPr bwMode="auto">
                <a:xfrm>
                  <a:off x="3252788" y="3895725"/>
                  <a:ext cx="33338" cy="55563"/>
                </a:xfrm>
                <a:custGeom>
                  <a:avLst/>
                  <a:gdLst>
                    <a:gd name="T0" fmla="*/ 0 w 21"/>
                    <a:gd name="T1" fmla="*/ 0 h 35"/>
                    <a:gd name="T2" fmla="*/ 2 w 21"/>
                    <a:gd name="T3" fmla="*/ 2 h 35"/>
                    <a:gd name="T4" fmla="*/ 6 w 21"/>
                    <a:gd name="T5" fmla="*/ 6 h 35"/>
                    <a:gd name="T6" fmla="*/ 10 w 21"/>
                    <a:gd name="T7" fmla="*/ 15 h 35"/>
                    <a:gd name="T8" fmla="*/ 16 w 21"/>
                    <a:gd name="T9" fmla="*/ 24 h 35"/>
                    <a:gd name="T10" fmla="*/ 19 w 21"/>
                    <a:gd name="T11" fmla="*/ 29 h 35"/>
                    <a:gd name="T12" fmla="*/ 21 w 21"/>
                    <a:gd name="T13" fmla="*/ 32 h 35"/>
                    <a:gd name="T14" fmla="*/ 21 w 21"/>
                    <a:gd name="T15" fmla="*/ 35 h 35"/>
                    <a:gd name="T16" fmla="*/ 21 w 21"/>
                    <a:gd name="T17" fmla="*/ 35 h 35"/>
                    <a:gd name="T18" fmla="*/ 19 w 21"/>
                    <a:gd name="T19" fmla="*/ 34 h 35"/>
                    <a:gd name="T20" fmla="*/ 18 w 21"/>
                    <a:gd name="T21" fmla="*/ 31 h 35"/>
                    <a:gd name="T22" fmla="*/ 13 w 21"/>
                    <a:gd name="T23" fmla="*/ 25 h 35"/>
                    <a:gd name="T24" fmla="*/ 9 w 21"/>
                    <a:gd name="T25" fmla="*/ 16 h 35"/>
                    <a:gd name="T26" fmla="*/ 5 w 21"/>
                    <a:gd name="T27" fmla="*/ 8 h 35"/>
                    <a:gd name="T28" fmla="*/ 2 w 21"/>
                    <a:gd name="T29" fmla="*/ 2 h 35"/>
                    <a:gd name="T30" fmla="*/ 0 w 21"/>
                    <a:gd name="T3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1" h="35">
                      <a:moveTo>
                        <a:pt x="0" y="0"/>
                      </a:moveTo>
                      <a:lnTo>
                        <a:pt x="2" y="2"/>
                      </a:lnTo>
                      <a:lnTo>
                        <a:pt x="6" y="6"/>
                      </a:lnTo>
                      <a:lnTo>
                        <a:pt x="10" y="15"/>
                      </a:lnTo>
                      <a:lnTo>
                        <a:pt x="16" y="24"/>
                      </a:lnTo>
                      <a:lnTo>
                        <a:pt x="19" y="29"/>
                      </a:lnTo>
                      <a:lnTo>
                        <a:pt x="21" y="32"/>
                      </a:lnTo>
                      <a:lnTo>
                        <a:pt x="21" y="35"/>
                      </a:lnTo>
                      <a:lnTo>
                        <a:pt x="21" y="35"/>
                      </a:lnTo>
                      <a:lnTo>
                        <a:pt x="19" y="34"/>
                      </a:lnTo>
                      <a:lnTo>
                        <a:pt x="18" y="31"/>
                      </a:lnTo>
                      <a:lnTo>
                        <a:pt x="13" y="25"/>
                      </a:lnTo>
                      <a:lnTo>
                        <a:pt x="9" y="16"/>
                      </a:lnTo>
                      <a:lnTo>
                        <a:pt x="5" y="8"/>
                      </a:lnTo>
                      <a:lnTo>
                        <a:pt x="2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03" name="Freeform 495"/>
                <p:cNvSpPr>
                  <a:spLocks/>
                </p:cNvSpPr>
                <p:nvPr/>
              </p:nvSpPr>
              <p:spPr bwMode="auto">
                <a:xfrm>
                  <a:off x="3225801" y="3911600"/>
                  <a:ext cx="34925" cy="55563"/>
                </a:xfrm>
                <a:custGeom>
                  <a:avLst/>
                  <a:gdLst>
                    <a:gd name="T0" fmla="*/ 0 w 22"/>
                    <a:gd name="T1" fmla="*/ 0 h 35"/>
                    <a:gd name="T2" fmla="*/ 1 w 22"/>
                    <a:gd name="T3" fmla="*/ 2 h 35"/>
                    <a:gd name="T4" fmla="*/ 6 w 22"/>
                    <a:gd name="T5" fmla="*/ 8 h 35"/>
                    <a:gd name="T6" fmla="*/ 10 w 22"/>
                    <a:gd name="T7" fmla="*/ 15 h 35"/>
                    <a:gd name="T8" fmla="*/ 16 w 22"/>
                    <a:gd name="T9" fmla="*/ 25 h 35"/>
                    <a:gd name="T10" fmla="*/ 19 w 22"/>
                    <a:gd name="T11" fmla="*/ 29 h 35"/>
                    <a:gd name="T12" fmla="*/ 20 w 22"/>
                    <a:gd name="T13" fmla="*/ 34 h 35"/>
                    <a:gd name="T14" fmla="*/ 22 w 22"/>
                    <a:gd name="T15" fmla="*/ 35 h 35"/>
                    <a:gd name="T16" fmla="*/ 20 w 22"/>
                    <a:gd name="T17" fmla="*/ 35 h 35"/>
                    <a:gd name="T18" fmla="*/ 19 w 22"/>
                    <a:gd name="T19" fmla="*/ 34 h 35"/>
                    <a:gd name="T20" fmla="*/ 17 w 22"/>
                    <a:gd name="T21" fmla="*/ 31 h 35"/>
                    <a:gd name="T22" fmla="*/ 14 w 22"/>
                    <a:gd name="T23" fmla="*/ 27 h 35"/>
                    <a:gd name="T24" fmla="*/ 8 w 22"/>
                    <a:gd name="T25" fmla="*/ 16 h 35"/>
                    <a:gd name="T26" fmla="*/ 4 w 22"/>
                    <a:gd name="T27" fmla="*/ 8 h 35"/>
                    <a:gd name="T28" fmla="*/ 1 w 22"/>
                    <a:gd name="T29" fmla="*/ 3 h 35"/>
                    <a:gd name="T30" fmla="*/ 0 w 22"/>
                    <a:gd name="T3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2" h="35">
                      <a:moveTo>
                        <a:pt x="0" y="0"/>
                      </a:moveTo>
                      <a:lnTo>
                        <a:pt x="1" y="2"/>
                      </a:lnTo>
                      <a:lnTo>
                        <a:pt x="6" y="8"/>
                      </a:lnTo>
                      <a:lnTo>
                        <a:pt x="10" y="15"/>
                      </a:lnTo>
                      <a:lnTo>
                        <a:pt x="16" y="25"/>
                      </a:lnTo>
                      <a:lnTo>
                        <a:pt x="19" y="29"/>
                      </a:lnTo>
                      <a:lnTo>
                        <a:pt x="20" y="34"/>
                      </a:lnTo>
                      <a:lnTo>
                        <a:pt x="22" y="35"/>
                      </a:lnTo>
                      <a:lnTo>
                        <a:pt x="20" y="35"/>
                      </a:lnTo>
                      <a:lnTo>
                        <a:pt x="19" y="34"/>
                      </a:lnTo>
                      <a:lnTo>
                        <a:pt x="17" y="31"/>
                      </a:lnTo>
                      <a:lnTo>
                        <a:pt x="14" y="27"/>
                      </a:lnTo>
                      <a:lnTo>
                        <a:pt x="8" y="16"/>
                      </a:lnTo>
                      <a:lnTo>
                        <a:pt x="4" y="8"/>
                      </a:lnTo>
                      <a:lnTo>
                        <a:pt x="1" y="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04" name="Freeform 496"/>
                <p:cNvSpPr>
                  <a:spLocks/>
                </p:cNvSpPr>
                <p:nvPr/>
              </p:nvSpPr>
              <p:spPr bwMode="auto">
                <a:xfrm>
                  <a:off x="3187701" y="3940175"/>
                  <a:ext cx="53975" cy="39688"/>
                </a:xfrm>
                <a:custGeom>
                  <a:avLst/>
                  <a:gdLst>
                    <a:gd name="T0" fmla="*/ 0 w 34"/>
                    <a:gd name="T1" fmla="*/ 0 h 25"/>
                    <a:gd name="T2" fmla="*/ 3 w 34"/>
                    <a:gd name="T3" fmla="*/ 1 h 25"/>
                    <a:gd name="T4" fmla="*/ 8 w 34"/>
                    <a:gd name="T5" fmla="*/ 4 h 25"/>
                    <a:gd name="T6" fmla="*/ 16 w 34"/>
                    <a:gd name="T7" fmla="*/ 10 h 25"/>
                    <a:gd name="T8" fmla="*/ 25 w 34"/>
                    <a:gd name="T9" fmla="*/ 16 h 25"/>
                    <a:gd name="T10" fmla="*/ 30 w 34"/>
                    <a:gd name="T11" fmla="*/ 20 h 25"/>
                    <a:gd name="T12" fmla="*/ 32 w 34"/>
                    <a:gd name="T13" fmla="*/ 23 h 25"/>
                    <a:gd name="T14" fmla="*/ 34 w 34"/>
                    <a:gd name="T15" fmla="*/ 25 h 25"/>
                    <a:gd name="T16" fmla="*/ 34 w 34"/>
                    <a:gd name="T17" fmla="*/ 25 h 25"/>
                    <a:gd name="T18" fmla="*/ 31 w 34"/>
                    <a:gd name="T19" fmla="*/ 23 h 25"/>
                    <a:gd name="T20" fmla="*/ 28 w 34"/>
                    <a:gd name="T21" fmla="*/ 22 h 25"/>
                    <a:gd name="T22" fmla="*/ 24 w 34"/>
                    <a:gd name="T23" fmla="*/ 19 h 25"/>
                    <a:gd name="T24" fmla="*/ 18 w 34"/>
                    <a:gd name="T25" fmla="*/ 14 h 25"/>
                    <a:gd name="T26" fmla="*/ 14 w 34"/>
                    <a:gd name="T27" fmla="*/ 11 h 25"/>
                    <a:gd name="T28" fmla="*/ 9 w 34"/>
                    <a:gd name="T29" fmla="*/ 7 h 25"/>
                    <a:gd name="T30" fmla="*/ 5 w 34"/>
                    <a:gd name="T31" fmla="*/ 4 h 25"/>
                    <a:gd name="T32" fmla="*/ 3 w 34"/>
                    <a:gd name="T33" fmla="*/ 3 h 25"/>
                    <a:gd name="T34" fmla="*/ 2 w 34"/>
                    <a:gd name="T35" fmla="*/ 1 h 25"/>
                    <a:gd name="T36" fmla="*/ 0 w 34"/>
                    <a:gd name="T37" fmla="*/ 0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4" h="25">
                      <a:moveTo>
                        <a:pt x="0" y="0"/>
                      </a:moveTo>
                      <a:lnTo>
                        <a:pt x="3" y="1"/>
                      </a:lnTo>
                      <a:lnTo>
                        <a:pt x="8" y="4"/>
                      </a:lnTo>
                      <a:lnTo>
                        <a:pt x="16" y="10"/>
                      </a:lnTo>
                      <a:lnTo>
                        <a:pt x="25" y="16"/>
                      </a:lnTo>
                      <a:lnTo>
                        <a:pt x="30" y="20"/>
                      </a:lnTo>
                      <a:lnTo>
                        <a:pt x="32" y="23"/>
                      </a:lnTo>
                      <a:lnTo>
                        <a:pt x="34" y="25"/>
                      </a:lnTo>
                      <a:lnTo>
                        <a:pt x="34" y="25"/>
                      </a:lnTo>
                      <a:lnTo>
                        <a:pt x="31" y="23"/>
                      </a:lnTo>
                      <a:lnTo>
                        <a:pt x="28" y="22"/>
                      </a:lnTo>
                      <a:lnTo>
                        <a:pt x="24" y="19"/>
                      </a:lnTo>
                      <a:lnTo>
                        <a:pt x="18" y="14"/>
                      </a:lnTo>
                      <a:lnTo>
                        <a:pt x="14" y="11"/>
                      </a:lnTo>
                      <a:lnTo>
                        <a:pt x="9" y="7"/>
                      </a:lnTo>
                      <a:lnTo>
                        <a:pt x="5" y="4"/>
                      </a:lnTo>
                      <a:lnTo>
                        <a:pt x="3" y="3"/>
                      </a:lnTo>
                      <a:lnTo>
                        <a:pt x="2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05" name="Freeform 497"/>
                <p:cNvSpPr>
                  <a:spLocks/>
                </p:cNvSpPr>
                <p:nvPr/>
              </p:nvSpPr>
              <p:spPr bwMode="auto">
                <a:xfrm>
                  <a:off x="3165476" y="3970338"/>
                  <a:ext cx="60325" cy="25400"/>
                </a:xfrm>
                <a:custGeom>
                  <a:avLst/>
                  <a:gdLst>
                    <a:gd name="T0" fmla="*/ 0 w 38"/>
                    <a:gd name="T1" fmla="*/ 0 h 16"/>
                    <a:gd name="T2" fmla="*/ 4 w 38"/>
                    <a:gd name="T3" fmla="*/ 1 h 16"/>
                    <a:gd name="T4" fmla="*/ 14 w 38"/>
                    <a:gd name="T5" fmla="*/ 4 h 16"/>
                    <a:gd name="T6" fmla="*/ 28 w 38"/>
                    <a:gd name="T7" fmla="*/ 10 h 16"/>
                    <a:gd name="T8" fmla="*/ 33 w 38"/>
                    <a:gd name="T9" fmla="*/ 13 h 16"/>
                    <a:gd name="T10" fmla="*/ 36 w 38"/>
                    <a:gd name="T11" fmla="*/ 14 h 16"/>
                    <a:gd name="T12" fmla="*/ 38 w 38"/>
                    <a:gd name="T13" fmla="*/ 16 h 16"/>
                    <a:gd name="T14" fmla="*/ 38 w 38"/>
                    <a:gd name="T15" fmla="*/ 16 h 16"/>
                    <a:gd name="T16" fmla="*/ 36 w 38"/>
                    <a:gd name="T17" fmla="*/ 16 h 16"/>
                    <a:gd name="T18" fmla="*/ 32 w 38"/>
                    <a:gd name="T19" fmla="*/ 14 h 16"/>
                    <a:gd name="T20" fmla="*/ 26 w 38"/>
                    <a:gd name="T21" fmla="*/ 13 h 16"/>
                    <a:gd name="T22" fmla="*/ 13 w 38"/>
                    <a:gd name="T23" fmla="*/ 7 h 16"/>
                    <a:gd name="T24" fmla="*/ 4 w 38"/>
                    <a:gd name="T25" fmla="*/ 3 h 16"/>
                    <a:gd name="T26" fmla="*/ 0 w 38"/>
                    <a:gd name="T27" fmla="*/ 0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8" h="16">
                      <a:moveTo>
                        <a:pt x="0" y="0"/>
                      </a:moveTo>
                      <a:lnTo>
                        <a:pt x="4" y="1"/>
                      </a:lnTo>
                      <a:lnTo>
                        <a:pt x="14" y="4"/>
                      </a:lnTo>
                      <a:lnTo>
                        <a:pt x="28" y="10"/>
                      </a:lnTo>
                      <a:lnTo>
                        <a:pt x="33" y="13"/>
                      </a:lnTo>
                      <a:lnTo>
                        <a:pt x="36" y="14"/>
                      </a:lnTo>
                      <a:lnTo>
                        <a:pt x="38" y="16"/>
                      </a:lnTo>
                      <a:lnTo>
                        <a:pt x="38" y="16"/>
                      </a:lnTo>
                      <a:lnTo>
                        <a:pt x="36" y="16"/>
                      </a:lnTo>
                      <a:lnTo>
                        <a:pt x="32" y="14"/>
                      </a:lnTo>
                      <a:lnTo>
                        <a:pt x="26" y="13"/>
                      </a:lnTo>
                      <a:lnTo>
                        <a:pt x="13" y="7"/>
                      </a:lnTo>
                      <a:lnTo>
                        <a:pt x="4" y="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06" name="Freeform 498"/>
                <p:cNvSpPr>
                  <a:spLocks/>
                </p:cNvSpPr>
                <p:nvPr/>
              </p:nvSpPr>
              <p:spPr bwMode="auto">
                <a:xfrm>
                  <a:off x="3154363" y="4006850"/>
                  <a:ext cx="61913" cy="14288"/>
                </a:xfrm>
                <a:custGeom>
                  <a:avLst/>
                  <a:gdLst>
                    <a:gd name="T0" fmla="*/ 0 w 39"/>
                    <a:gd name="T1" fmla="*/ 0 h 9"/>
                    <a:gd name="T2" fmla="*/ 4 w 39"/>
                    <a:gd name="T3" fmla="*/ 1 h 9"/>
                    <a:gd name="T4" fmla="*/ 14 w 39"/>
                    <a:gd name="T5" fmla="*/ 3 h 9"/>
                    <a:gd name="T6" fmla="*/ 29 w 39"/>
                    <a:gd name="T7" fmla="*/ 4 h 9"/>
                    <a:gd name="T8" fmla="*/ 33 w 39"/>
                    <a:gd name="T9" fmla="*/ 6 h 9"/>
                    <a:gd name="T10" fmla="*/ 37 w 39"/>
                    <a:gd name="T11" fmla="*/ 7 h 9"/>
                    <a:gd name="T12" fmla="*/ 39 w 39"/>
                    <a:gd name="T13" fmla="*/ 7 h 9"/>
                    <a:gd name="T14" fmla="*/ 39 w 39"/>
                    <a:gd name="T15" fmla="*/ 9 h 9"/>
                    <a:gd name="T16" fmla="*/ 37 w 39"/>
                    <a:gd name="T17" fmla="*/ 9 h 9"/>
                    <a:gd name="T18" fmla="*/ 33 w 39"/>
                    <a:gd name="T19" fmla="*/ 9 h 9"/>
                    <a:gd name="T20" fmla="*/ 27 w 39"/>
                    <a:gd name="T21" fmla="*/ 7 h 9"/>
                    <a:gd name="T22" fmla="*/ 13 w 39"/>
                    <a:gd name="T23" fmla="*/ 4 h 9"/>
                    <a:gd name="T24" fmla="*/ 3 w 39"/>
                    <a:gd name="T25" fmla="*/ 1 h 9"/>
                    <a:gd name="T26" fmla="*/ 0 w 39"/>
                    <a:gd name="T27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9" h="9">
                      <a:moveTo>
                        <a:pt x="0" y="0"/>
                      </a:moveTo>
                      <a:lnTo>
                        <a:pt x="4" y="1"/>
                      </a:lnTo>
                      <a:lnTo>
                        <a:pt x="14" y="3"/>
                      </a:lnTo>
                      <a:lnTo>
                        <a:pt x="29" y="4"/>
                      </a:lnTo>
                      <a:lnTo>
                        <a:pt x="33" y="6"/>
                      </a:lnTo>
                      <a:lnTo>
                        <a:pt x="37" y="7"/>
                      </a:lnTo>
                      <a:lnTo>
                        <a:pt x="39" y="7"/>
                      </a:lnTo>
                      <a:lnTo>
                        <a:pt x="39" y="9"/>
                      </a:lnTo>
                      <a:lnTo>
                        <a:pt x="37" y="9"/>
                      </a:lnTo>
                      <a:lnTo>
                        <a:pt x="33" y="9"/>
                      </a:lnTo>
                      <a:lnTo>
                        <a:pt x="27" y="7"/>
                      </a:lnTo>
                      <a:lnTo>
                        <a:pt x="13" y="4"/>
                      </a:lnTo>
                      <a:lnTo>
                        <a:pt x="3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07" name="Freeform 499"/>
                <p:cNvSpPr>
                  <a:spLocks/>
                </p:cNvSpPr>
                <p:nvPr/>
              </p:nvSpPr>
              <p:spPr bwMode="auto">
                <a:xfrm>
                  <a:off x="3154363" y="4037013"/>
                  <a:ext cx="58738" cy="19050"/>
                </a:xfrm>
                <a:custGeom>
                  <a:avLst/>
                  <a:gdLst>
                    <a:gd name="T0" fmla="*/ 37 w 37"/>
                    <a:gd name="T1" fmla="*/ 0 h 12"/>
                    <a:gd name="T2" fmla="*/ 37 w 37"/>
                    <a:gd name="T3" fmla="*/ 0 h 12"/>
                    <a:gd name="T4" fmla="*/ 36 w 37"/>
                    <a:gd name="T5" fmla="*/ 1 h 12"/>
                    <a:gd name="T6" fmla="*/ 33 w 37"/>
                    <a:gd name="T7" fmla="*/ 3 h 12"/>
                    <a:gd name="T8" fmla="*/ 27 w 37"/>
                    <a:gd name="T9" fmla="*/ 4 h 12"/>
                    <a:gd name="T10" fmla="*/ 13 w 37"/>
                    <a:gd name="T11" fmla="*/ 9 h 12"/>
                    <a:gd name="T12" fmla="*/ 4 w 37"/>
                    <a:gd name="T13" fmla="*/ 12 h 12"/>
                    <a:gd name="T14" fmla="*/ 0 w 37"/>
                    <a:gd name="T15" fmla="*/ 12 h 12"/>
                    <a:gd name="T16" fmla="*/ 3 w 37"/>
                    <a:gd name="T17" fmla="*/ 10 h 12"/>
                    <a:gd name="T18" fmla="*/ 13 w 37"/>
                    <a:gd name="T19" fmla="*/ 7 h 12"/>
                    <a:gd name="T20" fmla="*/ 26 w 37"/>
                    <a:gd name="T21" fmla="*/ 3 h 12"/>
                    <a:gd name="T22" fmla="*/ 32 w 37"/>
                    <a:gd name="T23" fmla="*/ 0 h 12"/>
                    <a:gd name="T24" fmla="*/ 36 w 37"/>
                    <a:gd name="T25" fmla="*/ 0 h 12"/>
                    <a:gd name="T26" fmla="*/ 37 w 37"/>
                    <a:gd name="T27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7" h="12">
                      <a:moveTo>
                        <a:pt x="37" y="0"/>
                      </a:moveTo>
                      <a:lnTo>
                        <a:pt x="37" y="0"/>
                      </a:lnTo>
                      <a:lnTo>
                        <a:pt x="36" y="1"/>
                      </a:lnTo>
                      <a:lnTo>
                        <a:pt x="33" y="3"/>
                      </a:lnTo>
                      <a:lnTo>
                        <a:pt x="27" y="4"/>
                      </a:lnTo>
                      <a:lnTo>
                        <a:pt x="13" y="9"/>
                      </a:lnTo>
                      <a:lnTo>
                        <a:pt x="4" y="12"/>
                      </a:lnTo>
                      <a:lnTo>
                        <a:pt x="0" y="12"/>
                      </a:lnTo>
                      <a:lnTo>
                        <a:pt x="3" y="10"/>
                      </a:lnTo>
                      <a:lnTo>
                        <a:pt x="13" y="7"/>
                      </a:lnTo>
                      <a:lnTo>
                        <a:pt x="26" y="3"/>
                      </a:lnTo>
                      <a:lnTo>
                        <a:pt x="32" y="0"/>
                      </a:lnTo>
                      <a:lnTo>
                        <a:pt x="36" y="0"/>
                      </a:lnTo>
                      <a:lnTo>
                        <a:pt x="37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08" name="Freeform 500"/>
                <p:cNvSpPr>
                  <a:spLocks/>
                </p:cNvSpPr>
                <p:nvPr/>
              </p:nvSpPr>
              <p:spPr bwMode="auto">
                <a:xfrm>
                  <a:off x="3165476" y="4059238"/>
                  <a:ext cx="50800" cy="19050"/>
                </a:xfrm>
                <a:custGeom>
                  <a:avLst/>
                  <a:gdLst>
                    <a:gd name="T0" fmla="*/ 30 w 32"/>
                    <a:gd name="T1" fmla="*/ 0 h 12"/>
                    <a:gd name="T2" fmla="*/ 32 w 32"/>
                    <a:gd name="T3" fmla="*/ 0 h 12"/>
                    <a:gd name="T4" fmla="*/ 32 w 32"/>
                    <a:gd name="T5" fmla="*/ 2 h 12"/>
                    <a:gd name="T6" fmla="*/ 30 w 32"/>
                    <a:gd name="T7" fmla="*/ 3 h 12"/>
                    <a:gd name="T8" fmla="*/ 28 w 32"/>
                    <a:gd name="T9" fmla="*/ 5 h 12"/>
                    <a:gd name="T10" fmla="*/ 23 w 32"/>
                    <a:gd name="T11" fmla="*/ 6 h 12"/>
                    <a:gd name="T12" fmla="*/ 17 w 32"/>
                    <a:gd name="T13" fmla="*/ 8 h 12"/>
                    <a:gd name="T14" fmla="*/ 12 w 32"/>
                    <a:gd name="T15" fmla="*/ 9 h 12"/>
                    <a:gd name="T16" fmla="*/ 7 w 32"/>
                    <a:gd name="T17" fmla="*/ 11 h 12"/>
                    <a:gd name="T18" fmla="*/ 4 w 32"/>
                    <a:gd name="T19" fmla="*/ 12 h 12"/>
                    <a:gd name="T20" fmla="*/ 1 w 32"/>
                    <a:gd name="T21" fmla="*/ 12 h 12"/>
                    <a:gd name="T22" fmla="*/ 0 w 32"/>
                    <a:gd name="T23" fmla="*/ 12 h 12"/>
                    <a:gd name="T24" fmla="*/ 1 w 32"/>
                    <a:gd name="T25" fmla="*/ 11 h 12"/>
                    <a:gd name="T26" fmla="*/ 3 w 32"/>
                    <a:gd name="T27" fmla="*/ 9 h 12"/>
                    <a:gd name="T28" fmla="*/ 6 w 32"/>
                    <a:gd name="T29" fmla="*/ 8 h 12"/>
                    <a:gd name="T30" fmla="*/ 12 w 32"/>
                    <a:gd name="T31" fmla="*/ 6 h 12"/>
                    <a:gd name="T32" fmla="*/ 16 w 32"/>
                    <a:gd name="T33" fmla="*/ 5 h 12"/>
                    <a:gd name="T34" fmla="*/ 22 w 32"/>
                    <a:gd name="T35" fmla="*/ 2 h 12"/>
                    <a:gd name="T36" fmla="*/ 26 w 32"/>
                    <a:gd name="T37" fmla="*/ 2 h 12"/>
                    <a:gd name="T38" fmla="*/ 30 w 32"/>
                    <a:gd name="T3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32" h="12">
                      <a:moveTo>
                        <a:pt x="30" y="0"/>
                      </a:moveTo>
                      <a:lnTo>
                        <a:pt x="32" y="0"/>
                      </a:lnTo>
                      <a:lnTo>
                        <a:pt x="32" y="2"/>
                      </a:lnTo>
                      <a:lnTo>
                        <a:pt x="30" y="3"/>
                      </a:lnTo>
                      <a:lnTo>
                        <a:pt x="28" y="5"/>
                      </a:lnTo>
                      <a:lnTo>
                        <a:pt x="23" y="6"/>
                      </a:lnTo>
                      <a:lnTo>
                        <a:pt x="17" y="8"/>
                      </a:lnTo>
                      <a:lnTo>
                        <a:pt x="12" y="9"/>
                      </a:lnTo>
                      <a:lnTo>
                        <a:pt x="7" y="11"/>
                      </a:lnTo>
                      <a:lnTo>
                        <a:pt x="4" y="12"/>
                      </a:lnTo>
                      <a:lnTo>
                        <a:pt x="1" y="12"/>
                      </a:lnTo>
                      <a:lnTo>
                        <a:pt x="0" y="12"/>
                      </a:lnTo>
                      <a:lnTo>
                        <a:pt x="1" y="11"/>
                      </a:lnTo>
                      <a:lnTo>
                        <a:pt x="3" y="9"/>
                      </a:lnTo>
                      <a:lnTo>
                        <a:pt x="6" y="8"/>
                      </a:lnTo>
                      <a:lnTo>
                        <a:pt x="12" y="6"/>
                      </a:lnTo>
                      <a:lnTo>
                        <a:pt x="16" y="5"/>
                      </a:lnTo>
                      <a:lnTo>
                        <a:pt x="22" y="2"/>
                      </a:lnTo>
                      <a:lnTo>
                        <a:pt x="26" y="2"/>
                      </a:lnTo>
                      <a:lnTo>
                        <a:pt x="30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09" name="Freeform 501"/>
                <p:cNvSpPr>
                  <a:spLocks/>
                </p:cNvSpPr>
                <p:nvPr/>
              </p:nvSpPr>
              <p:spPr bwMode="auto">
                <a:xfrm>
                  <a:off x="3230563" y="3965575"/>
                  <a:ext cx="42863" cy="25400"/>
                </a:xfrm>
                <a:custGeom>
                  <a:avLst/>
                  <a:gdLst>
                    <a:gd name="T0" fmla="*/ 0 w 27"/>
                    <a:gd name="T1" fmla="*/ 0 h 16"/>
                    <a:gd name="T2" fmla="*/ 1 w 27"/>
                    <a:gd name="T3" fmla="*/ 0 h 16"/>
                    <a:gd name="T4" fmla="*/ 3 w 27"/>
                    <a:gd name="T5" fmla="*/ 1 h 16"/>
                    <a:gd name="T6" fmla="*/ 5 w 27"/>
                    <a:gd name="T7" fmla="*/ 3 h 16"/>
                    <a:gd name="T8" fmla="*/ 10 w 27"/>
                    <a:gd name="T9" fmla="*/ 4 h 16"/>
                    <a:gd name="T10" fmla="*/ 14 w 27"/>
                    <a:gd name="T11" fmla="*/ 7 h 16"/>
                    <a:gd name="T12" fmla="*/ 20 w 27"/>
                    <a:gd name="T13" fmla="*/ 10 h 16"/>
                    <a:gd name="T14" fmla="*/ 24 w 27"/>
                    <a:gd name="T15" fmla="*/ 13 h 16"/>
                    <a:gd name="T16" fmla="*/ 26 w 27"/>
                    <a:gd name="T17" fmla="*/ 14 h 16"/>
                    <a:gd name="T18" fmla="*/ 27 w 27"/>
                    <a:gd name="T19" fmla="*/ 16 h 16"/>
                    <a:gd name="T20" fmla="*/ 27 w 27"/>
                    <a:gd name="T21" fmla="*/ 16 h 16"/>
                    <a:gd name="T22" fmla="*/ 26 w 27"/>
                    <a:gd name="T23" fmla="*/ 16 h 16"/>
                    <a:gd name="T24" fmla="*/ 23 w 27"/>
                    <a:gd name="T25" fmla="*/ 14 h 16"/>
                    <a:gd name="T26" fmla="*/ 20 w 27"/>
                    <a:gd name="T27" fmla="*/ 13 h 16"/>
                    <a:gd name="T28" fmla="*/ 14 w 27"/>
                    <a:gd name="T29" fmla="*/ 10 h 16"/>
                    <a:gd name="T30" fmla="*/ 10 w 27"/>
                    <a:gd name="T31" fmla="*/ 7 h 16"/>
                    <a:gd name="T32" fmla="*/ 5 w 27"/>
                    <a:gd name="T33" fmla="*/ 4 h 16"/>
                    <a:gd name="T34" fmla="*/ 3 w 27"/>
                    <a:gd name="T35" fmla="*/ 3 h 16"/>
                    <a:gd name="T36" fmla="*/ 1 w 27"/>
                    <a:gd name="T37" fmla="*/ 1 h 16"/>
                    <a:gd name="T38" fmla="*/ 0 w 27"/>
                    <a:gd name="T39" fmla="*/ 0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27" h="16">
                      <a:moveTo>
                        <a:pt x="0" y="0"/>
                      </a:moveTo>
                      <a:lnTo>
                        <a:pt x="1" y="0"/>
                      </a:lnTo>
                      <a:lnTo>
                        <a:pt x="3" y="1"/>
                      </a:lnTo>
                      <a:lnTo>
                        <a:pt x="5" y="3"/>
                      </a:lnTo>
                      <a:lnTo>
                        <a:pt x="10" y="4"/>
                      </a:lnTo>
                      <a:lnTo>
                        <a:pt x="14" y="7"/>
                      </a:lnTo>
                      <a:lnTo>
                        <a:pt x="20" y="10"/>
                      </a:lnTo>
                      <a:lnTo>
                        <a:pt x="24" y="13"/>
                      </a:lnTo>
                      <a:lnTo>
                        <a:pt x="26" y="14"/>
                      </a:lnTo>
                      <a:lnTo>
                        <a:pt x="27" y="16"/>
                      </a:lnTo>
                      <a:lnTo>
                        <a:pt x="27" y="16"/>
                      </a:lnTo>
                      <a:lnTo>
                        <a:pt x="26" y="16"/>
                      </a:lnTo>
                      <a:lnTo>
                        <a:pt x="23" y="14"/>
                      </a:lnTo>
                      <a:lnTo>
                        <a:pt x="20" y="13"/>
                      </a:lnTo>
                      <a:lnTo>
                        <a:pt x="14" y="10"/>
                      </a:lnTo>
                      <a:lnTo>
                        <a:pt x="10" y="7"/>
                      </a:lnTo>
                      <a:lnTo>
                        <a:pt x="5" y="4"/>
                      </a:lnTo>
                      <a:lnTo>
                        <a:pt x="3" y="3"/>
                      </a:lnTo>
                      <a:lnTo>
                        <a:pt x="1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10" name="Freeform 502"/>
                <p:cNvSpPr>
                  <a:spLocks/>
                </p:cNvSpPr>
                <p:nvPr/>
              </p:nvSpPr>
              <p:spPr bwMode="auto">
                <a:xfrm>
                  <a:off x="3221038" y="4002088"/>
                  <a:ext cx="46038" cy="14288"/>
                </a:xfrm>
                <a:custGeom>
                  <a:avLst/>
                  <a:gdLst>
                    <a:gd name="T0" fmla="*/ 1 w 29"/>
                    <a:gd name="T1" fmla="*/ 0 h 9"/>
                    <a:gd name="T2" fmla="*/ 4 w 29"/>
                    <a:gd name="T3" fmla="*/ 2 h 9"/>
                    <a:gd name="T4" fmla="*/ 9 w 29"/>
                    <a:gd name="T5" fmla="*/ 2 h 9"/>
                    <a:gd name="T6" fmla="*/ 14 w 29"/>
                    <a:gd name="T7" fmla="*/ 3 h 9"/>
                    <a:gd name="T8" fmla="*/ 22 w 29"/>
                    <a:gd name="T9" fmla="*/ 4 h 9"/>
                    <a:gd name="T10" fmla="*/ 26 w 29"/>
                    <a:gd name="T11" fmla="*/ 6 h 9"/>
                    <a:gd name="T12" fmla="*/ 29 w 29"/>
                    <a:gd name="T13" fmla="*/ 7 h 9"/>
                    <a:gd name="T14" fmla="*/ 29 w 29"/>
                    <a:gd name="T15" fmla="*/ 9 h 9"/>
                    <a:gd name="T16" fmla="*/ 29 w 29"/>
                    <a:gd name="T17" fmla="*/ 9 h 9"/>
                    <a:gd name="T18" fmla="*/ 26 w 29"/>
                    <a:gd name="T19" fmla="*/ 9 h 9"/>
                    <a:gd name="T20" fmla="*/ 20 w 29"/>
                    <a:gd name="T21" fmla="*/ 7 h 9"/>
                    <a:gd name="T22" fmla="*/ 14 w 29"/>
                    <a:gd name="T23" fmla="*/ 6 h 9"/>
                    <a:gd name="T24" fmla="*/ 9 w 29"/>
                    <a:gd name="T25" fmla="*/ 4 h 9"/>
                    <a:gd name="T26" fmla="*/ 4 w 29"/>
                    <a:gd name="T27" fmla="*/ 3 h 9"/>
                    <a:gd name="T28" fmla="*/ 1 w 29"/>
                    <a:gd name="T29" fmla="*/ 2 h 9"/>
                    <a:gd name="T30" fmla="*/ 0 w 29"/>
                    <a:gd name="T31" fmla="*/ 2 h 9"/>
                    <a:gd name="T32" fmla="*/ 1 w 29"/>
                    <a:gd name="T33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9" h="9">
                      <a:moveTo>
                        <a:pt x="1" y="0"/>
                      </a:moveTo>
                      <a:lnTo>
                        <a:pt x="4" y="2"/>
                      </a:lnTo>
                      <a:lnTo>
                        <a:pt x="9" y="2"/>
                      </a:lnTo>
                      <a:lnTo>
                        <a:pt x="14" y="3"/>
                      </a:lnTo>
                      <a:lnTo>
                        <a:pt x="22" y="4"/>
                      </a:lnTo>
                      <a:lnTo>
                        <a:pt x="26" y="6"/>
                      </a:lnTo>
                      <a:lnTo>
                        <a:pt x="29" y="7"/>
                      </a:lnTo>
                      <a:lnTo>
                        <a:pt x="29" y="9"/>
                      </a:lnTo>
                      <a:lnTo>
                        <a:pt x="29" y="9"/>
                      </a:lnTo>
                      <a:lnTo>
                        <a:pt x="26" y="9"/>
                      </a:lnTo>
                      <a:lnTo>
                        <a:pt x="20" y="7"/>
                      </a:lnTo>
                      <a:lnTo>
                        <a:pt x="14" y="6"/>
                      </a:lnTo>
                      <a:lnTo>
                        <a:pt x="9" y="4"/>
                      </a:lnTo>
                      <a:lnTo>
                        <a:pt x="4" y="3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11" name="Freeform 503"/>
                <p:cNvSpPr>
                  <a:spLocks/>
                </p:cNvSpPr>
                <p:nvPr/>
              </p:nvSpPr>
              <p:spPr bwMode="auto">
                <a:xfrm>
                  <a:off x="3221038" y="4032250"/>
                  <a:ext cx="46038" cy="20638"/>
                </a:xfrm>
                <a:custGeom>
                  <a:avLst/>
                  <a:gdLst>
                    <a:gd name="T0" fmla="*/ 29 w 29"/>
                    <a:gd name="T1" fmla="*/ 0 h 13"/>
                    <a:gd name="T2" fmla="*/ 29 w 29"/>
                    <a:gd name="T3" fmla="*/ 0 h 13"/>
                    <a:gd name="T4" fmla="*/ 27 w 29"/>
                    <a:gd name="T5" fmla="*/ 1 h 13"/>
                    <a:gd name="T6" fmla="*/ 25 w 29"/>
                    <a:gd name="T7" fmla="*/ 3 h 13"/>
                    <a:gd name="T8" fmla="*/ 20 w 29"/>
                    <a:gd name="T9" fmla="*/ 4 h 13"/>
                    <a:gd name="T10" fmla="*/ 16 w 29"/>
                    <a:gd name="T11" fmla="*/ 7 h 13"/>
                    <a:gd name="T12" fmla="*/ 10 w 29"/>
                    <a:gd name="T13" fmla="*/ 9 h 13"/>
                    <a:gd name="T14" fmla="*/ 6 w 29"/>
                    <a:gd name="T15" fmla="*/ 10 h 13"/>
                    <a:gd name="T16" fmla="*/ 3 w 29"/>
                    <a:gd name="T17" fmla="*/ 12 h 13"/>
                    <a:gd name="T18" fmla="*/ 1 w 29"/>
                    <a:gd name="T19" fmla="*/ 13 h 13"/>
                    <a:gd name="T20" fmla="*/ 0 w 29"/>
                    <a:gd name="T21" fmla="*/ 13 h 13"/>
                    <a:gd name="T22" fmla="*/ 1 w 29"/>
                    <a:gd name="T23" fmla="*/ 12 h 13"/>
                    <a:gd name="T24" fmla="*/ 3 w 29"/>
                    <a:gd name="T25" fmla="*/ 10 h 13"/>
                    <a:gd name="T26" fmla="*/ 6 w 29"/>
                    <a:gd name="T27" fmla="*/ 9 h 13"/>
                    <a:gd name="T28" fmla="*/ 10 w 29"/>
                    <a:gd name="T29" fmla="*/ 7 h 13"/>
                    <a:gd name="T30" fmla="*/ 14 w 29"/>
                    <a:gd name="T31" fmla="*/ 4 h 13"/>
                    <a:gd name="T32" fmla="*/ 20 w 29"/>
                    <a:gd name="T33" fmla="*/ 3 h 13"/>
                    <a:gd name="T34" fmla="*/ 25 w 29"/>
                    <a:gd name="T35" fmla="*/ 0 h 13"/>
                    <a:gd name="T36" fmla="*/ 27 w 29"/>
                    <a:gd name="T37" fmla="*/ 0 h 13"/>
                    <a:gd name="T38" fmla="*/ 29 w 29"/>
                    <a:gd name="T3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29" h="13">
                      <a:moveTo>
                        <a:pt x="29" y="0"/>
                      </a:moveTo>
                      <a:lnTo>
                        <a:pt x="29" y="0"/>
                      </a:lnTo>
                      <a:lnTo>
                        <a:pt x="27" y="1"/>
                      </a:lnTo>
                      <a:lnTo>
                        <a:pt x="25" y="3"/>
                      </a:lnTo>
                      <a:lnTo>
                        <a:pt x="20" y="4"/>
                      </a:lnTo>
                      <a:lnTo>
                        <a:pt x="16" y="7"/>
                      </a:lnTo>
                      <a:lnTo>
                        <a:pt x="10" y="9"/>
                      </a:lnTo>
                      <a:lnTo>
                        <a:pt x="6" y="10"/>
                      </a:lnTo>
                      <a:lnTo>
                        <a:pt x="3" y="12"/>
                      </a:lnTo>
                      <a:lnTo>
                        <a:pt x="1" y="13"/>
                      </a:lnTo>
                      <a:lnTo>
                        <a:pt x="0" y="13"/>
                      </a:lnTo>
                      <a:lnTo>
                        <a:pt x="1" y="12"/>
                      </a:lnTo>
                      <a:lnTo>
                        <a:pt x="3" y="10"/>
                      </a:lnTo>
                      <a:lnTo>
                        <a:pt x="6" y="9"/>
                      </a:lnTo>
                      <a:lnTo>
                        <a:pt x="10" y="7"/>
                      </a:lnTo>
                      <a:lnTo>
                        <a:pt x="14" y="4"/>
                      </a:lnTo>
                      <a:lnTo>
                        <a:pt x="20" y="3"/>
                      </a:lnTo>
                      <a:lnTo>
                        <a:pt x="25" y="0"/>
                      </a:lnTo>
                      <a:lnTo>
                        <a:pt x="27" y="0"/>
                      </a:lnTo>
                      <a:lnTo>
                        <a:pt x="29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12" name="Freeform 504"/>
                <p:cNvSpPr>
                  <a:spLocks/>
                </p:cNvSpPr>
                <p:nvPr/>
              </p:nvSpPr>
              <p:spPr bwMode="auto">
                <a:xfrm>
                  <a:off x="3230563" y="4056063"/>
                  <a:ext cx="36513" cy="17463"/>
                </a:xfrm>
                <a:custGeom>
                  <a:avLst/>
                  <a:gdLst>
                    <a:gd name="T0" fmla="*/ 21 w 23"/>
                    <a:gd name="T1" fmla="*/ 0 h 11"/>
                    <a:gd name="T2" fmla="*/ 23 w 23"/>
                    <a:gd name="T3" fmla="*/ 1 h 11"/>
                    <a:gd name="T4" fmla="*/ 23 w 23"/>
                    <a:gd name="T5" fmla="*/ 1 h 11"/>
                    <a:gd name="T6" fmla="*/ 20 w 23"/>
                    <a:gd name="T7" fmla="*/ 4 h 11"/>
                    <a:gd name="T8" fmla="*/ 17 w 23"/>
                    <a:gd name="T9" fmla="*/ 5 h 11"/>
                    <a:gd name="T10" fmla="*/ 11 w 23"/>
                    <a:gd name="T11" fmla="*/ 7 h 11"/>
                    <a:gd name="T12" fmla="*/ 7 w 23"/>
                    <a:gd name="T13" fmla="*/ 10 h 11"/>
                    <a:gd name="T14" fmla="*/ 4 w 23"/>
                    <a:gd name="T15" fmla="*/ 10 h 11"/>
                    <a:gd name="T16" fmla="*/ 1 w 23"/>
                    <a:gd name="T17" fmla="*/ 11 h 11"/>
                    <a:gd name="T18" fmla="*/ 0 w 23"/>
                    <a:gd name="T19" fmla="*/ 11 h 11"/>
                    <a:gd name="T20" fmla="*/ 1 w 23"/>
                    <a:gd name="T21" fmla="*/ 10 h 11"/>
                    <a:gd name="T22" fmla="*/ 3 w 23"/>
                    <a:gd name="T23" fmla="*/ 8 h 11"/>
                    <a:gd name="T24" fmla="*/ 7 w 23"/>
                    <a:gd name="T25" fmla="*/ 7 h 11"/>
                    <a:gd name="T26" fmla="*/ 11 w 23"/>
                    <a:gd name="T27" fmla="*/ 4 h 11"/>
                    <a:gd name="T28" fmla="*/ 16 w 23"/>
                    <a:gd name="T29" fmla="*/ 1 h 11"/>
                    <a:gd name="T30" fmla="*/ 20 w 23"/>
                    <a:gd name="T31" fmla="*/ 1 h 11"/>
                    <a:gd name="T32" fmla="*/ 21 w 23"/>
                    <a:gd name="T33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3" h="11">
                      <a:moveTo>
                        <a:pt x="21" y="0"/>
                      </a:moveTo>
                      <a:lnTo>
                        <a:pt x="23" y="1"/>
                      </a:lnTo>
                      <a:lnTo>
                        <a:pt x="23" y="1"/>
                      </a:lnTo>
                      <a:lnTo>
                        <a:pt x="20" y="4"/>
                      </a:lnTo>
                      <a:lnTo>
                        <a:pt x="17" y="5"/>
                      </a:lnTo>
                      <a:lnTo>
                        <a:pt x="11" y="7"/>
                      </a:lnTo>
                      <a:lnTo>
                        <a:pt x="7" y="10"/>
                      </a:lnTo>
                      <a:lnTo>
                        <a:pt x="4" y="10"/>
                      </a:lnTo>
                      <a:lnTo>
                        <a:pt x="1" y="11"/>
                      </a:lnTo>
                      <a:lnTo>
                        <a:pt x="0" y="11"/>
                      </a:lnTo>
                      <a:lnTo>
                        <a:pt x="1" y="10"/>
                      </a:lnTo>
                      <a:lnTo>
                        <a:pt x="3" y="8"/>
                      </a:lnTo>
                      <a:lnTo>
                        <a:pt x="7" y="7"/>
                      </a:lnTo>
                      <a:lnTo>
                        <a:pt x="11" y="4"/>
                      </a:lnTo>
                      <a:lnTo>
                        <a:pt x="16" y="1"/>
                      </a:lnTo>
                      <a:lnTo>
                        <a:pt x="20" y="1"/>
                      </a:lnTo>
                      <a:lnTo>
                        <a:pt x="21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13" name="Freeform 505"/>
                <p:cNvSpPr>
                  <a:spLocks/>
                </p:cNvSpPr>
                <p:nvPr/>
              </p:nvSpPr>
              <p:spPr bwMode="auto">
                <a:xfrm>
                  <a:off x="3278188" y="3992563"/>
                  <a:ext cx="9525" cy="25400"/>
                </a:xfrm>
                <a:custGeom>
                  <a:avLst/>
                  <a:gdLst>
                    <a:gd name="T0" fmla="*/ 0 w 6"/>
                    <a:gd name="T1" fmla="*/ 0 h 16"/>
                    <a:gd name="T2" fmla="*/ 0 w 6"/>
                    <a:gd name="T3" fmla="*/ 0 h 16"/>
                    <a:gd name="T4" fmla="*/ 2 w 6"/>
                    <a:gd name="T5" fmla="*/ 3 h 16"/>
                    <a:gd name="T6" fmla="*/ 3 w 6"/>
                    <a:gd name="T7" fmla="*/ 6 h 16"/>
                    <a:gd name="T8" fmla="*/ 5 w 6"/>
                    <a:gd name="T9" fmla="*/ 10 h 16"/>
                    <a:gd name="T10" fmla="*/ 5 w 6"/>
                    <a:gd name="T11" fmla="*/ 13 h 16"/>
                    <a:gd name="T12" fmla="*/ 6 w 6"/>
                    <a:gd name="T13" fmla="*/ 15 h 16"/>
                    <a:gd name="T14" fmla="*/ 6 w 6"/>
                    <a:gd name="T15" fmla="*/ 16 h 16"/>
                    <a:gd name="T16" fmla="*/ 5 w 6"/>
                    <a:gd name="T17" fmla="*/ 15 h 16"/>
                    <a:gd name="T18" fmla="*/ 5 w 6"/>
                    <a:gd name="T19" fmla="*/ 12 h 16"/>
                    <a:gd name="T20" fmla="*/ 3 w 6"/>
                    <a:gd name="T21" fmla="*/ 8 h 16"/>
                    <a:gd name="T22" fmla="*/ 2 w 6"/>
                    <a:gd name="T23" fmla="*/ 5 h 16"/>
                    <a:gd name="T24" fmla="*/ 0 w 6"/>
                    <a:gd name="T25" fmla="*/ 2 h 16"/>
                    <a:gd name="T26" fmla="*/ 0 w 6"/>
                    <a:gd name="T27" fmla="*/ 0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6" h="16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2" y="3"/>
                      </a:lnTo>
                      <a:lnTo>
                        <a:pt x="3" y="6"/>
                      </a:lnTo>
                      <a:lnTo>
                        <a:pt x="5" y="10"/>
                      </a:lnTo>
                      <a:lnTo>
                        <a:pt x="5" y="13"/>
                      </a:lnTo>
                      <a:lnTo>
                        <a:pt x="6" y="15"/>
                      </a:lnTo>
                      <a:lnTo>
                        <a:pt x="6" y="16"/>
                      </a:lnTo>
                      <a:lnTo>
                        <a:pt x="5" y="15"/>
                      </a:lnTo>
                      <a:lnTo>
                        <a:pt x="5" y="12"/>
                      </a:lnTo>
                      <a:lnTo>
                        <a:pt x="3" y="8"/>
                      </a:lnTo>
                      <a:lnTo>
                        <a:pt x="2" y="5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14" name="Freeform 506"/>
                <p:cNvSpPr>
                  <a:spLocks/>
                </p:cNvSpPr>
                <p:nvPr/>
              </p:nvSpPr>
              <p:spPr bwMode="auto">
                <a:xfrm>
                  <a:off x="3281363" y="3957638"/>
                  <a:ext cx="7938" cy="25400"/>
                </a:xfrm>
                <a:custGeom>
                  <a:avLst/>
                  <a:gdLst>
                    <a:gd name="T0" fmla="*/ 0 w 5"/>
                    <a:gd name="T1" fmla="*/ 0 h 16"/>
                    <a:gd name="T2" fmla="*/ 1 w 5"/>
                    <a:gd name="T3" fmla="*/ 0 h 16"/>
                    <a:gd name="T4" fmla="*/ 1 w 5"/>
                    <a:gd name="T5" fmla="*/ 3 h 16"/>
                    <a:gd name="T6" fmla="*/ 3 w 5"/>
                    <a:gd name="T7" fmla="*/ 6 h 16"/>
                    <a:gd name="T8" fmla="*/ 4 w 5"/>
                    <a:gd name="T9" fmla="*/ 11 h 16"/>
                    <a:gd name="T10" fmla="*/ 5 w 5"/>
                    <a:gd name="T11" fmla="*/ 14 h 16"/>
                    <a:gd name="T12" fmla="*/ 5 w 5"/>
                    <a:gd name="T13" fmla="*/ 15 h 16"/>
                    <a:gd name="T14" fmla="*/ 5 w 5"/>
                    <a:gd name="T15" fmla="*/ 16 h 16"/>
                    <a:gd name="T16" fmla="*/ 4 w 5"/>
                    <a:gd name="T17" fmla="*/ 15 h 16"/>
                    <a:gd name="T18" fmla="*/ 4 w 5"/>
                    <a:gd name="T19" fmla="*/ 12 h 16"/>
                    <a:gd name="T20" fmla="*/ 3 w 5"/>
                    <a:gd name="T21" fmla="*/ 8 h 16"/>
                    <a:gd name="T22" fmla="*/ 1 w 5"/>
                    <a:gd name="T23" fmla="*/ 5 h 16"/>
                    <a:gd name="T24" fmla="*/ 1 w 5"/>
                    <a:gd name="T25" fmla="*/ 2 h 16"/>
                    <a:gd name="T26" fmla="*/ 0 w 5"/>
                    <a:gd name="T27" fmla="*/ 0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5" h="16">
                      <a:moveTo>
                        <a:pt x="0" y="0"/>
                      </a:moveTo>
                      <a:lnTo>
                        <a:pt x="1" y="0"/>
                      </a:lnTo>
                      <a:lnTo>
                        <a:pt x="1" y="3"/>
                      </a:lnTo>
                      <a:lnTo>
                        <a:pt x="3" y="6"/>
                      </a:lnTo>
                      <a:lnTo>
                        <a:pt x="4" y="11"/>
                      </a:lnTo>
                      <a:lnTo>
                        <a:pt x="5" y="14"/>
                      </a:lnTo>
                      <a:lnTo>
                        <a:pt x="5" y="15"/>
                      </a:lnTo>
                      <a:lnTo>
                        <a:pt x="5" y="16"/>
                      </a:lnTo>
                      <a:lnTo>
                        <a:pt x="4" y="15"/>
                      </a:lnTo>
                      <a:lnTo>
                        <a:pt x="4" y="12"/>
                      </a:lnTo>
                      <a:lnTo>
                        <a:pt x="3" y="8"/>
                      </a:lnTo>
                      <a:lnTo>
                        <a:pt x="1" y="5"/>
                      </a:lnTo>
                      <a:lnTo>
                        <a:pt x="1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15" name="Freeform 507"/>
                <p:cNvSpPr>
                  <a:spLocks/>
                </p:cNvSpPr>
                <p:nvPr/>
              </p:nvSpPr>
              <p:spPr bwMode="auto">
                <a:xfrm>
                  <a:off x="3276601" y="4030663"/>
                  <a:ext cx="9525" cy="11113"/>
                </a:xfrm>
                <a:custGeom>
                  <a:avLst/>
                  <a:gdLst>
                    <a:gd name="T0" fmla="*/ 0 w 6"/>
                    <a:gd name="T1" fmla="*/ 0 h 7"/>
                    <a:gd name="T2" fmla="*/ 1 w 6"/>
                    <a:gd name="T3" fmla="*/ 0 h 7"/>
                    <a:gd name="T4" fmla="*/ 3 w 6"/>
                    <a:gd name="T5" fmla="*/ 1 h 7"/>
                    <a:gd name="T6" fmla="*/ 4 w 6"/>
                    <a:gd name="T7" fmla="*/ 4 h 7"/>
                    <a:gd name="T8" fmla="*/ 6 w 6"/>
                    <a:gd name="T9" fmla="*/ 5 h 7"/>
                    <a:gd name="T10" fmla="*/ 6 w 6"/>
                    <a:gd name="T11" fmla="*/ 7 h 7"/>
                    <a:gd name="T12" fmla="*/ 6 w 6"/>
                    <a:gd name="T13" fmla="*/ 7 h 7"/>
                    <a:gd name="T14" fmla="*/ 4 w 6"/>
                    <a:gd name="T15" fmla="*/ 7 h 7"/>
                    <a:gd name="T16" fmla="*/ 3 w 6"/>
                    <a:gd name="T17" fmla="*/ 4 h 7"/>
                    <a:gd name="T18" fmla="*/ 1 w 6"/>
                    <a:gd name="T19" fmla="*/ 1 h 7"/>
                    <a:gd name="T20" fmla="*/ 0 w 6"/>
                    <a:gd name="T21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6" h="7">
                      <a:moveTo>
                        <a:pt x="0" y="0"/>
                      </a:moveTo>
                      <a:lnTo>
                        <a:pt x="1" y="0"/>
                      </a:lnTo>
                      <a:lnTo>
                        <a:pt x="3" y="1"/>
                      </a:lnTo>
                      <a:lnTo>
                        <a:pt x="4" y="4"/>
                      </a:lnTo>
                      <a:lnTo>
                        <a:pt x="6" y="5"/>
                      </a:lnTo>
                      <a:lnTo>
                        <a:pt x="6" y="7"/>
                      </a:lnTo>
                      <a:lnTo>
                        <a:pt x="6" y="7"/>
                      </a:lnTo>
                      <a:lnTo>
                        <a:pt x="4" y="7"/>
                      </a:lnTo>
                      <a:lnTo>
                        <a:pt x="3" y="4"/>
                      </a:lnTo>
                      <a:lnTo>
                        <a:pt x="1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16" name="Freeform 508"/>
                <p:cNvSpPr>
                  <a:spLocks/>
                </p:cNvSpPr>
                <p:nvPr/>
              </p:nvSpPr>
              <p:spPr bwMode="auto">
                <a:xfrm>
                  <a:off x="3276601" y="4057650"/>
                  <a:ext cx="9525" cy="20638"/>
                </a:xfrm>
                <a:custGeom>
                  <a:avLst/>
                  <a:gdLst>
                    <a:gd name="T0" fmla="*/ 6 w 6"/>
                    <a:gd name="T1" fmla="*/ 0 h 13"/>
                    <a:gd name="T2" fmla="*/ 6 w 6"/>
                    <a:gd name="T3" fmla="*/ 1 h 13"/>
                    <a:gd name="T4" fmla="*/ 6 w 6"/>
                    <a:gd name="T5" fmla="*/ 3 h 13"/>
                    <a:gd name="T6" fmla="*/ 4 w 6"/>
                    <a:gd name="T7" fmla="*/ 6 h 13"/>
                    <a:gd name="T8" fmla="*/ 3 w 6"/>
                    <a:gd name="T9" fmla="*/ 9 h 13"/>
                    <a:gd name="T10" fmla="*/ 1 w 6"/>
                    <a:gd name="T11" fmla="*/ 12 h 13"/>
                    <a:gd name="T12" fmla="*/ 1 w 6"/>
                    <a:gd name="T13" fmla="*/ 13 h 13"/>
                    <a:gd name="T14" fmla="*/ 0 w 6"/>
                    <a:gd name="T15" fmla="*/ 13 h 13"/>
                    <a:gd name="T16" fmla="*/ 1 w 6"/>
                    <a:gd name="T17" fmla="*/ 12 h 13"/>
                    <a:gd name="T18" fmla="*/ 1 w 6"/>
                    <a:gd name="T19" fmla="*/ 10 h 13"/>
                    <a:gd name="T20" fmla="*/ 3 w 6"/>
                    <a:gd name="T21" fmla="*/ 7 h 13"/>
                    <a:gd name="T22" fmla="*/ 4 w 6"/>
                    <a:gd name="T23" fmla="*/ 3 h 13"/>
                    <a:gd name="T24" fmla="*/ 6 w 6"/>
                    <a:gd name="T25" fmla="*/ 1 h 13"/>
                    <a:gd name="T26" fmla="*/ 6 w 6"/>
                    <a:gd name="T27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6" h="13">
                      <a:moveTo>
                        <a:pt x="6" y="0"/>
                      </a:moveTo>
                      <a:lnTo>
                        <a:pt x="6" y="1"/>
                      </a:lnTo>
                      <a:lnTo>
                        <a:pt x="6" y="3"/>
                      </a:lnTo>
                      <a:lnTo>
                        <a:pt x="4" y="6"/>
                      </a:lnTo>
                      <a:lnTo>
                        <a:pt x="3" y="9"/>
                      </a:lnTo>
                      <a:lnTo>
                        <a:pt x="1" y="12"/>
                      </a:lnTo>
                      <a:lnTo>
                        <a:pt x="1" y="13"/>
                      </a:lnTo>
                      <a:lnTo>
                        <a:pt x="0" y="13"/>
                      </a:lnTo>
                      <a:lnTo>
                        <a:pt x="1" y="12"/>
                      </a:lnTo>
                      <a:lnTo>
                        <a:pt x="1" y="10"/>
                      </a:lnTo>
                      <a:lnTo>
                        <a:pt x="3" y="7"/>
                      </a:lnTo>
                      <a:lnTo>
                        <a:pt x="4" y="3"/>
                      </a:lnTo>
                      <a:lnTo>
                        <a:pt x="6" y="1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17" name="Freeform 509"/>
                <p:cNvSpPr>
                  <a:spLocks/>
                </p:cNvSpPr>
                <p:nvPr/>
              </p:nvSpPr>
              <p:spPr bwMode="auto">
                <a:xfrm>
                  <a:off x="3278188" y="4083050"/>
                  <a:ext cx="7938" cy="15875"/>
                </a:xfrm>
                <a:custGeom>
                  <a:avLst/>
                  <a:gdLst>
                    <a:gd name="T0" fmla="*/ 5 w 5"/>
                    <a:gd name="T1" fmla="*/ 0 h 10"/>
                    <a:gd name="T2" fmla="*/ 5 w 5"/>
                    <a:gd name="T3" fmla="*/ 1 h 10"/>
                    <a:gd name="T4" fmla="*/ 5 w 5"/>
                    <a:gd name="T5" fmla="*/ 3 h 10"/>
                    <a:gd name="T6" fmla="*/ 3 w 5"/>
                    <a:gd name="T7" fmla="*/ 4 h 10"/>
                    <a:gd name="T8" fmla="*/ 2 w 5"/>
                    <a:gd name="T9" fmla="*/ 7 h 10"/>
                    <a:gd name="T10" fmla="*/ 2 w 5"/>
                    <a:gd name="T11" fmla="*/ 10 h 10"/>
                    <a:gd name="T12" fmla="*/ 0 w 5"/>
                    <a:gd name="T13" fmla="*/ 10 h 10"/>
                    <a:gd name="T14" fmla="*/ 0 w 5"/>
                    <a:gd name="T15" fmla="*/ 10 h 10"/>
                    <a:gd name="T16" fmla="*/ 0 w 5"/>
                    <a:gd name="T17" fmla="*/ 9 h 10"/>
                    <a:gd name="T18" fmla="*/ 2 w 5"/>
                    <a:gd name="T19" fmla="*/ 7 h 10"/>
                    <a:gd name="T20" fmla="*/ 2 w 5"/>
                    <a:gd name="T21" fmla="*/ 4 h 10"/>
                    <a:gd name="T22" fmla="*/ 3 w 5"/>
                    <a:gd name="T23" fmla="*/ 1 h 10"/>
                    <a:gd name="T24" fmla="*/ 5 w 5"/>
                    <a:gd name="T25" fmla="*/ 0 h 10"/>
                    <a:gd name="T26" fmla="*/ 5 w 5"/>
                    <a:gd name="T27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5" h="10">
                      <a:moveTo>
                        <a:pt x="5" y="0"/>
                      </a:moveTo>
                      <a:lnTo>
                        <a:pt x="5" y="1"/>
                      </a:lnTo>
                      <a:lnTo>
                        <a:pt x="5" y="3"/>
                      </a:lnTo>
                      <a:lnTo>
                        <a:pt x="3" y="4"/>
                      </a:lnTo>
                      <a:lnTo>
                        <a:pt x="2" y="7"/>
                      </a:lnTo>
                      <a:lnTo>
                        <a:pt x="2" y="10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0" y="9"/>
                      </a:lnTo>
                      <a:lnTo>
                        <a:pt x="2" y="7"/>
                      </a:lnTo>
                      <a:lnTo>
                        <a:pt x="2" y="4"/>
                      </a:lnTo>
                      <a:lnTo>
                        <a:pt x="3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18" name="Freeform 510"/>
                <p:cNvSpPr>
                  <a:spLocks/>
                </p:cNvSpPr>
                <p:nvPr/>
              </p:nvSpPr>
              <p:spPr bwMode="auto">
                <a:xfrm>
                  <a:off x="3314701" y="3944938"/>
                  <a:ext cx="9525" cy="25400"/>
                </a:xfrm>
                <a:custGeom>
                  <a:avLst/>
                  <a:gdLst>
                    <a:gd name="T0" fmla="*/ 6 w 6"/>
                    <a:gd name="T1" fmla="*/ 0 h 16"/>
                    <a:gd name="T2" fmla="*/ 5 w 6"/>
                    <a:gd name="T3" fmla="*/ 1 h 16"/>
                    <a:gd name="T4" fmla="*/ 5 w 6"/>
                    <a:gd name="T5" fmla="*/ 4 h 16"/>
                    <a:gd name="T6" fmla="*/ 3 w 6"/>
                    <a:gd name="T7" fmla="*/ 7 h 16"/>
                    <a:gd name="T8" fmla="*/ 2 w 6"/>
                    <a:gd name="T9" fmla="*/ 11 h 16"/>
                    <a:gd name="T10" fmla="*/ 2 w 6"/>
                    <a:gd name="T11" fmla="*/ 14 h 16"/>
                    <a:gd name="T12" fmla="*/ 0 w 6"/>
                    <a:gd name="T13" fmla="*/ 16 h 16"/>
                    <a:gd name="T14" fmla="*/ 0 w 6"/>
                    <a:gd name="T15" fmla="*/ 14 h 16"/>
                    <a:gd name="T16" fmla="*/ 2 w 6"/>
                    <a:gd name="T17" fmla="*/ 13 h 16"/>
                    <a:gd name="T18" fmla="*/ 2 w 6"/>
                    <a:gd name="T19" fmla="*/ 10 h 16"/>
                    <a:gd name="T20" fmla="*/ 3 w 6"/>
                    <a:gd name="T21" fmla="*/ 6 h 16"/>
                    <a:gd name="T22" fmla="*/ 5 w 6"/>
                    <a:gd name="T23" fmla="*/ 3 h 16"/>
                    <a:gd name="T24" fmla="*/ 5 w 6"/>
                    <a:gd name="T25" fmla="*/ 0 h 16"/>
                    <a:gd name="T26" fmla="*/ 6 w 6"/>
                    <a:gd name="T27" fmla="*/ 0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6" h="16">
                      <a:moveTo>
                        <a:pt x="6" y="0"/>
                      </a:moveTo>
                      <a:lnTo>
                        <a:pt x="5" y="1"/>
                      </a:lnTo>
                      <a:lnTo>
                        <a:pt x="5" y="4"/>
                      </a:lnTo>
                      <a:lnTo>
                        <a:pt x="3" y="7"/>
                      </a:lnTo>
                      <a:lnTo>
                        <a:pt x="2" y="11"/>
                      </a:lnTo>
                      <a:lnTo>
                        <a:pt x="2" y="14"/>
                      </a:lnTo>
                      <a:lnTo>
                        <a:pt x="0" y="16"/>
                      </a:lnTo>
                      <a:lnTo>
                        <a:pt x="0" y="14"/>
                      </a:lnTo>
                      <a:lnTo>
                        <a:pt x="2" y="13"/>
                      </a:lnTo>
                      <a:lnTo>
                        <a:pt x="2" y="10"/>
                      </a:lnTo>
                      <a:lnTo>
                        <a:pt x="3" y="6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19" name="Freeform 511"/>
                <p:cNvSpPr>
                  <a:spLocks/>
                </p:cNvSpPr>
                <p:nvPr/>
              </p:nvSpPr>
              <p:spPr bwMode="auto">
                <a:xfrm>
                  <a:off x="3317876" y="3981450"/>
                  <a:ext cx="6350" cy="11113"/>
                </a:xfrm>
                <a:custGeom>
                  <a:avLst/>
                  <a:gdLst>
                    <a:gd name="T0" fmla="*/ 4 w 4"/>
                    <a:gd name="T1" fmla="*/ 0 h 7"/>
                    <a:gd name="T2" fmla="*/ 4 w 4"/>
                    <a:gd name="T3" fmla="*/ 1 h 7"/>
                    <a:gd name="T4" fmla="*/ 3 w 4"/>
                    <a:gd name="T5" fmla="*/ 4 h 7"/>
                    <a:gd name="T6" fmla="*/ 1 w 4"/>
                    <a:gd name="T7" fmla="*/ 7 h 7"/>
                    <a:gd name="T8" fmla="*/ 0 w 4"/>
                    <a:gd name="T9" fmla="*/ 7 h 7"/>
                    <a:gd name="T10" fmla="*/ 0 w 4"/>
                    <a:gd name="T11" fmla="*/ 7 h 7"/>
                    <a:gd name="T12" fmla="*/ 0 w 4"/>
                    <a:gd name="T13" fmla="*/ 6 h 7"/>
                    <a:gd name="T14" fmla="*/ 1 w 4"/>
                    <a:gd name="T15" fmla="*/ 4 h 7"/>
                    <a:gd name="T16" fmla="*/ 3 w 4"/>
                    <a:gd name="T17" fmla="*/ 1 h 7"/>
                    <a:gd name="T18" fmla="*/ 4 w 4"/>
                    <a:gd name="T19" fmla="*/ 0 h 7"/>
                    <a:gd name="T20" fmla="*/ 4 w 4"/>
                    <a:gd name="T21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" h="7">
                      <a:moveTo>
                        <a:pt x="4" y="0"/>
                      </a:moveTo>
                      <a:lnTo>
                        <a:pt x="4" y="1"/>
                      </a:lnTo>
                      <a:lnTo>
                        <a:pt x="3" y="4"/>
                      </a:lnTo>
                      <a:lnTo>
                        <a:pt x="1" y="7"/>
                      </a:lnTo>
                      <a:lnTo>
                        <a:pt x="0" y="7"/>
                      </a:lnTo>
                      <a:lnTo>
                        <a:pt x="0" y="7"/>
                      </a:lnTo>
                      <a:lnTo>
                        <a:pt x="0" y="6"/>
                      </a:lnTo>
                      <a:lnTo>
                        <a:pt x="1" y="4"/>
                      </a:lnTo>
                      <a:lnTo>
                        <a:pt x="3" y="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20" name="Freeform 512"/>
                <p:cNvSpPr>
                  <a:spLocks/>
                </p:cNvSpPr>
                <p:nvPr/>
              </p:nvSpPr>
              <p:spPr bwMode="auto">
                <a:xfrm>
                  <a:off x="3317876" y="4008438"/>
                  <a:ext cx="6350" cy="22225"/>
                </a:xfrm>
                <a:custGeom>
                  <a:avLst/>
                  <a:gdLst>
                    <a:gd name="T0" fmla="*/ 0 w 4"/>
                    <a:gd name="T1" fmla="*/ 0 h 14"/>
                    <a:gd name="T2" fmla="*/ 0 w 4"/>
                    <a:gd name="T3" fmla="*/ 2 h 14"/>
                    <a:gd name="T4" fmla="*/ 1 w 4"/>
                    <a:gd name="T5" fmla="*/ 3 h 14"/>
                    <a:gd name="T6" fmla="*/ 3 w 4"/>
                    <a:gd name="T7" fmla="*/ 8 h 14"/>
                    <a:gd name="T8" fmla="*/ 4 w 4"/>
                    <a:gd name="T9" fmla="*/ 11 h 14"/>
                    <a:gd name="T10" fmla="*/ 4 w 4"/>
                    <a:gd name="T11" fmla="*/ 12 h 14"/>
                    <a:gd name="T12" fmla="*/ 4 w 4"/>
                    <a:gd name="T13" fmla="*/ 14 h 14"/>
                    <a:gd name="T14" fmla="*/ 4 w 4"/>
                    <a:gd name="T15" fmla="*/ 14 h 14"/>
                    <a:gd name="T16" fmla="*/ 4 w 4"/>
                    <a:gd name="T17" fmla="*/ 12 h 14"/>
                    <a:gd name="T18" fmla="*/ 3 w 4"/>
                    <a:gd name="T19" fmla="*/ 9 h 14"/>
                    <a:gd name="T20" fmla="*/ 1 w 4"/>
                    <a:gd name="T21" fmla="*/ 6 h 14"/>
                    <a:gd name="T22" fmla="*/ 0 w 4"/>
                    <a:gd name="T23" fmla="*/ 3 h 14"/>
                    <a:gd name="T24" fmla="*/ 0 w 4"/>
                    <a:gd name="T25" fmla="*/ 2 h 14"/>
                    <a:gd name="T26" fmla="*/ 0 w 4"/>
                    <a:gd name="T27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" h="14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1" y="3"/>
                      </a:lnTo>
                      <a:lnTo>
                        <a:pt x="3" y="8"/>
                      </a:lnTo>
                      <a:lnTo>
                        <a:pt x="4" y="11"/>
                      </a:lnTo>
                      <a:lnTo>
                        <a:pt x="4" y="12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4" y="12"/>
                      </a:lnTo>
                      <a:lnTo>
                        <a:pt x="3" y="9"/>
                      </a:lnTo>
                      <a:lnTo>
                        <a:pt x="1" y="6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21" name="Freeform 513"/>
                <p:cNvSpPr>
                  <a:spLocks/>
                </p:cNvSpPr>
                <p:nvPr/>
              </p:nvSpPr>
              <p:spPr bwMode="auto">
                <a:xfrm>
                  <a:off x="3317876" y="4071938"/>
                  <a:ext cx="6350" cy="20638"/>
                </a:xfrm>
                <a:custGeom>
                  <a:avLst/>
                  <a:gdLst>
                    <a:gd name="T0" fmla="*/ 0 w 4"/>
                    <a:gd name="T1" fmla="*/ 0 h 13"/>
                    <a:gd name="T2" fmla="*/ 0 w 4"/>
                    <a:gd name="T3" fmla="*/ 1 h 13"/>
                    <a:gd name="T4" fmla="*/ 1 w 4"/>
                    <a:gd name="T5" fmla="*/ 3 h 13"/>
                    <a:gd name="T6" fmla="*/ 3 w 4"/>
                    <a:gd name="T7" fmla="*/ 7 h 13"/>
                    <a:gd name="T8" fmla="*/ 4 w 4"/>
                    <a:gd name="T9" fmla="*/ 10 h 13"/>
                    <a:gd name="T10" fmla="*/ 4 w 4"/>
                    <a:gd name="T11" fmla="*/ 11 h 13"/>
                    <a:gd name="T12" fmla="*/ 4 w 4"/>
                    <a:gd name="T13" fmla="*/ 13 h 13"/>
                    <a:gd name="T14" fmla="*/ 4 w 4"/>
                    <a:gd name="T15" fmla="*/ 13 h 13"/>
                    <a:gd name="T16" fmla="*/ 4 w 4"/>
                    <a:gd name="T17" fmla="*/ 11 h 13"/>
                    <a:gd name="T18" fmla="*/ 3 w 4"/>
                    <a:gd name="T19" fmla="*/ 8 h 13"/>
                    <a:gd name="T20" fmla="*/ 1 w 4"/>
                    <a:gd name="T21" fmla="*/ 6 h 13"/>
                    <a:gd name="T22" fmla="*/ 0 w 4"/>
                    <a:gd name="T23" fmla="*/ 3 h 13"/>
                    <a:gd name="T24" fmla="*/ 0 w 4"/>
                    <a:gd name="T25" fmla="*/ 1 h 13"/>
                    <a:gd name="T26" fmla="*/ 0 w 4"/>
                    <a:gd name="T27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" h="13">
                      <a:moveTo>
                        <a:pt x="0" y="0"/>
                      </a:moveTo>
                      <a:lnTo>
                        <a:pt x="0" y="1"/>
                      </a:lnTo>
                      <a:lnTo>
                        <a:pt x="1" y="3"/>
                      </a:lnTo>
                      <a:lnTo>
                        <a:pt x="3" y="7"/>
                      </a:lnTo>
                      <a:lnTo>
                        <a:pt x="4" y="10"/>
                      </a:lnTo>
                      <a:lnTo>
                        <a:pt x="4" y="11"/>
                      </a:lnTo>
                      <a:lnTo>
                        <a:pt x="4" y="13"/>
                      </a:lnTo>
                      <a:lnTo>
                        <a:pt x="4" y="13"/>
                      </a:lnTo>
                      <a:lnTo>
                        <a:pt x="4" y="11"/>
                      </a:lnTo>
                      <a:lnTo>
                        <a:pt x="3" y="8"/>
                      </a:lnTo>
                      <a:lnTo>
                        <a:pt x="1" y="6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22" name="Freeform 514"/>
                <p:cNvSpPr>
                  <a:spLocks/>
                </p:cNvSpPr>
                <p:nvPr/>
              </p:nvSpPr>
              <p:spPr bwMode="auto">
                <a:xfrm>
                  <a:off x="3317876" y="4033838"/>
                  <a:ext cx="6350" cy="17463"/>
                </a:xfrm>
                <a:custGeom>
                  <a:avLst/>
                  <a:gdLst>
                    <a:gd name="T0" fmla="*/ 0 w 4"/>
                    <a:gd name="T1" fmla="*/ 0 h 11"/>
                    <a:gd name="T2" fmla="*/ 0 w 4"/>
                    <a:gd name="T3" fmla="*/ 0 h 11"/>
                    <a:gd name="T4" fmla="*/ 1 w 4"/>
                    <a:gd name="T5" fmla="*/ 2 h 11"/>
                    <a:gd name="T6" fmla="*/ 3 w 4"/>
                    <a:gd name="T7" fmla="*/ 6 h 11"/>
                    <a:gd name="T8" fmla="*/ 3 w 4"/>
                    <a:gd name="T9" fmla="*/ 9 h 11"/>
                    <a:gd name="T10" fmla="*/ 4 w 4"/>
                    <a:gd name="T11" fmla="*/ 11 h 11"/>
                    <a:gd name="T12" fmla="*/ 3 w 4"/>
                    <a:gd name="T13" fmla="*/ 11 h 11"/>
                    <a:gd name="T14" fmla="*/ 3 w 4"/>
                    <a:gd name="T15" fmla="*/ 11 h 11"/>
                    <a:gd name="T16" fmla="*/ 1 w 4"/>
                    <a:gd name="T17" fmla="*/ 8 h 11"/>
                    <a:gd name="T18" fmla="*/ 1 w 4"/>
                    <a:gd name="T19" fmla="*/ 5 h 11"/>
                    <a:gd name="T20" fmla="*/ 0 w 4"/>
                    <a:gd name="T21" fmla="*/ 3 h 11"/>
                    <a:gd name="T22" fmla="*/ 0 w 4"/>
                    <a:gd name="T23" fmla="*/ 2 h 11"/>
                    <a:gd name="T24" fmla="*/ 0 w 4"/>
                    <a:gd name="T2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4" h="11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" y="2"/>
                      </a:lnTo>
                      <a:lnTo>
                        <a:pt x="3" y="6"/>
                      </a:lnTo>
                      <a:lnTo>
                        <a:pt x="3" y="9"/>
                      </a:lnTo>
                      <a:lnTo>
                        <a:pt x="4" y="11"/>
                      </a:lnTo>
                      <a:lnTo>
                        <a:pt x="3" y="11"/>
                      </a:lnTo>
                      <a:lnTo>
                        <a:pt x="3" y="11"/>
                      </a:lnTo>
                      <a:lnTo>
                        <a:pt x="1" y="8"/>
                      </a:lnTo>
                      <a:lnTo>
                        <a:pt x="1" y="5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23" name="Freeform 515"/>
                <p:cNvSpPr>
                  <a:spLocks/>
                </p:cNvSpPr>
                <p:nvPr/>
              </p:nvSpPr>
              <p:spPr bwMode="auto">
                <a:xfrm>
                  <a:off x="3378201" y="3997325"/>
                  <a:ext cx="61913" cy="20638"/>
                </a:xfrm>
                <a:custGeom>
                  <a:avLst/>
                  <a:gdLst>
                    <a:gd name="T0" fmla="*/ 39 w 39"/>
                    <a:gd name="T1" fmla="*/ 0 h 13"/>
                    <a:gd name="T2" fmla="*/ 35 w 39"/>
                    <a:gd name="T3" fmla="*/ 2 h 13"/>
                    <a:gd name="T4" fmla="*/ 26 w 39"/>
                    <a:gd name="T5" fmla="*/ 6 h 13"/>
                    <a:gd name="T6" fmla="*/ 11 w 39"/>
                    <a:gd name="T7" fmla="*/ 10 h 13"/>
                    <a:gd name="T8" fmla="*/ 6 w 39"/>
                    <a:gd name="T9" fmla="*/ 12 h 13"/>
                    <a:gd name="T10" fmla="*/ 3 w 39"/>
                    <a:gd name="T11" fmla="*/ 13 h 13"/>
                    <a:gd name="T12" fmla="*/ 0 w 39"/>
                    <a:gd name="T13" fmla="*/ 13 h 13"/>
                    <a:gd name="T14" fmla="*/ 0 w 39"/>
                    <a:gd name="T15" fmla="*/ 13 h 13"/>
                    <a:gd name="T16" fmla="*/ 1 w 39"/>
                    <a:gd name="T17" fmla="*/ 12 h 13"/>
                    <a:gd name="T18" fmla="*/ 6 w 39"/>
                    <a:gd name="T19" fmla="*/ 10 h 13"/>
                    <a:gd name="T20" fmla="*/ 11 w 39"/>
                    <a:gd name="T21" fmla="*/ 7 h 13"/>
                    <a:gd name="T22" fmla="*/ 24 w 39"/>
                    <a:gd name="T23" fmla="*/ 3 h 13"/>
                    <a:gd name="T24" fmla="*/ 35 w 39"/>
                    <a:gd name="T25" fmla="*/ 2 h 13"/>
                    <a:gd name="T26" fmla="*/ 39 w 39"/>
                    <a:gd name="T27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9" h="13">
                      <a:moveTo>
                        <a:pt x="39" y="0"/>
                      </a:moveTo>
                      <a:lnTo>
                        <a:pt x="35" y="2"/>
                      </a:lnTo>
                      <a:lnTo>
                        <a:pt x="26" y="6"/>
                      </a:lnTo>
                      <a:lnTo>
                        <a:pt x="11" y="10"/>
                      </a:lnTo>
                      <a:lnTo>
                        <a:pt x="6" y="12"/>
                      </a:lnTo>
                      <a:lnTo>
                        <a:pt x="3" y="13"/>
                      </a:lnTo>
                      <a:lnTo>
                        <a:pt x="0" y="13"/>
                      </a:lnTo>
                      <a:lnTo>
                        <a:pt x="0" y="13"/>
                      </a:lnTo>
                      <a:lnTo>
                        <a:pt x="1" y="12"/>
                      </a:lnTo>
                      <a:lnTo>
                        <a:pt x="6" y="10"/>
                      </a:lnTo>
                      <a:lnTo>
                        <a:pt x="11" y="7"/>
                      </a:lnTo>
                      <a:lnTo>
                        <a:pt x="24" y="3"/>
                      </a:lnTo>
                      <a:lnTo>
                        <a:pt x="35" y="2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24" name="Freeform 516"/>
                <p:cNvSpPr>
                  <a:spLocks/>
                </p:cNvSpPr>
                <p:nvPr/>
              </p:nvSpPr>
              <p:spPr bwMode="auto">
                <a:xfrm>
                  <a:off x="3373438" y="3962400"/>
                  <a:ext cx="55563" cy="33338"/>
                </a:xfrm>
                <a:custGeom>
                  <a:avLst/>
                  <a:gdLst>
                    <a:gd name="T0" fmla="*/ 35 w 35"/>
                    <a:gd name="T1" fmla="*/ 0 h 21"/>
                    <a:gd name="T2" fmla="*/ 33 w 35"/>
                    <a:gd name="T3" fmla="*/ 2 h 21"/>
                    <a:gd name="T4" fmla="*/ 27 w 35"/>
                    <a:gd name="T5" fmla="*/ 5 h 21"/>
                    <a:gd name="T6" fmla="*/ 20 w 35"/>
                    <a:gd name="T7" fmla="*/ 11 h 21"/>
                    <a:gd name="T8" fmla="*/ 11 w 35"/>
                    <a:gd name="T9" fmla="*/ 16 h 21"/>
                    <a:gd name="T10" fmla="*/ 6 w 35"/>
                    <a:gd name="T11" fmla="*/ 19 h 21"/>
                    <a:gd name="T12" fmla="*/ 3 w 35"/>
                    <a:gd name="T13" fmla="*/ 21 h 21"/>
                    <a:gd name="T14" fmla="*/ 0 w 35"/>
                    <a:gd name="T15" fmla="*/ 21 h 21"/>
                    <a:gd name="T16" fmla="*/ 0 w 35"/>
                    <a:gd name="T17" fmla="*/ 21 h 21"/>
                    <a:gd name="T18" fmla="*/ 1 w 35"/>
                    <a:gd name="T19" fmla="*/ 19 h 21"/>
                    <a:gd name="T20" fmla="*/ 4 w 35"/>
                    <a:gd name="T21" fmla="*/ 16 h 21"/>
                    <a:gd name="T22" fmla="*/ 10 w 35"/>
                    <a:gd name="T23" fmla="*/ 13 h 21"/>
                    <a:gd name="T24" fmla="*/ 19 w 35"/>
                    <a:gd name="T25" fmla="*/ 8 h 21"/>
                    <a:gd name="T26" fmla="*/ 27 w 35"/>
                    <a:gd name="T27" fmla="*/ 3 h 21"/>
                    <a:gd name="T28" fmla="*/ 32 w 35"/>
                    <a:gd name="T29" fmla="*/ 0 h 21"/>
                    <a:gd name="T30" fmla="*/ 35 w 35"/>
                    <a:gd name="T31" fmla="*/ 0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5" h="21">
                      <a:moveTo>
                        <a:pt x="35" y="0"/>
                      </a:moveTo>
                      <a:lnTo>
                        <a:pt x="33" y="2"/>
                      </a:lnTo>
                      <a:lnTo>
                        <a:pt x="27" y="5"/>
                      </a:lnTo>
                      <a:lnTo>
                        <a:pt x="20" y="11"/>
                      </a:lnTo>
                      <a:lnTo>
                        <a:pt x="11" y="16"/>
                      </a:lnTo>
                      <a:lnTo>
                        <a:pt x="6" y="19"/>
                      </a:lnTo>
                      <a:lnTo>
                        <a:pt x="3" y="21"/>
                      </a:lnTo>
                      <a:lnTo>
                        <a:pt x="0" y="21"/>
                      </a:lnTo>
                      <a:lnTo>
                        <a:pt x="0" y="21"/>
                      </a:lnTo>
                      <a:lnTo>
                        <a:pt x="1" y="19"/>
                      </a:lnTo>
                      <a:lnTo>
                        <a:pt x="4" y="16"/>
                      </a:lnTo>
                      <a:lnTo>
                        <a:pt x="10" y="13"/>
                      </a:lnTo>
                      <a:lnTo>
                        <a:pt x="19" y="8"/>
                      </a:lnTo>
                      <a:lnTo>
                        <a:pt x="27" y="3"/>
                      </a:lnTo>
                      <a:lnTo>
                        <a:pt x="32" y="0"/>
                      </a:lnTo>
                      <a:lnTo>
                        <a:pt x="35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25" name="Freeform 517"/>
                <p:cNvSpPr>
                  <a:spLocks/>
                </p:cNvSpPr>
                <p:nvPr/>
              </p:nvSpPr>
              <p:spPr bwMode="auto">
                <a:xfrm>
                  <a:off x="3390901" y="4062413"/>
                  <a:ext cx="50800" cy="9525"/>
                </a:xfrm>
                <a:custGeom>
                  <a:avLst/>
                  <a:gdLst>
                    <a:gd name="T0" fmla="*/ 5 w 32"/>
                    <a:gd name="T1" fmla="*/ 0 h 6"/>
                    <a:gd name="T2" fmla="*/ 11 w 32"/>
                    <a:gd name="T3" fmla="*/ 1 h 6"/>
                    <a:gd name="T4" fmla="*/ 18 w 32"/>
                    <a:gd name="T5" fmla="*/ 1 h 6"/>
                    <a:gd name="T6" fmla="*/ 24 w 32"/>
                    <a:gd name="T7" fmla="*/ 3 h 6"/>
                    <a:gd name="T8" fmla="*/ 28 w 32"/>
                    <a:gd name="T9" fmla="*/ 4 h 6"/>
                    <a:gd name="T10" fmla="*/ 32 w 32"/>
                    <a:gd name="T11" fmla="*/ 4 h 6"/>
                    <a:gd name="T12" fmla="*/ 32 w 32"/>
                    <a:gd name="T13" fmla="*/ 6 h 6"/>
                    <a:gd name="T14" fmla="*/ 32 w 32"/>
                    <a:gd name="T15" fmla="*/ 6 h 6"/>
                    <a:gd name="T16" fmla="*/ 28 w 32"/>
                    <a:gd name="T17" fmla="*/ 6 h 6"/>
                    <a:gd name="T18" fmla="*/ 24 w 32"/>
                    <a:gd name="T19" fmla="*/ 4 h 6"/>
                    <a:gd name="T20" fmla="*/ 18 w 32"/>
                    <a:gd name="T21" fmla="*/ 4 h 6"/>
                    <a:gd name="T22" fmla="*/ 11 w 32"/>
                    <a:gd name="T23" fmla="*/ 4 h 6"/>
                    <a:gd name="T24" fmla="*/ 5 w 32"/>
                    <a:gd name="T25" fmla="*/ 3 h 6"/>
                    <a:gd name="T26" fmla="*/ 2 w 32"/>
                    <a:gd name="T27" fmla="*/ 1 h 6"/>
                    <a:gd name="T28" fmla="*/ 0 w 32"/>
                    <a:gd name="T29" fmla="*/ 1 h 6"/>
                    <a:gd name="T30" fmla="*/ 2 w 32"/>
                    <a:gd name="T31" fmla="*/ 1 h 6"/>
                    <a:gd name="T32" fmla="*/ 5 w 32"/>
                    <a:gd name="T33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2" h="6">
                      <a:moveTo>
                        <a:pt x="5" y="0"/>
                      </a:moveTo>
                      <a:lnTo>
                        <a:pt x="11" y="1"/>
                      </a:lnTo>
                      <a:lnTo>
                        <a:pt x="18" y="1"/>
                      </a:lnTo>
                      <a:lnTo>
                        <a:pt x="24" y="3"/>
                      </a:lnTo>
                      <a:lnTo>
                        <a:pt x="28" y="4"/>
                      </a:lnTo>
                      <a:lnTo>
                        <a:pt x="32" y="4"/>
                      </a:lnTo>
                      <a:lnTo>
                        <a:pt x="32" y="6"/>
                      </a:lnTo>
                      <a:lnTo>
                        <a:pt x="32" y="6"/>
                      </a:lnTo>
                      <a:lnTo>
                        <a:pt x="28" y="6"/>
                      </a:lnTo>
                      <a:lnTo>
                        <a:pt x="24" y="4"/>
                      </a:lnTo>
                      <a:lnTo>
                        <a:pt x="18" y="4"/>
                      </a:lnTo>
                      <a:lnTo>
                        <a:pt x="11" y="4"/>
                      </a:lnTo>
                      <a:lnTo>
                        <a:pt x="5" y="3"/>
                      </a:lnTo>
                      <a:lnTo>
                        <a:pt x="2" y="1"/>
                      </a:ln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26" name="Freeform 518"/>
                <p:cNvSpPr>
                  <a:spLocks/>
                </p:cNvSpPr>
                <p:nvPr/>
              </p:nvSpPr>
              <p:spPr bwMode="auto">
                <a:xfrm>
                  <a:off x="3395663" y="4032250"/>
                  <a:ext cx="50800" cy="11113"/>
                </a:xfrm>
                <a:custGeom>
                  <a:avLst/>
                  <a:gdLst>
                    <a:gd name="T0" fmla="*/ 31 w 32"/>
                    <a:gd name="T1" fmla="*/ 0 h 7"/>
                    <a:gd name="T2" fmla="*/ 32 w 32"/>
                    <a:gd name="T3" fmla="*/ 0 h 7"/>
                    <a:gd name="T4" fmla="*/ 31 w 32"/>
                    <a:gd name="T5" fmla="*/ 1 h 7"/>
                    <a:gd name="T6" fmla="*/ 28 w 32"/>
                    <a:gd name="T7" fmla="*/ 1 h 7"/>
                    <a:gd name="T8" fmla="*/ 24 w 32"/>
                    <a:gd name="T9" fmla="*/ 3 h 7"/>
                    <a:gd name="T10" fmla="*/ 16 w 32"/>
                    <a:gd name="T11" fmla="*/ 4 h 7"/>
                    <a:gd name="T12" fmla="*/ 9 w 32"/>
                    <a:gd name="T13" fmla="*/ 6 h 7"/>
                    <a:gd name="T14" fmla="*/ 5 w 32"/>
                    <a:gd name="T15" fmla="*/ 7 h 7"/>
                    <a:gd name="T16" fmla="*/ 0 w 32"/>
                    <a:gd name="T17" fmla="*/ 7 h 7"/>
                    <a:gd name="T18" fmla="*/ 0 w 32"/>
                    <a:gd name="T19" fmla="*/ 6 h 7"/>
                    <a:gd name="T20" fmla="*/ 0 w 32"/>
                    <a:gd name="T21" fmla="*/ 6 h 7"/>
                    <a:gd name="T22" fmla="*/ 5 w 32"/>
                    <a:gd name="T23" fmla="*/ 4 h 7"/>
                    <a:gd name="T24" fmla="*/ 9 w 32"/>
                    <a:gd name="T25" fmla="*/ 3 h 7"/>
                    <a:gd name="T26" fmla="*/ 15 w 32"/>
                    <a:gd name="T27" fmla="*/ 3 h 7"/>
                    <a:gd name="T28" fmla="*/ 21 w 32"/>
                    <a:gd name="T29" fmla="*/ 1 h 7"/>
                    <a:gd name="T30" fmla="*/ 25 w 32"/>
                    <a:gd name="T31" fmla="*/ 1 h 7"/>
                    <a:gd name="T32" fmla="*/ 29 w 32"/>
                    <a:gd name="T33" fmla="*/ 0 h 7"/>
                    <a:gd name="T34" fmla="*/ 31 w 32"/>
                    <a:gd name="T35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2" h="7">
                      <a:moveTo>
                        <a:pt x="31" y="0"/>
                      </a:moveTo>
                      <a:lnTo>
                        <a:pt x="32" y="0"/>
                      </a:lnTo>
                      <a:lnTo>
                        <a:pt x="31" y="1"/>
                      </a:lnTo>
                      <a:lnTo>
                        <a:pt x="28" y="1"/>
                      </a:lnTo>
                      <a:lnTo>
                        <a:pt x="24" y="3"/>
                      </a:lnTo>
                      <a:lnTo>
                        <a:pt x="16" y="4"/>
                      </a:lnTo>
                      <a:lnTo>
                        <a:pt x="9" y="6"/>
                      </a:lnTo>
                      <a:lnTo>
                        <a:pt x="5" y="7"/>
                      </a:lnTo>
                      <a:lnTo>
                        <a:pt x="0" y="7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5" y="4"/>
                      </a:lnTo>
                      <a:lnTo>
                        <a:pt x="9" y="3"/>
                      </a:lnTo>
                      <a:lnTo>
                        <a:pt x="15" y="3"/>
                      </a:lnTo>
                      <a:lnTo>
                        <a:pt x="21" y="1"/>
                      </a:lnTo>
                      <a:lnTo>
                        <a:pt x="25" y="1"/>
                      </a:lnTo>
                      <a:lnTo>
                        <a:pt x="29" y="0"/>
                      </a:lnTo>
                      <a:lnTo>
                        <a:pt x="31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27" name="Freeform 519"/>
                <p:cNvSpPr>
                  <a:spLocks/>
                </p:cNvSpPr>
                <p:nvPr/>
              </p:nvSpPr>
              <p:spPr bwMode="auto">
                <a:xfrm>
                  <a:off x="3359151" y="3930650"/>
                  <a:ext cx="46038" cy="44450"/>
                </a:xfrm>
                <a:custGeom>
                  <a:avLst/>
                  <a:gdLst>
                    <a:gd name="T0" fmla="*/ 29 w 29"/>
                    <a:gd name="T1" fmla="*/ 0 h 28"/>
                    <a:gd name="T2" fmla="*/ 29 w 29"/>
                    <a:gd name="T3" fmla="*/ 0 h 28"/>
                    <a:gd name="T4" fmla="*/ 28 w 29"/>
                    <a:gd name="T5" fmla="*/ 2 h 28"/>
                    <a:gd name="T6" fmla="*/ 25 w 29"/>
                    <a:gd name="T7" fmla="*/ 4 h 28"/>
                    <a:gd name="T8" fmla="*/ 22 w 29"/>
                    <a:gd name="T9" fmla="*/ 7 h 28"/>
                    <a:gd name="T10" fmla="*/ 19 w 29"/>
                    <a:gd name="T11" fmla="*/ 12 h 28"/>
                    <a:gd name="T12" fmla="*/ 15 w 29"/>
                    <a:gd name="T13" fmla="*/ 16 h 28"/>
                    <a:gd name="T14" fmla="*/ 9 w 29"/>
                    <a:gd name="T15" fmla="*/ 20 h 28"/>
                    <a:gd name="T16" fmla="*/ 4 w 29"/>
                    <a:gd name="T17" fmla="*/ 25 h 28"/>
                    <a:gd name="T18" fmla="*/ 2 w 29"/>
                    <a:gd name="T19" fmla="*/ 26 h 28"/>
                    <a:gd name="T20" fmla="*/ 0 w 29"/>
                    <a:gd name="T21" fmla="*/ 28 h 28"/>
                    <a:gd name="T22" fmla="*/ 0 w 29"/>
                    <a:gd name="T23" fmla="*/ 28 h 28"/>
                    <a:gd name="T24" fmla="*/ 2 w 29"/>
                    <a:gd name="T25" fmla="*/ 25 h 28"/>
                    <a:gd name="T26" fmla="*/ 3 w 29"/>
                    <a:gd name="T27" fmla="*/ 22 h 28"/>
                    <a:gd name="T28" fmla="*/ 7 w 29"/>
                    <a:gd name="T29" fmla="*/ 19 h 28"/>
                    <a:gd name="T30" fmla="*/ 13 w 29"/>
                    <a:gd name="T31" fmla="*/ 13 h 28"/>
                    <a:gd name="T32" fmla="*/ 18 w 29"/>
                    <a:gd name="T33" fmla="*/ 10 h 28"/>
                    <a:gd name="T34" fmla="*/ 20 w 29"/>
                    <a:gd name="T35" fmla="*/ 6 h 28"/>
                    <a:gd name="T36" fmla="*/ 25 w 29"/>
                    <a:gd name="T37" fmla="*/ 3 h 28"/>
                    <a:gd name="T38" fmla="*/ 26 w 29"/>
                    <a:gd name="T39" fmla="*/ 2 h 28"/>
                    <a:gd name="T40" fmla="*/ 29 w 29"/>
                    <a:gd name="T41" fmla="*/ 0 h 28"/>
                    <a:gd name="T42" fmla="*/ 29 w 29"/>
                    <a:gd name="T43" fmla="*/ 0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29" h="28">
                      <a:moveTo>
                        <a:pt x="29" y="0"/>
                      </a:moveTo>
                      <a:lnTo>
                        <a:pt x="29" y="0"/>
                      </a:lnTo>
                      <a:lnTo>
                        <a:pt x="28" y="2"/>
                      </a:lnTo>
                      <a:lnTo>
                        <a:pt x="25" y="4"/>
                      </a:lnTo>
                      <a:lnTo>
                        <a:pt x="22" y="7"/>
                      </a:lnTo>
                      <a:lnTo>
                        <a:pt x="19" y="12"/>
                      </a:lnTo>
                      <a:lnTo>
                        <a:pt x="15" y="16"/>
                      </a:lnTo>
                      <a:lnTo>
                        <a:pt x="9" y="20"/>
                      </a:lnTo>
                      <a:lnTo>
                        <a:pt x="4" y="25"/>
                      </a:lnTo>
                      <a:lnTo>
                        <a:pt x="2" y="26"/>
                      </a:lnTo>
                      <a:lnTo>
                        <a:pt x="0" y="28"/>
                      </a:lnTo>
                      <a:lnTo>
                        <a:pt x="0" y="28"/>
                      </a:lnTo>
                      <a:lnTo>
                        <a:pt x="2" y="25"/>
                      </a:lnTo>
                      <a:lnTo>
                        <a:pt x="3" y="22"/>
                      </a:lnTo>
                      <a:lnTo>
                        <a:pt x="7" y="19"/>
                      </a:lnTo>
                      <a:lnTo>
                        <a:pt x="13" y="13"/>
                      </a:lnTo>
                      <a:lnTo>
                        <a:pt x="18" y="10"/>
                      </a:lnTo>
                      <a:lnTo>
                        <a:pt x="20" y="6"/>
                      </a:lnTo>
                      <a:lnTo>
                        <a:pt x="25" y="3"/>
                      </a:lnTo>
                      <a:lnTo>
                        <a:pt x="26" y="2"/>
                      </a:lnTo>
                      <a:lnTo>
                        <a:pt x="29" y="0"/>
                      </a:lnTo>
                      <a:lnTo>
                        <a:pt x="29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28" name="Freeform 520"/>
                <p:cNvSpPr>
                  <a:spLocks/>
                </p:cNvSpPr>
                <p:nvPr/>
              </p:nvSpPr>
              <p:spPr bwMode="auto">
                <a:xfrm>
                  <a:off x="3344863" y="3900488"/>
                  <a:ext cx="20638" cy="61913"/>
                </a:xfrm>
                <a:custGeom>
                  <a:avLst/>
                  <a:gdLst>
                    <a:gd name="T0" fmla="*/ 13 w 13"/>
                    <a:gd name="T1" fmla="*/ 0 h 39"/>
                    <a:gd name="T2" fmla="*/ 13 w 13"/>
                    <a:gd name="T3" fmla="*/ 5 h 39"/>
                    <a:gd name="T4" fmla="*/ 11 w 13"/>
                    <a:gd name="T5" fmla="*/ 15 h 39"/>
                    <a:gd name="T6" fmla="*/ 6 w 13"/>
                    <a:gd name="T7" fmla="*/ 28 h 39"/>
                    <a:gd name="T8" fmla="*/ 5 w 13"/>
                    <a:gd name="T9" fmla="*/ 34 h 39"/>
                    <a:gd name="T10" fmla="*/ 2 w 13"/>
                    <a:gd name="T11" fmla="*/ 38 h 39"/>
                    <a:gd name="T12" fmla="*/ 2 w 13"/>
                    <a:gd name="T13" fmla="*/ 39 h 39"/>
                    <a:gd name="T14" fmla="*/ 0 w 13"/>
                    <a:gd name="T15" fmla="*/ 39 h 39"/>
                    <a:gd name="T16" fmla="*/ 0 w 13"/>
                    <a:gd name="T17" fmla="*/ 36 h 39"/>
                    <a:gd name="T18" fmla="*/ 2 w 13"/>
                    <a:gd name="T19" fmla="*/ 34 h 39"/>
                    <a:gd name="T20" fmla="*/ 3 w 13"/>
                    <a:gd name="T21" fmla="*/ 28 h 39"/>
                    <a:gd name="T22" fmla="*/ 8 w 13"/>
                    <a:gd name="T23" fmla="*/ 13 h 39"/>
                    <a:gd name="T24" fmla="*/ 12 w 13"/>
                    <a:gd name="T25" fmla="*/ 5 h 39"/>
                    <a:gd name="T26" fmla="*/ 13 w 13"/>
                    <a:gd name="T27" fmla="*/ 0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3" h="39">
                      <a:moveTo>
                        <a:pt x="13" y="0"/>
                      </a:moveTo>
                      <a:lnTo>
                        <a:pt x="13" y="5"/>
                      </a:lnTo>
                      <a:lnTo>
                        <a:pt x="11" y="15"/>
                      </a:lnTo>
                      <a:lnTo>
                        <a:pt x="6" y="28"/>
                      </a:lnTo>
                      <a:lnTo>
                        <a:pt x="5" y="34"/>
                      </a:lnTo>
                      <a:lnTo>
                        <a:pt x="2" y="38"/>
                      </a:lnTo>
                      <a:lnTo>
                        <a:pt x="2" y="39"/>
                      </a:lnTo>
                      <a:lnTo>
                        <a:pt x="0" y="39"/>
                      </a:lnTo>
                      <a:lnTo>
                        <a:pt x="0" y="36"/>
                      </a:lnTo>
                      <a:lnTo>
                        <a:pt x="2" y="34"/>
                      </a:lnTo>
                      <a:lnTo>
                        <a:pt x="3" y="28"/>
                      </a:lnTo>
                      <a:lnTo>
                        <a:pt x="8" y="13"/>
                      </a:lnTo>
                      <a:lnTo>
                        <a:pt x="12" y="5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29" name="Freeform 521"/>
                <p:cNvSpPr>
                  <a:spLocks/>
                </p:cNvSpPr>
                <p:nvPr/>
              </p:nvSpPr>
              <p:spPr bwMode="auto">
                <a:xfrm>
                  <a:off x="3324226" y="3898900"/>
                  <a:ext cx="19050" cy="50800"/>
                </a:xfrm>
                <a:custGeom>
                  <a:avLst/>
                  <a:gdLst>
                    <a:gd name="T0" fmla="*/ 12 w 12"/>
                    <a:gd name="T1" fmla="*/ 0 h 32"/>
                    <a:gd name="T2" fmla="*/ 12 w 12"/>
                    <a:gd name="T3" fmla="*/ 1 h 32"/>
                    <a:gd name="T4" fmla="*/ 12 w 12"/>
                    <a:gd name="T5" fmla="*/ 4 h 32"/>
                    <a:gd name="T6" fmla="*/ 10 w 12"/>
                    <a:gd name="T7" fmla="*/ 7 h 32"/>
                    <a:gd name="T8" fmla="*/ 9 w 12"/>
                    <a:gd name="T9" fmla="*/ 11 h 32"/>
                    <a:gd name="T10" fmla="*/ 8 w 12"/>
                    <a:gd name="T11" fmla="*/ 17 h 32"/>
                    <a:gd name="T12" fmla="*/ 6 w 12"/>
                    <a:gd name="T13" fmla="*/ 23 h 32"/>
                    <a:gd name="T14" fmla="*/ 5 w 12"/>
                    <a:gd name="T15" fmla="*/ 27 h 32"/>
                    <a:gd name="T16" fmla="*/ 3 w 12"/>
                    <a:gd name="T17" fmla="*/ 30 h 32"/>
                    <a:gd name="T18" fmla="*/ 2 w 12"/>
                    <a:gd name="T19" fmla="*/ 32 h 32"/>
                    <a:gd name="T20" fmla="*/ 0 w 12"/>
                    <a:gd name="T21" fmla="*/ 32 h 32"/>
                    <a:gd name="T22" fmla="*/ 0 w 12"/>
                    <a:gd name="T23" fmla="*/ 29 h 32"/>
                    <a:gd name="T24" fmla="*/ 2 w 12"/>
                    <a:gd name="T25" fmla="*/ 26 h 32"/>
                    <a:gd name="T26" fmla="*/ 2 w 12"/>
                    <a:gd name="T27" fmla="*/ 22 h 32"/>
                    <a:gd name="T28" fmla="*/ 5 w 12"/>
                    <a:gd name="T29" fmla="*/ 16 h 32"/>
                    <a:gd name="T30" fmla="*/ 6 w 12"/>
                    <a:gd name="T31" fmla="*/ 10 h 32"/>
                    <a:gd name="T32" fmla="*/ 8 w 12"/>
                    <a:gd name="T33" fmla="*/ 6 h 32"/>
                    <a:gd name="T34" fmla="*/ 9 w 12"/>
                    <a:gd name="T35" fmla="*/ 3 h 32"/>
                    <a:gd name="T36" fmla="*/ 10 w 12"/>
                    <a:gd name="T37" fmla="*/ 1 h 32"/>
                    <a:gd name="T38" fmla="*/ 12 w 12"/>
                    <a:gd name="T39" fmla="*/ 0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2" h="32">
                      <a:moveTo>
                        <a:pt x="12" y="0"/>
                      </a:moveTo>
                      <a:lnTo>
                        <a:pt x="12" y="1"/>
                      </a:lnTo>
                      <a:lnTo>
                        <a:pt x="12" y="4"/>
                      </a:lnTo>
                      <a:lnTo>
                        <a:pt x="10" y="7"/>
                      </a:lnTo>
                      <a:lnTo>
                        <a:pt x="9" y="11"/>
                      </a:lnTo>
                      <a:lnTo>
                        <a:pt x="8" y="17"/>
                      </a:lnTo>
                      <a:lnTo>
                        <a:pt x="6" y="23"/>
                      </a:lnTo>
                      <a:lnTo>
                        <a:pt x="5" y="27"/>
                      </a:lnTo>
                      <a:lnTo>
                        <a:pt x="3" y="30"/>
                      </a:lnTo>
                      <a:lnTo>
                        <a:pt x="2" y="32"/>
                      </a:lnTo>
                      <a:lnTo>
                        <a:pt x="0" y="32"/>
                      </a:lnTo>
                      <a:lnTo>
                        <a:pt x="0" y="29"/>
                      </a:lnTo>
                      <a:lnTo>
                        <a:pt x="2" y="26"/>
                      </a:lnTo>
                      <a:lnTo>
                        <a:pt x="2" y="22"/>
                      </a:lnTo>
                      <a:lnTo>
                        <a:pt x="5" y="16"/>
                      </a:lnTo>
                      <a:lnTo>
                        <a:pt x="6" y="10"/>
                      </a:lnTo>
                      <a:lnTo>
                        <a:pt x="8" y="6"/>
                      </a:lnTo>
                      <a:lnTo>
                        <a:pt x="9" y="3"/>
                      </a:lnTo>
                      <a:lnTo>
                        <a:pt x="10" y="1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30" name="Freeform 522"/>
                <p:cNvSpPr>
                  <a:spLocks/>
                </p:cNvSpPr>
                <p:nvPr/>
              </p:nvSpPr>
              <p:spPr bwMode="auto">
                <a:xfrm>
                  <a:off x="3308351" y="3921125"/>
                  <a:ext cx="4763" cy="55563"/>
                </a:xfrm>
                <a:custGeom>
                  <a:avLst/>
                  <a:gdLst>
                    <a:gd name="T0" fmla="*/ 2 w 3"/>
                    <a:gd name="T1" fmla="*/ 0 h 35"/>
                    <a:gd name="T2" fmla="*/ 2 w 3"/>
                    <a:gd name="T3" fmla="*/ 3 h 35"/>
                    <a:gd name="T4" fmla="*/ 3 w 3"/>
                    <a:gd name="T5" fmla="*/ 13 h 35"/>
                    <a:gd name="T6" fmla="*/ 3 w 3"/>
                    <a:gd name="T7" fmla="*/ 25 h 35"/>
                    <a:gd name="T8" fmla="*/ 3 w 3"/>
                    <a:gd name="T9" fmla="*/ 31 h 35"/>
                    <a:gd name="T10" fmla="*/ 2 w 3"/>
                    <a:gd name="T11" fmla="*/ 35 h 35"/>
                    <a:gd name="T12" fmla="*/ 2 w 3"/>
                    <a:gd name="T13" fmla="*/ 35 h 35"/>
                    <a:gd name="T14" fmla="*/ 2 w 3"/>
                    <a:gd name="T15" fmla="*/ 35 h 35"/>
                    <a:gd name="T16" fmla="*/ 0 w 3"/>
                    <a:gd name="T17" fmla="*/ 31 h 35"/>
                    <a:gd name="T18" fmla="*/ 0 w 3"/>
                    <a:gd name="T19" fmla="*/ 25 h 35"/>
                    <a:gd name="T20" fmla="*/ 0 w 3"/>
                    <a:gd name="T21" fmla="*/ 13 h 35"/>
                    <a:gd name="T22" fmla="*/ 2 w 3"/>
                    <a:gd name="T23" fmla="*/ 3 h 35"/>
                    <a:gd name="T24" fmla="*/ 2 w 3"/>
                    <a:gd name="T25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" h="35">
                      <a:moveTo>
                        <a:pt x="2" y="0"/>
                      </a:moveTo>
                      <a:lnTo>
                        <a:pt x="2" y="3"/>
                      </a:lnTo>
                      <a:lnTo>
                        <a:pt x="3" y="13"/>
                      </a:lnTo>
                      <a:lnTo>
                        <a:pt x="3" y="25"/>
                      </a:lnTo>
                      <a:lnTo>
                        <a:pt x="3" y="31"/>
                      </a:lnTo>
                      <a:lnTo>
                        <a:pt x="2" y="35"/>
                      </a:lnTo>
                      <a:lnTo>
                        <a:pt x="2" y="35"/>
                      </a:lnTo>
                      <a:lnTo>
                        <a:pt x="2" y="35"/>
                      </a:lnTo>
                      <a:lnTo>
                        <a:pt x="0" y="31"/>
                      </a:lnTo>
                      <a:lnTo>
                        <a:pt x="0" y="25"/>
                      </a:lnTo>
                      <a:lnTo>
                        <a:pt x="0" y="13"/>
                      </a:lnTo>
                      <a:lnTo>
                        <a:pt x="2" y="3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31" name="Freeform 523"/>
                <p:cNvSpPr>
                  <a:spLocks/>
                </p:cNvSpPr>
                <p:nvPr/>
              </p:nvSpPr>
              <p:spPr bwMode="auto">
                <a:xfrm>
                  <a:off x="3268663" y="3930650"/>
                  <a:ext cx="28575" cy="49213"/>
                </a:xfrm>
                <a:custGeom>
                  <a:avLst/>
                  <a:gdLst>
                    <a:gd name="T0" fmla="*/ 0 w 18"/>
                    <a:gd name="T1" fmla="*/ 0 h 31"/>
                    <a:gd name="T2" fmla="*/ 0 w 18"/>
                    <a:gd name="T3" fmla="*/ 0 h 31"/>
                    <a:gd name="T4" fmla="*/ 2 w 18"/>
                    <a:gd name="T5" fmla="*/ 3 h 31"/>
                    <a:gd name="T6" fmla="*/ 5 w 18"/>
                    <a:gd name="T7" fmla="*/ 6 h 31"/>
                    <a:gd name="T8" fmla="*/ 8 w 18"/>
                    <a:gd name="T9" fmla="*/ 10 h 31"/>
                    <a:gd name="T10" fmla="*/ 11 w 18"/>
                    <a:gd name="T11" fmla="*/ 15 h 31"/>
                    <a:gd name="T12" fmla="*/ 13 w 18"/>
                    <a:gd name="T13" fmla="*/ 20 h 31"/>
                    <a:gd name="T14" fmla="*/ 16 w 18"/>
                    <a:gd name="T15" fmla="*/ 25 h 31"/>
                    <a:gd name="T16" fmla="*/ 18 w 18"/>
                    <a:gd name="T17" fmla="*/ 29 h 31"/>
                    <a:gd name="T18" fmla="*/ 18 w 18"/>
                    <a:gd name="T19" fmla="*/ 31 h 31"/>
                    <a:gd name="T20" fmla="*/ 18 w 18"/>
                    <a:gd name="T21" fmla="*/ 31 h 31"/>
                    <a:gd name="T22" fmla="*/ 16 w 18"/>
                    <a:gd name="T23" fmla="*/ 29 h 31"/>
                    <a:gd name="T24" fmla="*/ 15 w 18"/>
                    <a:gd name="T25" fmla="*/ 26 h 31"/>
                    <a:gd name="T26" fmla="*/ 12 w 18"/>
                    <a:gd name="T27" fmla="*/ 22 h 31"/>
                    <a:gd name="T28" fmla="*/ 9 w 18"/>
                    <a:gd name="T29" fmla="*/ 16 h 31"/>
                    <a:gd name="T30" fmla="*/ 6 w 18"/>
                    <a:gd name="T31" fmla="*/ 12 h 31"/>
                    <a:gd name="T32" fmla="*/ 3 w 18"/>
                    <a:gd name="T33" fmla="*/ 7 h 31"/>
                    <a:gd name="T34" fmla="*/ 2 w 18"/>
                    <a:gd name="T35" fmla="*/ 3 h 31"/>
                    <a:gd name="T36" fmla="*/ 0 w 18"/>
                    <a:gd name="T37" fmla="*/ 2 h 31"/>
                    <a:gd name="T38" fmla="*/ 0 w 18"/>
                    <a:gd name="T39" fmla="*/ 0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8" h="31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2" y="3"/>
                      </a:lnTo>
                      <a:lnTo>
                        <a:pt x="5" y="6"/>
                      </a:lnTo>
                      <a:lnTo>
                        <a:pt x="8" y="10"/>
                      </a:lnTo>
                      <a:lnTo>
                        <a:pt x="11" y="15"/>
                      </a:lnTo>
                      <a:lnTo>
                        <a:pt x="13" y="20"/>
                      </a:lnTo>
                      <a:lnTo>
                        <a:pt x="16" y="25"/>
                      </a:lnTo>
                      <a:lnTo>
                        <a:pt x="18" y="29"/>
                      </a:lnTo>
                      <a:lnTo>
                        <a:pt x="18" y="31"/>
                      </a:lnTo>
                      <a:lnTo>
                        <a:pt x="18" y="31"/>
                      </a:lnTo>
                      <a:lnTo>
                        <a:pt x="16" y="29"/>
                      </a:lnTo>
                      <a:lnTo>
                        <a:pt x="15" y="26"/>
                      </a:lnTo>
                      <a:lnTo>
                        <a:pt x="12" y="22"/>
                      </a:lnTo>
                      <a:lnTo>
                        <a:pt x="9" y="16"/>
                      </a:lnTo>
                      <a:lnTo>
                        <a:pt x="6" y="12"/>
                      </a:lnTo>
                      <a:lnTo>
                        <a:pt x="3" y="7"/>
                      </a:lnTo>
                      <a:lnTo>
                        <a:pt x="2" y="3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32" name="Freeform 524"/>
                <p:cNvSpPr>
                  <a:spLocks/>
                </p:cNvSpPr>
                <p:nvPr/>
              </p:nvSpPr>
              <p:spPr bwMode="auto">
                <a:xfrm>
                  <a:off x="3246438" y="3944938"/>
                  <a:ext cx="26988" cy="47625"/>
                </a:xfrm>
                <a:custGeom>
                  <a:avLst/>
                  <a:gdLst>
                    <a:gd name="T0" fmla="*/ 0 w 17"/>
                    <a:gd name="T1" fmla="*/ 0 h 30"/>
                    <a:gd name="T2" fmla="*/ 0 w 17"/>
                    <a:gd name="T3" fmla="*/ 1 h 30"/>
                    <a:gd name="T4" fmla="*/ 1 w 17"/>
                    <a:gd name="T5" fmla="*/ 3 h 30"/>
                    <a:gd name="T6" fmla="*/ 4 w 17"/>
                    <a:gd name="T7" fmla="*/ 6 h 30"/>
                    <a:gd name="T8" fmla="*/ 6 w 17"/>
                    <a:gd name="T9" fmla="*/ 10 h 30"/>
                    <a:gd name="T10" fmla="*/ 10 w 17"/>
                    <a:gd name="T11" fmla="*/ 16 h 30"/>
                    <a:gd name="T12" fmla="*/ 13 w 17"/>
                    <a:gd name="T13" fmla="*/ 22 h 30"/>
                    <a:gd name="T14" fmla="*/ 16 w 17"/>
                    <a:gd name="T15" fmla="*/ 26 h 30"/>
                    <a:gd name="T16" fmla="*/ 17 w 17"/>
                    <a:gd name="T17" fmla="*/ 29 h 30"/>
                    <a:gd name="T18" fmla="*/ 17 w 17"/>
                    <a:gd name="T19" fmla="*/ 30 h 30"/>
                    <a:gd name="T20" fmla="*/ 17 w 17"/>
                    <a:gd name="T21" fmla="*/ 30 h 30"/>
                    <a:gd name="T22" fmla="*/ 16 w 17"/>
                    <a:gd name="T23" fmla="*/ 29 h 30"/>
                    <a:gd name="T24" fmla="*/ 13 w 17"/>
                    <a:gd name="T25" fmla="*/ 27 h 30"/>
                    <a:gd name="T26" fmla="*/ 11 w 17"/>
                    <a:gd name="T27" fmla="*/ 23 h 30"/>
                    <a:gd name="T28" fmla="*/ 7 w 17"/>
                    <a:gd name="T29" fmla="*/ 17 h 30"/>
                    <a:gd name="T30" fmla="*/ 4 w 17"/>
                    <a:gd name="T31" fmla="*/ 11 h 30"/>
                    <a:gd name="T32" fmla="*/ 3 w 17"/>
                    <a:gd name="T33" fmla="*/ 7 h 30"/>
                    <a:gd name="T34" fmla="*/ 0 w 17"/>
                    <a:gd name="T35" fmla="*/ 4 h 30"/>
                    <a:gd name="T36" fmla="*/ 0 w 17"/>
                    <a:gd name="T37" fmla="*/ 1 h 30"/>
                    <a:gd name="T38" fmla="*/ 0 w 17"/>
                    <a:gd name="T39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7" h="30">
                      <a:moveTo>
                        <a:pt x="0" y="0"/>
                      </a:moveTo>
                      <a:lnTo>
                        <a:pt x="0" y="1"/>
                      </a:lnTo>
                      <a:lnTo>
                        <a:pt x="1" y="3"/>
                      </a:lnTo>
                      <a:lnTo>
                        <a:pt x="4" y="6"/>
                      </a:lnTo>
                      <a:lnTo>
                        <a:pt x="6" y="10"/>
                      </a:lnTo>
                      <a:lnTo>
                        <a:pt x="10" y="16"/>
                      </a:lnTo>
                      <a:lnTo>
                        <a:pt x="13" y="22"/>
                      </a:lnTo>
                      <a:lnTo>
                        <a:pt x="16" y="26"/>
                      </a:lnTo>
                      <a:lnTo>
                        <a:pt x="17" y="29"/>
                      </a:lnTo>
                      <a:lnTo>
                        <a:pt x="17" y="30"/>
                      </a:lnTo>
                      <a:lnTo>
                        <a:pt x="17" y="30"/>
                      </a:lnTo>
                      <a:lnTo>
                        <a:pt x="16" y="29"/>
                      </a:lnTo>
                      <a:lnTo>
                        <a:pt x="13" y="27"/>
                      </a:lnTo>
                      <a:lnTo>
                        <a:pt x="11" y="23"/>
                      </a:lnTo>
                      <a:lnTo>
                        <a:pt x="7" y="17"/>
                      </a:lnTo>
                      <a:lnTo>
                        <a:pt x="4" y="11"/>
                      </a:lnTo>
                      <a:lnTo>
                        <a:pt x="3" y="7"/>
                      </a:lnTo>
                      <a:lnTo>
                        <a:pt x="0" y="4"/>
                      </a:lnTo>
                      <a:lnTo>
                        <a:pt x="0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33" name="Freeform 525"/>
                <p:cNvSpPr>
                  <a:spLocks/>
                </p:cNvSpPr>
                <p:nvPr/>
              </p:nvSpPr>
              <p:spPr bwMode="auto">
                <a:xfrm>
                  <a:off x="3213101" y="3970338"/>
                  <a:ext cx="44450" cy="31750"/>
                </a:xfrm>
                <a:custGeom>
                  <a:avLst/>
                  <a:gdLst>
                    <a:gd name="T0" fmla="*/ 0 w 28"/>
                    <a:gd name="T1" fmla="*/ 0 h 20"/>
                    <a:gd name="T2" fmla="*/ 0 w 28"/>
                    <a:gd name="T3" fmla="*/ 0 h 20"/>
                    <a:gd name="T4" fmla="*/ 3 w 28"/>
                    <a:gd name="T5" fmla="*/ 1 h 20"/>
                    <a:gd name="T6" fmla="*/ 6 w 28"/>
                    <a:gd name="T7" fmla="*/ 3 h 20"/>
                    <a:gd name="T8" fmla="*/ 11 w 28"/>
                    <a:gd name="T9" fmla="*/ 6 h 20"/>
                    <a:gd name="T10" fmla="*/ 15 w 28"/>
                    <a:gd name="T11" fmla="*/ 10 h 20"/>
                    <a:gd name="T12" fmla="*/ 21 w 28"/>
                    <a:gd name="T13" fmla="*/ 13 h 20"/>
                    <a:gd name="T14" fmla="*/ 25 w 28"/>
                    <a:gd name="T15" fmla="*/ 17 h 20"/>
                    <a:gd name="T16" fmla="*/ 27 w 28"/>
                    <a:gd name="T17" fmla="*/ 19 h 20"/>
                    <a:gd name="T18" fmla="*/ 28 w 28"/>
                    <a:gd name="T19" fmla="*/ 20 h 20"/>
                    <a:gd name="T20" fmla="*/ 28 w 28"/>
                    <a:gd name="T21" fmla="*/ 20 h 20"/>
                    <a:gd name="T22" fmla="*/ 27 w 28"/>
                    <a:gd name="T23" fmla="*/ 20 h 20"/>
                    <a:gd name="T24" fmla="*/ 24 w 28"/>
                    <a:gd name="T25" fmla="*/ 19 h 20"/>
                    <a:gd name="T26" fmla="*/ 19 w 28"/>
                    <a:gd name="T27" fmla="*/ 16 h 20"/>
                    <a:gd name="T28" fmla="*/ 14 w 28"/>
                    <a:gd name="T29" fmla="*/ 11 h 20"/>
                    <a:gd name="T30" fmla="*/ 9 w 28"/>
                    <a:gd name="T31" fmla="*/ 7 h 20"/>
                    <a:gd name="T32" fmla="*/ 5 w 28"/>
                    <a:gd name="T33" fmla="*/ 4 h 20"/>
                    <a:gd name="T34" fmla="*/ 2 w 28"/>
                    <a:gd name="T35" fmla="*/ 3 h 20"/>
                    <a:gd name="T36" fmla="*/ 0 w 28"/>
                    <a:gd name="T37" fmla="*/ 0 h 20"/>
                    <a:gd name="T38" fmla="*/ 0 w 28"/>
                    <a:gd name="T39" fmla="*/ 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28" h="20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3" y="1"/>
                      </a:lnTo>
                      <a:lnTo>
                        <a:pt x="6" y="3"/>
                      </a:lnTo>
                      <a:lnTo>
                        <a:pt x="11" y="6"/>
                      </a:lnTo>
                      <a:lnTo>
                        <a:pt x="15" y="10"/>
                      </a:lnTo>
                      <a:lnTo>
                        <a:pt x="21" y="13"/>
                      </a:lnTo>
                      <a:lnTo>
                        <a:pt x="25" y="17"/>
                      </a:lnTo>
                      <a:lnTo>
                        <a:pt x="27" y="19"/>
                      </a:lnTo>
                      <a:lnTo>
                        <a:pt x="28" y="20"/>
                      </a:lnTo>
                      <a:lnTo>
                        <a:pt x="28" y="20"/>
                      </a:lnTo>
                      <a:lnTo>
                        <a:pt x="27" y="20"/>
                      </a:lnTo>
                      <a:lnTo>
                        <a:pt x="24" y="19"/>
                      </a:lnTo>
                      <a:lnTo>
                        <a:pt x="19" y="16"/>
                      </a:lnTo>
                      <a:lnTo>
                        <a:pt x="14" y="11"/>
                      </a:lnTo>
                      <a:lnTo>
                        <a:pt x="9" y="7"/>
                      </a:lnTo>
                      <a:lnTo>
                        <a:pt x="5" y="4"/>
                      </a:lnTo>
                      <a:lnTo>
                        <a:pt x="2" y="3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34" name="Freeform 526"/>
                <p:cNvSpPr>
                  <a:spLocks/>
                </p:cNvSpPr>
                <p:nvPr/>
              </p:nvSpPr>
              <p:spPr bwMode="auto">
                <a:xfrm>
                  <a:off x="3192463" y="3995738"/>
                  <a:ext cx="50800" cy="20638"/>
                </a:xfrm>
                <a:custGeom>
                  <a:avLst/>
                  <a:gdLst>
                    <a:gd name="T0" fmla="*/ 0 w 32"/>
                    <a:gd name="T1" fmla="*/ 0 h 13"/>
                    <a:gd name="T2" fmla="*/ 3 w 32"/>
                    <a:gd name="T3" fmla="*/ 1 h 13"/>
                    <a:gd name="T4" fmla="*/ 12 w 32"/>
                    <a:gd name="T5" fmla="*/ 4 h 13"/>
                    <a:gd name="T6" fmla="*/ 24 w 32"/>
                    <a:gd name="T7" fmla="*/ 8 h 13"/>
                    <a:gd name="T8" fmla="*/ 28 w 32"/>
                    <a:gd name="T9" fmla="*/ 10 h 13"/>
                    <a:gd name="T10" fmla="*/ 32 w 32"/>
                    <a:gd name="T11" fmla="*/ 11 h 13"/>
                    <a:gd name="T12" fmla="*/ 32 w 32"/>
                    <a:gd name="T13" fmla="*/ 13 h 13"/>
                    <a:gd name="T14" fmla="*/ 32 w 32"/>
                    <a:gd name="T15" fmla="*/ 13 h 13"/>
                    <a:gd name="T16" fmla="*/ 31 w 32"/>
                    <a:gd name="T17" fmla="*/ 13 h 13"/>
                    <a:gd name="T18" fmla="*/ 28 w 32"/>
                    <a:gd name="T19" fmla="*/ 13 h 13"/>
                    <a:gd name="T20" fmla="*/ 24 w 32"/>
                    <a:gd name="T21" fmla="*/ 10 h 13"/>
                    <a:gd name="T22" fmla="*/ 16 w 32"/>
                    <a:gd name="T23" fmla="*/ 8 h 13"/>
                    <a:gd name="T24" fmla="*/ 12 w 32"/>
                    <a:gd name="T25" fmla="*/ 6 h 13"/>
                    <a:gd name="T26" fmla="*/ 8 w 32"/>
                    <a:gd name="T27" fmla="*/ 4 h 13"/>
                    <a:gd name="T28" fmla="*/ 3 w 32"/>
                    <a:gd name="T29" fmla="*/ 1 h 13"/>
                    <a:gd name="T30" fmla="*/ 2 w 32"/>
                    <a:gd name="T31" fmla="*/ 1 h 13"/>
                    <a:gd name="T32" fmla="*/ 0 w 32"/>
                    <a:gd name="T33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2" h="13">
                      <a:moveTo>
                        <a:pt x="0" y="0"/>
                      </a:moveTo>
                      <a:lnTo>
                        <a:pt x="3" y="1"/>
                      </a:lnTo>
                      <a:lnTo>
                        <a:pt x="12" y="4"/>
                      </a:lnTo>
                      <a:lnTo>
                        <a:pt x="24" y="8"/>
                      </a:lnTo>
                      <a:lnTo>
                        <a:pt x="28" y="10"/>
                      </a:lnTo>
                      <a:lnTo>
                        <a:pt x="32" y="11"/>
                      </a:lnTo>
                      <a:lnTo>
                        <a:pt x="32" y="13"/>
                      </a:lnTo>
                      <a:lnTo>
                        <a:pt x="32" y="13"/>
                      </a:lnTo>
                      <a:lnTo>
                        <a:pt x="31" y="13"/>
                      </a:lnTo>
                      <a:lnTo>
                        <a:pt x="28" y="13"/>
                      </a:lnTo>
                      <a:lnTo>
                        <a:pt x="24" y="10"/>
                      </a:lnTo>
                      <a:lnTo>
                        <a:pt x="16" y="8"/>
                      </a:lnTo>
                      <a:lnTo>
                        <a:pt x="12" y="6"/>
                      </a:lnTo>
                      <a:lnTo>
                        <a:pt x="8" y="4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35" name="Freeform 527"/>
                <p:cNvSpPr>
                  <a:spLocks/>
                </p:cNvSpPr>
                <p:nvPr/>
              </p:nvSpPr>
              <p:spPr bwMode="auto">
                <a:xfrm>
                  <a:off x="3181351" y="4027488"/>
                  <a:ext cx="55563" cy="11113"/>
                </a:xfrm>
                <a:custGeom>
                  <a:avLst/>
                  <a:gdLst>
                    <a:gd name="T0" fmla="*/ 0 w 35"/>
                    <a:gd name="T1" fmla="*/ 0 h 7"/>
                    <a:gd name="T2" fmla="*/ 4 w 35"/>
                    <a:gd name="T3" fmla="*/ 0 h 7"/>
                    <a:gd name="T4" fmla="*/ 13 w 35"/>
                    <a:gd name="T5" fmla="*/ 2 h 7"/>
                    <a:gd name="T6" fmla="*/ 25 w 35"/>
                    <a:gd name="T7" fmla="*/ 3 h 7"/>
                    <a:gd name="T8" fmla="*/ 31 w 35"/>
                    <a:gd name="T9" fmla="*/ 4 h 7"/>
                    <a:gd name="T10" fmla="*/ 34 w 35"/>
                    <a:gd name="T11" fmla="*/ 6 h 7"/>
                    <a:gd name="T12" fmla="*/ 35 w 35"/>
                    <a:gd name="T13" fmla="*/ 6 h 7"/>
                    <a:gd name="T14" fmla="*/ 35 w 35"/>
                    <a:gd name="T15" fmla="*/ 7 h 7"/>
                    <a:gd name="T16" fmla="*/ 34 w 35"/>
                    <a:gd name="T17" fmla="*/ 7 h 7"/>
                    <a:gd name="T18" fmla="*/ 29 w 35"/>
                    <a:gd name="T19" fmla="*/ 7 h 7"/>
                    <a:gd name="T20" fmla="*/ 25 w 35"/>
                    <a:gd name="T21" fmla="*/ 6 h 7"/>
                    <a:gd name="T22" fmla="*/ 13 w 35"/>
                    <a:gd name="T23" fmla="*/ 3 h 7"/>
                    <a:gd name="T24" fmla="*/ 4 w 35"/>
                    <a:gd name="T25" fmla="*/ 2 h 7"/>
                    <a:gd name="T26" fmla="*/ 0 w 35"/>
                    <a:gd name="T27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5" h="7">
                      <a:moveTo>
                        <a:pt x="0" y="0"/>
                      </a:moveTo>
                      <a:lnTo>
                        <a:pt x="4" y="0"/>
                      </a:lnTo>
                      <a:lnTo>
                        <a:pt x="13" y="2"/>
                      </a:lnTo>
                      <a:lnTo>
                        <a:pt x="25" y="3"/>
                      </a:lnTo>
                      <a:lnTo>
                        <a:pt x="31" y="4"/>
                      </a:lnTo>
                      <a:lnTo>
                        <a:pt x="34" y="6"/>
                      </a:lnTo>
                      <a:lnTo>
                        <a:pt x="35" y="6"/>
                      </a:lnTo>
                      <a:lnTo>
                        <a:pt x="35" y="7"/>
                      </a:lnTo>
                      <a:lnTo>
                        <a:pt x="34" y="7"/>
                      </a:lnTo>
                      <a:lnTo>
                        <a:pt x="29" y="7"/>
                      </a:lnTo>
                      <a:lnTo>
                        <a:pt x="25" y="6"/>
                      </a:lnTo>
                      <a:lnTo>
                        <a:pt x="13" y="3"/>
                      </a:lnTo>
                      <a:lnTo>
                        <a:pt x="4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36" name="Freeform 528"/>
                <p:cNvSpPr>
                  <a:spLocks/>
                </p:cNvSpPr>
                <p:nvPr/>
              </p:nvSpPr>
              <p:spPr bwMode="auto">
                <a:xfrm>
                  <a:off x="3181351" y="4052888"/>
                  <a:ext cx="53975" cy="15875"/>
                </a:xfrm>
                <a:custGeom>
                  <a:avLst/>
                  <a:gdLst>
                    <a:gd name="T0" fmla="*/ 34 w 34"/>
                    <a:gd name="T1" fmla="*/ 0 h 10"/>
                    <a:gd name="T2" fmla="*/ 34 w 34"/>
                    <a:gd name="T3" fmla="*/ 0 h 10"/>
                    <a:gd name="T4" fmla="*/ 32 w 34"/>
                    <a:gd name="T5" fmla="*/ 2 h 10"/>
                    <a:gd name="T6" fmla="*/ 29 w 34"/>
                    <a:gd name="T7" fmla="*/ 3 h 10"/>
                    <a:gd name="T8" fmla="*/ 25 w 34"/>
                    <a:gd name="T9" fmla="*/ 4 h 10"/>
                    <a:gd name="T10" fmla="*/ 13 w 34"/>
                    <a:gd name="T11" fmla="*/ 7 h 10"/>
                    <a:gd name="T12" fmla="*/ 4 w 34"/>
                    <a:gd name="T13" fmla="*/ 10 h 10"/>
                    <a:gd name="T14" fmla="*/ 0 w 34"/>
                    <a:gd name="T15" fmla="*/ 10 h 10"/>
                    <a:gd name="T16" fmla="*/ 3 w 34"/>
                    <a:gd name="T17" fmla="*/ 9 h 10"/>
                    <a:gd name="T18" fmla="*/ 12 w 34"/>
                    <a:gd name="T19" fmla="*/ 6 h 10"/>
                    <a:gd name="T20" fmla="*/ 23 w 34"/>
                    <a:gd name="T21" fmla="*/ 2 h 10"/>
                    <a:gd name="T22" fmla="*/ 29 w 34"/>
                    <a:gd name="T23" fmla="*/ 0 h 10"/>
                    <a:gd name="T24" fmla="*/ 32 w 34"/>
                    <a:gd name="T25" fmla="*/ 0 h 10"/>
                    <a:gd name="T26" fmla="*/ 34 w 34"/>
                    <a:gd name="T27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4" h="10">
                      <a:moveTo>
                        <a:pt x="34" y="0"/>
                      </a:moveTo>
                      <a:lnTo>
                        <a:pt x="34" y="0"/>
                      </a:lnTo>
                      <a:lnTo>
                        <a:pt x="32" y="2"/>
                      </a:lnTo>
                      <a:lnTo>
                        <a:pt x="29" y="3"/>
                      </a:lnTo>
                      <a:lnTo>
                        <a:pt x="25" y="4"/>
                      </a:lnTo>
                      <a:lnTo>
                        <a:pt x="13" y="7"/>
                      </a:lnTo>
                      <a:lnTo>
                        <a:pt x="4" y="10"/>
                      </a:lnTo>
                      <a:lnTo>
                        <a:pt x="0" y="10"/>
                      </a:lnTo>
                      <a:lnTo>
                        <a:pt x="3" y="9"/>
                      </a:lnTo>
                      <a:lnTo>
                        <a:pt x="12" y="6"/>
                      </a:lnTo>
                      <a:lnTo>
                        <a:pt x="23" y="2"/>
                      </a:lnTo>
                      <a:lnTo>
                        <a:pt x="29" y="0"/>
                      </a:lnTo>
                      <a:lnTo>
                        <a:pt x="32" y="0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37" name="Freeform 529"/>
                <p:cNvSpPr>
                  <a:spLocks/>
                </p:cNvSpPr>
                <p:nvPr/>
              </p:nvSpPr>
              <p:spPr bwMode="auto">
                <a:xfrm>
                  <a:off x="3192463" y="4073525"/>
                  <a:ext cx="44450" cy="14288"/>
                </a:xfrm>
                <a:custGeom>
                  <a:avLst/>
                  <a:gdLst>
                    <a:gd name="T0" fmla="*/ 27 w 28"/>
                    <a:gd name="T1" fmla="*/ 0 h 9"/>
                    <a:gd name="T2" fmla="*/ 28 w 28"/>
                    <a:gd name="T3" fmla="*/ 0 h 9"/>
                    <a:gd name="T4" fmla="*/ 27 w 28"/>
                    <a:gd name="T5" fmla="*/ 2 h 9"/>
                    <a:gd name="T6" fmla="*/ 25 w 28"/>
                    <a:gd name="T7" fmla="*/ 3 h 9"/>
                    <a:gd name="T8" fmla="*/ 21 w 28"/>
                    <a:gd name="T9" fmla="*/ 5 h 9"/>
                    <a:gd name="T10" fmla="*/ 13 w 28"/>
                    <a:gd name="T11" fmla="*/ 6 h 9"/>
                    <a:gd name="T12" fmla="*/ 9 w 28"/>
                    <a:gd name="T13" fmla="*/ 7 h 9"/>
                    <a:gd name="T14" fmla="*/ 5 w 28"/>
                    <a:gd name="T15" fmla="*/ 9 h 9"/>
                    <a:gd name="T16" fmla="*/ 2 w 28"/>
                    <a:gd name="T17" fmla="*/ 9 h 9"/>
                    <a:gd name="T18" fmla="*/ 0 w 28"/>
                    <a:gd name="T19" fmla="*/ 9 h 9"/>
                    <a:gd name="T20" fmla="*/ 2 w 28"/>
                    <a:gd name="T21" fmla="*/ 9 h 9"/>
                    <a:gd name="T22" fmla="*/ 3 w 28"/>
                    <a:gd name="T23" fmla="*/ 7 h 9"/>
                    <a:gd name="T24" fmla="*/ 8 w 28"/>
                    <a:gd name="T25" fmla="*/ 6 h 9"/>
                    <a:gd name="T26" fmla="*/ 13 w 28"/>
                    <a:gd name="T27" fmla="*/ 3 h 9"/>
                    <a:gd name="T28" fmla="*/ 19 w 28"/>
                    <a:gd name="T29" fmla="*/ 2 h 9"/>
                    <a:gd name="T30" fmla="*/ 24 w 28"/>
                    <a:gd name="T31" fmla="*/ 0 h 9"/>
                    <a:gd name="T32" fmla="*/ 27 w 28"/>
                    <a:gd name="T33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8" h="9">
                      <a:moveTo>
                        <a:pt x="27" y="0"/>
                      </a:moveTo>
                      <a:lnTo>
                        <a:pt x="28" y="0"/>
                      </a:lnTo>
                      <a:lnTo>
                        <a:pt x="27" y="2"/>
                      </a:lnTo>
                      <a:lnTo>
                        <a:pt x="25" y="3"/>
                      </a:lnTo>
                      <a:lnTo>
                        <a:pt x="21" y="5"/>
                      </a:lnTo>
                      <a:lnTo>
                        <a:pt x="13" y="6"/>
                      </a:lnTo>
                      <a:lnTo>
                        <a:pt x="9" y="7"/>
                      </a:lnTo>
                      <a:lnTo>
                        <a:pt x="5" y="9"/>
                      </a:lnTo>
                      <a:lnTo>
                        <a:pt x="2" y="9"/>
                      </a:lnTo>
                      <a:lnTo>
                        <a:pt x="0" y="9"/>
                      </a:lnTo>
                      <a:lnTo>
                        <a:pt x="2" y="9"/>
                      </a:lnTo>
                      <a:lnTo>
                        <a:pt x="3" y="7"/>
                      </a:lnTo>
                      <a:lnTo>
                        <a:pt x="8" y="6"/>
                      </a:lnTo>
                      <a:lnTo>
                        <a:pt x="13" y="3"/>
                      </a:lnTo>
                      <a:lnTo>
                        <a:pt x="19" y="2"/>
                      </a:lnTo>
                      <a:lnTo>
                        <a:pt x="24" y="0"/>
                      </a:lnTo>
                      <a:lnTo>
                        <a:pt x="27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38" name="Freeform 530"/>
                <p:cNvSpPr>
                  <a:spLocks/>
                </p:cNvSpPr>
                <p:nvPr/>
              </p:nvSpPr>
              <p:spPr bwMode="auto">
                <a:xfrm>
                  <a:off x="3375026" y="4017963"/>
                  <a:ext cx="53975" cy="19050"/>
                </a:xfrm>
                <a:custGeom>
                  <a:avLst/>
                  <a:gdLst>
                    <a:gd name="T0" fmla="*/ 34 w 34"/>
                    <a:gd name="T1" fmla="*/ 0 h 12"/>
                    <a:gd name="T2" fmla="*/ 31 w 34"/>
                    <a:gd name="T3" fmla="*/ 2 h 12"/>
                    <a:gd name="T4" fmla="*/ 24 w 34"/>
                    <a:gd name="T5" fmla="*/ 6 h 12"/>
                    <a:gd name="T6" fmla="*/ 10 w 34"/>
                    <a:gd name="T7" fmla="*/ 9 h 12"/>
                    <a:gd name="T8" fmla="*/ 6 w 34"/>
                    <a:gd name="T9" fmla="*/ 10 h 12"/>
                    <a:gd name="T10" fmla="*/ 3 w 34"/>
                    <a:gd name="T11" fmla="*/ 12 h 12"/>
                    <a:gd name="T12" fmla="*/ 0 w 34"/>
                    <a:gd name="T13" fmla="*/ 12 h 12"/>
                    <a:gd name="T14" fmla="*/ 0 w 34"/>
                    <a:gd name="T15" fmla="*/ 12 h 12"/>
                    <a:gd name="T16" fmla="*/ 2 w 34"/>
                    <a:gd name="T17" fmla="*/ 10 h 12"/>
                    <a:gd name="T18" fmla="*/ 6 w 34"/>
                    <a:gd name="T19" fmla="*/ 9 h 12"/>
                    <a:gd name="T20" fmla="*/ 10 w 34"/>
                    <a:gd name="T21" fmla="*/ 8 h 12"/>
                    <a:gd name="T22" fmla="*/ 22 w 34"/>
                    <a:gd name="T23" fmla="*/ 3 h 12"/>
                    <a:gd name="T24" fmla="*/ 31 w 34"/>
                    <a:gd name="T25" fmla="*/ 2 h 12"/>
                    <a:gd name="T26" fmla="*/ 34 w 34"/>
                    <a:gd name="T27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4" h="12">
                      <a:moveTo>
                        <a:pt x="34" y="0"/>
                      </a:moveTo>
                      <a:lnTo>
                        <a:pt x="31" y="2"/>
                      </a:lnTo>
                      <a:lnTo>
                        <a:pt x="24" y="6"/>
                      </a:lnTo>
                      <a:lnTo>
                        <a:pt x="10" y="9"/>
                      </a:lnTo>
                      <a:lnTo>
                        <a:pt x="6" y="10"/>
                      </a:lnTo>
                      <a:lnTo>
                        <a:pt x="3" y="12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2" y="10"/>
                      </a:lnTo>
                      <a:lnTo>
                        <a:pt x="6" y="9"/>
                      </a:lnTo>
                      <a:lnTo>
                        <a:pt x="10" y="8"/>
                      </a:lnTo>
                      <a:lnTo>
                        <a:pt x="22" y="3"/>
                      </a:lnTo>
                      <a:lnTo>
                        <a:pt x="31" y="2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39" name="Freeform 531"/>
                <p:cNvSpPr>
                  <a:spLocks/>
                </p:cNvSpPr>
                <p:nvPr/>
              </p:nvSpPr>
              <p:spPr bwMode="auto">
                <a:xfrm>
                  <a:off x="3373438" y="3987800"/>
                  <a:ext cx="46038" cy="30163"/>
                </a:xfrm>
                <a:custGeom>
                  <a:avLst/>
                  <a:gdLst>
                    <a:gd name="T0" fmla="*/ 29 w 29"/>
                    <a:gd name="T1" fmla="*/ 0 h 19"/>
                    <a:gd name="T2" fmla="*/ 29 w 29"/>
                    <a:gd name="T3" fmla="*/ 0 h 19"/>
                    <a:gd name="T4" fmla="*/ 26 w 29"/>
                    <a:gd name="T5" fmla="*/ 2 h 19"/>
                    <a:gd name="T6" fmla="*/ 23 w 29"/>
                    <a:gd name="T7" fmla="*/ 5 h 19"/>
                    <a:gd name="T8" fmla="*/ 19 w 29"/>
                    <a:gd name="T9" fmla="*/ 8 h 19"/>
                    <a:gd name="T10" fmla="*/ 14 w 29"/>
                    <a:gd name="T11" fmla="*/ 11 h 19"/>
                    <a:gd name="T12" fmla="*/ 9 w 29"/>
                    <a:gd name="T13" fmla="*/ 13 h 19"/>
                    <a:gd name="T14" fmla="*/ 4 w 29"/>
                    <a:gd name="T15" fmla="*/ 16 h 19"/>
                    <a:gd name="T16" fmla="*/ 1 w 29"/>
                    <a:gd name="T17" fmla="*/ 18 h 19"/>
                    <a:gd name="T18" fmla="*/ 0 w 29"/>
                    <a:gd name="T19" fmla="*/ 19 h 19"/>
                    <a:gd name="T20" fmla="*/ 0 w 29"/>
                    <a:gd name="T21" fmla="*/ 18 h 19"/>
                    <a:gd name="T22" fmla="*/ 0 w 29"/>
                    <a:gd name="T23" fmla="*/ 16 h 19"/>
                    <a:gd name="T24" fmla="*/ 3 w 29"/>
                    <a:gd name="T25" fmla="*/ 15 h 19"/>
                    <a:gd name="T26" fmla="*/ 7 w 29"/>
                    <a:gd name="T27" fmla="*/ 12 h 19"/>
                    <a:gd name="T28" fmla="*/ 13 w 29"/>
                    <a:gd name="T29" fmla="*/ 9 h 19"/>
                    <a:gd name="T30" fmla="*/ 19 w 29"/>
                    <a:gd name="T31" fmla="*/ 6 h 19"/>
                    <a:gd name="T32" fmla="*/ 23 w 29"/>
                    <a:gd name="T33" fmla="*/ 3 h 19"/>
                    <a:gd name="T34" fmla="*/ 26 w 29"/>
                    <a:gd name="T35" fmla="*/ 2 h 19"/>
                    <a:gd name="T36" fmla="*/ 29 w 29"/>
                    <a:gd name="T37" fmla="*/ 0 h 19"/>
                    <a:gd name="T38" fmla="*/ 29 w 29"/>
                    <a:gd name="T39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29" h="19">
                      <a:moveTo>
                        <a:pt x="29" y="0"/>
                      </a:moveTo>
                      <a:lnTo>
                        <a:pt x="29" y="0"/>
                      </a:lnTo>
                      <a:lnTo>
                        <a:pt x="26" y="2"/>
                      </a:lnTo>
                      <a:lnTo>
                        <a:pt x="23" y="5"/>
                      </a:lnTo>
                      <a:lnTo>
                        <a:pt x="19" y="8"/>
                      </a:lnTo>
                      <a:lnTo>
                        <a:pt x="14" y="11"/>
                      </a:lnTo>
                      <a:lnTo>
                        <a:pt x="9" y="13"/>
                      </a:lnTo>
                      <a:lnTo>
                        <a:pt x="4" y="16"/>
                      </a:lnTo>
                      <a:lnTo>
                        <a:pt x="1" y="18"/>
                      </a:lnTo>
                      <a:lnTo>
                        <a:pt x="0" y="19"/>
                      </a:lnTo>
                      <a:lnTo>
                        <a:pt x="0" y="18"/>
                      </a:lnTo>
                      <a:lnTo>
                        <a:pt x="0" y="16"/>
                      </a:lnTo>
                      <a:lnTo>
                        <a:pt x="3" y="15"/>
                      </a:lnTo>
                      <a:lnTo>
                        <a:pt x="7" y="12"/>
                      </a:lnTo>
                      <a:lnTo>
                        <a:pt x="13" y="9"/>
                      </a:lnTo>
                      <a:lnTo>
                        <a:pt x="19" y="6"/>
                      </a:lnTo>
                      <a:lnTo>
                        <a:pt x="23" y="3"/>
                      </a:lnTo>
                      <a:lnTo>
                        <a:pt x="26" y="2"/>
                      </a:lnTo>
                      <a:lnTo>
                        <a:pt x="29" y="0"/>
                      </a:lnTo>
                      <a:lnTo>
                        <a:pt x="29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40" name="Freeform 532"/>
                <p:cNvSpPr>
                  <a:spLocks/>
                </p:cNvSpPr>
                <p:nvPr/>
              </p:nvSpPr>
              <p:spPr bwMode="auto">
                <a:xfrm>
                  <a:off x="3389313" y="4076700"/>
                  <a:ext cx="44450" cy="6350"/>
                </a:xfrm>
                <a:custGeom>
                  <a:avLst/>
                  <a:gdLst>
                    <a:gd name="T0" fmla="*/ 3 w 28"/>
                    <a:gd name="T1" fmla="*/ 0 h 4"/>
                    <a:gd name="T2" fmla="*/ 7 w 28"/>
                    <a:gd name="T3" fmla="*/ 0 h 4"/>
                    <a:gd name="T4" fmla="*/ 15 w 28"/>
                    <a:gd name="T5" fmla="*/ 1 h 4"/>
                    <a:gd name="T6" fmla="*/ 19 w 28"/>
                    <a:gd name="T7" fmla="*/ 1 h 4"/>
                    <a:gd name="T8" fmla="*/ 23 w 28"/>
                    <a:gd name="T9" fmla="*/ 3 h 4"/>
                    <a:gd name="T10" fmla="*/ 26 w 28"/>
                    <a:gd name="T11" fmla="*/ 3 h 4"/>
                    <a:gd name="T12" fmla="*/ 28 w 28"/>
                    <a:gd name="T13" fmla="*/ 3 h 4"/>
                    <a:gd name="T14" fmla="*/ 26 w 28"/>
                    <a:gd name="T15" fmla="*/ 4 h 4"/>
                    <a:gd name="T16" fmla="*/ 23 w 28"/>
                    <a:gd name="T17" fmla="*/ 4 h 4"/>
                    <a:gd name="T18" fmla="*/ 19 w 28"/>
                    <a:gd name="T19" fmla="*/ 3 h 4"/>
                    <a:gd name="T20" fmla="*/ 13 w 28"/>
                    <a:gd name="T21" fmla="*/ 3 h 4"/>
                    <a:gd name="T22" fmla="*/ 7 w 28"/>
                    <a:gd name="T23" fmla="*/ 3 h 4"/>
                    <a:gd name="T24" fmla="*/ 3 w 28"/>
                    <a:gd name="T25" fmla="*/ 1 h 4"/>
                    <a:gd name="T26" fmla="*/ 0 w 28"/>
                    <a:gd name="T27" fmla="*/ 1 h 4"/>
                    <a:gd name="T28" fmla="*/ 0 w 28"/>
                    <a:gd name="T29" fmla="*/ 0 h 4"/>
                    <a:gd name="T30" fmla="*/ 0 w 28"/>
                    <a:gd name="T31" fmla="*/ 0 h 4"/>
                    <a:gd name="T32" fmla="*/ 3 w 28"/>
                    <a:gd name="T3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8" h="4">
                      <a:moveTo>
                        <a:pt x="3" y="0"/>
                      </a:moveTo>
                      <a:lnTo>
                        <a:pt x="7" y="0"/>
                      </a:lnTo>
                      <a:lnTo>
                        <a:pt x="15" y="1"/>
                      </a:lnTo>
                      <a:lnTo>
                        <a:pt x="19" y="1"/>
                      </a:lnTo>
                      <a:lnTo>
                        <a:pt x="23" y="3"/>
                      </a:lnTo>
                      <a:lnTo>
                        <a:pt x="26" y="3"/>
                      </a:lnTo>
                      <a:lnTo>
                        <a:pt x="28" y="3"/>
                      </a:lnTo>
                      <a:lnTo>
                        <a:pt x="26" y="4"/>
                      </a:lnTo>
                      <a:lnTo>
                        <a:pt x="23" y="4"/>
                      </a:lnTo>
                      <a:lnTo>
                        <a:pt x="19" y="3"/>
                      </a:lnTo>
                      <a:lnTo>
                        <a:pt x="13" y="3"/>
                      </a:lnTo>
                      <a:lnTo>
                        <a:pt x="7" y="3"/>
                      </a:lnTo>
                      <a:lnTo>
                        <a:pt x="3" y="1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41" name="Freeform 533"/>
                <p:cNvSpPr>
                  <a:spLocks/>
                </p:cNvSpPr>
                <p:nvPr/>
              </p:nvSpPr>
              <p:spPr bwMode="auto">
                <a:xfrm>
                  <a:off x="3390901" y="4048125"/>
                  <a:ext cx="44450" cy="9525"/>
                </a:xfrm>
                <a:custGeom>
                  <a:avLst/>
                  <a:gdLst>
                    <a:gd name="T0" fmla="*/ 27 w 28"/>
                    <a:gd name="T1" fmla="*/ 0 h 6"/>
                    <a:gd name="T2" fmla="*/ 28 w 28"/>
                    <a:gd name="T3" fmla="*/ 0 h 6"/>
                    <a:gd name="T4" fmla="*/ 27 w 28"/>
                    <a:gd name="T5" fmla="*/ 2 h 6"/>
                    <a:gd name="T6" fmla="*/ 25 w 28"/>
                    <a:gd name="T7" fmla="*/ 2 h 6"/>
                    <a:gd name="T8" fmla="*/ 21 w 28"/>
                    <a:gd name="T9" fmla="*/ 3 h 6"/>
                    <a:gd name="T10" fmla="*/ 15 w 28"/>
                    <a:gd name="T11" fmla="*/ 5 h 6"/>
                    <a:gd name="T12" fmla="*/ 9 w 28"/>
                    <a:gd name="T13" fmla="*/ 6 h 6"/>
                    <a:gd name="T14" fmla="*/ 5 w 28"/>
                    <a:gd name="T15" fmla="*/ 6 h 6"/>
                    <a:gd name="T16" fmla="*/ 2 w 28"/>
                    <a:gd name="T17" fmla="*/ 6 h 6"/>
                    <a:gd name="T18" fmla="*/ 0 w 28"/>
                    <a:gd name="T19" fmla="*/ 6 h 6"/>
                    <a:gd name="T20" fmla="*/ 2 w 28"/>
                    <a:gd name="T21" fmla="*/ 5 h 6"/>
                    <a:gd name="T22" fmla="*/ 3 w 28"/>
                    <a:gd name="T23" fmla="*/ 5 h 6"/>
                    <a:gd name="T24" fmla="*/ 8 w 28"/>
                    <a:gd name="T25" fmla="*/ 3 h 6"/>
                    <a:gd name="T26" fmla="*/ 15 w 28"/>
                    <a:gd name="T27" fmla="*/ 2 h 6"/>
                    <a:gd name="T28" fmla="*/ 21 w 28"/>
                    <a:gd name="T29" fmla="*/ 2 h 6"/>
                    <a:gd name="T30" fmla="*/ 24 w 28"/>
                    <a:gd name="T31" fmla="*/ 0 h 6"/>
                    <a:gd name="T32" fmla="*/ 27 w 28"/>
                    <a:gd name="T33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8" h="6">
                      <a:moveTo>
                        <a:pt x="27" y="0"/>
                      </a:moveTo>
                      <a:lnTo>
                        <a:pt x="28" y="0"/>
                      </a:lnTo>
                      <a:lnTo>
                        <a:pt x="27" y="2"/>
                      </a:lnTo>
                      <a:lnTo>
                        <a:pt x="25" y="2"/>
                      </a:lnTo>
                      <a:lnTo>
                        <a:pt x="21" y="3"/>
                      </a:lnTo>
                      <a:lnTo>
                        <a:pt x="15" y="5"/>
                      </a:lnTo>
                      <a:lnTo>
                        <a:pt x="9" y="6"/>
                      </a:lnTo>
                      <a:lnTo>
                        <a:pt x="5" y="6"/>
                      </a:lnTo>
                      <a:lnTo>
                        <a:pt x="2" y="6"/>
                      </a:lnTo>
                      <a:lnTo>
                        <a:pt x="0" y="6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8" y="3"/>
                      </a:lnTo>
                      <a:lnTo>
                        <a:pt x="15" y="2"/>
                      </a:lnTo>
                      <a:lnTo>
                        <a:pt x="21" y="2"/>
                      </a:lnTo>
                      <a:lnTo>
                        <a:pt x="24" y="0"/>
                      </a:lnTo>
                      <a:lnTo>
                        <a:pt x="27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42" name="Freeform 534"/>
                <p:cNvSpPr>
                  <a:spLocks/>
                </p:cNvSpPr>
                <p:nvPr/>
              </p:nvSpPr>
              <p:spPr bwMode="auto">
                <a:xfrm>
                  <a:off x="3359151" y="3960813"/>
                  <a:ext cx="41275" cy="36513"/>
                </a:xfrm>
                <a:custGeom>
                  <a:avLst/>
                  <a:gdLst>
                    <a:gd name="T0" fmla="*/ 26 w 26"/>
                    <a:gd name="T1" fmla="*/ 0 h 23"/>
                    <a:gd name="T2" fmla="*/ 26 w 26"/>
                    <a:gd name="T3" fmla="*/ 0 h 23"/>
                    <a:gd name="T4" fmla="*/ 23 w 26"/>
                    <a:gd name="T5" fmla="*/ 3 h 23"/>
                    <a:gd name="T6" fmla="*/ 22 w 26"/>
                    <a:gd name="T7" fmla="*/ 6 h 23"/>
                    <a:gd name="T8" fmla="*/ 18 w 26"/>
                    <a:gd name="T9" fmla="*/ 9 h 23"/>
                    <a:gd name="T10" fmla="*/ 13 w 26"/>
                    <a:gd name="T11" fmla="*/ 13 h 23"/>
                    <a:gd name="T12" fmla="*/ 9 w 26"/>
                    <a:gd name="T13" fmla="*/ 17 h 23"/>
                    <a:gd name="T14" fmla="*/ 4 w 26"/>
                    <a:gd name="T15" fmla="*/ 20 h 23"/>
                    <a:gd name="T16" fmla="*/ 2 w 26"/>
                    <a:gd name="T17" fmla="*/ 23 h 23"/>
                    <a:gd name="T18" fmla="*/ 0 w 26"/>
                    <a:gd name="T19" fmla="*/ 23 h 23"/>
                    <a:gd name="T20" fmla="*/ 0 w 26"/>
                    <a:gd name="T21" fmla="*/ 23 h 23"/>
                    <a:gd name="T22" fmla="*/ 2 w 26"/>
                    <a:gd name="T23" fmla="*/ 22 h 23"/>
                    <a:gd name="T24" fmla="*/ 3 w 26"/>
                    <a:gd name="T25" fmla="*/ 19 h 23"/>
                    <a:gd name="T26" fmla="*/ 7 w 26"/>
                    <a:gd name="T27" fmla="*/ 16 h 23"/>
                    <a:gd name="T28" fmla="*/ 12 w 26"/>
                    <a:gd name="T29" fmla="*/ 12 h 23"/>
                    <a:gd name="T30" fmla="*/ 16 w 26"/>
                    <a:gd name="T31" fmla="*/ 7 h 23"/>
                    <a:gd name="T32" fmla="*/ 20 w 26"/>
                    <a:gd name="T33" fmla="*/ 4 h 23"/>
                    <a:gd name="T34" fmla="*/ 23 w 26"/>
                    <a:gd name="T35" fmla="*/ 1 h 23"/>
                    <a:gd name="T36" fmla="*/ 25 w 26"/>
                    <a:gd name="T37" fmla="*/ 0 h 23"/>
                    <a:gd name="T38" fmla="*/ 26 w 26"/>
                    <a:gd name="T39" fmla="*/ 0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26" h="23">
                      <a:moveTo>
                        <a:pt x="26" y="0"/>
                      </a:moveTo>
                      <a:lnTo>
                        <a:pt x="26" y="0"/>
                      </a:lnTo>
                      <a:lnTo>
                        <a:pt x="23" y="3"/>
                      </a:lnTo>
                      <a:lnTo>
                        <a:pt x="22" y="6"/>
                      </a:lnTo>
                      <a:lnTo>
                        <a:pt x="18" y="9"/>
                      </a:lnTo>
                      <a:lnTo>
                        <a:pt x="13" y="13"/>
                      </a:lnTo>
                      <a:lnTo>
                        <a:pt x="9" y="17"/>
                      </a:lnTo>
                      <a:lnTo>
                        <a:pt x="4" y="20"/>
                      </a:lnTo>
                      <a:lnTo>
                        <a:pt x="2" y="23"/>
                      </a:lnTo>
                      <a:lnTo>
                        <a:pt x="0" y="23"/>
                      </a:lnTo>
                      <a:lnTo>
                        <a:pt x="0" y="23"/>
                      </a:lnTo>
                      <a:lnTo>
                        <a:pt x="2" y="22"/>
                      </a:lnTo>
                      <a:lnTo>
                        <a:pt x="3" y="19"/>
                      </a:lnTo>
                      <a:lnTo>
                        <a:pt x="7" y="16"/>
                      </a:lnTo>
                      <a:lnTo>
                        <a:pt x="12" y="12"/>
                      </a:lnTo>
                      <a:lnTo>
                        <a:pt x="16" y="7"/>
                      </a:lnTo>
                      <a:lnTo>
                        <a:pt x="20" y="4"/>
                      </a:lnTo>
                      <a:lnTo>
                        <a:pt x="23" y="1"/>
                      </a:lnTo>
                      <a:lnTo>
                        <a:pt x="25" y="0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43" name="Freeform 535"/>
                <p:cNvSpPr>
                  <a:spLocks/>
                </p:cNvSpPr>
                <p:nvPr/>
              </p:nvSpPr>
              <p:spPr bwMode="auto">
                <a:xfrm>
                  <a:off x="3348038" y="3935413"/>
                  <a:ext cx="17463" cy="52388"/>
                </a:xfrm>
                <a:custGeom>
                  <a:avLst/>
                  <a:gdLst>
                    <a:gd name="T0" fmla="*/ 11 w 11"/>
                    <a:gd name="T1" fmla="*/ 0 h 33"/>
                    <a:gd name="T2" fmla="*/ 11 w 11"/>
                    <a:gd name="T3" fmla="*/ 3 h 33"/>
                    <a:gd name="T4" fmla="*/ 9 w 11"/>
                    <a:gd name="T5" fmla="*/ 12 h 33"/>
                    <a:gd name="T6" fmla="*/ 6 w 11"/>
                    <a:gd name="T7" fmla="*/ 25 h 33"/>
                    <a:gd name="T8" fmla="*/ 3 w 11"/>
                    <a:gd name="T9" fmla="*/ 29 h 33"/>
                    <a:gd name="T10" fmla="*/ 1 w 11"/>
                    <a:gd name="T11" fmla="*/ 32 h 33"/>
                    <a:gd name="T12" fmla="*/ 1 w 11"/>
                    <a:gd name="T13" fmla="*/ 33 h 33"/>
                    <a:gd name="T14" fmla="*/ 0 w 11"/>
                    <a:gd name="T15" fmla="*/ 33 h 33"/>
                    <a:gd name="T16" fmla="*/ 1 w 11"/>
                    <a:gd name="T17" fmla="*/ 32 h 33"/>
                    <a:gd name="T18" fmla="*/ 1 w 11"/>
                    <a:gd name="T19" fmla="*/ 28 h 33"/>
                    <a:gd name="T20" fmla="*/ 3 w 11"/>
                    <a:gd name="T21" fmla="*/ 23 h 33"/>
                    <a:gd name="T22" fmla="*/ 7 w 11"/>
                    <a:gd name="T23" fmla="*/ 12 h 33"/>
                    <a:gd name="T24" fmla="*/ 10 w 11"/>
                    <a:gd name="T25" fmla="*/ 3 h 33"/>
                    <a:gd name="T26" fmla="*/ 11 w 11"/>
                    <a:gd name="T27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33">
                      <a:moveTo>
                        <a:pt x="11" y="0"/>
                      </a:moveTo>
                      <a:lnTo>
                        <a:pt x="11" y="3"/>
                      </a:lnTo>
                      <a:lnTo>
                        <a:pt x="9" y="12"/>
                      </a:lnTo>
                      <a:lnTo>
                        <a:pt x="6" y="25"/>
                      </a:lnTo>
                      <a:lnTo>
                        <a:pt x="3" y="29"/>
                      </a:lnTo>
                      <a:lnTo>
                        <a:pt x="1" y="32"/>
                      </a:lnTo>
                      <a:lnTo>
                        <a:pt x="1" y="33"/>
                      </a:lnTo>
                      <a:lnTo>
                        <a:pt x="0" y="33"/>
                      </a:lnTo>
                      <a:lnTo>
                        <a:pt x="1" y="32"/>
                      </a:lnTo>
                      <a:lnTo>
                        <a:pt x="1" y="28"/>
                      </a:lnTo>
                      <a:lnTo>
                        <a:pt x="3" y="23"/>
                      </a:lnTo>
                      <a:lnTo>
                        <a:pt x="7" y="12"/>
                      </a:lnTo>
                      <a:lnTo>
                        <a:pt x="10" y="3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44" name="Freeform 536"/>
                <p:cNvSpPr>
                  <a:spLocks/>
                </p:cNvSpPr>
                <p:nvPr/>
              </p:nvSpPr>
              <p:spPr bwMode="auto">
                <a:xfrm>
                  <a:off x="3332163" y="3933825"/>
                  <a:ext cx="12700" cy="42863"/>
                </a:xfrm>
                <a:custGeom>
                  <a:avLst/>
                  <a:gdLst>
                    <a:gd name="T0" fmla="*/ 8 w 8"/>
                    <a:gd name="T1" fmla="*/ 0 h 27"/>
                    <a:gd name="T2" fmla="*/ 8 w 8"/>
                    <a:gd name="T3" fmla="*/ 1 h 27"/>
                    <a:gd name="T4" fmla="*/ 8 w 8"/>
                    <a:gd name="T5" fmla="*/ 4 h 27"/>
                    <a:gd name="T6" fmla="*/ 7 w 8"/>
                    <a:gd name="T7" fmla="*/ 8 h 27"/>
                    <a:gd name="T8" fmla="*/ 5 w 8"/>
                    <a:gd name="T9" fmla="*/ 14 h 27"/>
                    <a:gd name="T10" fmla="*/ 4 w 8"/>
                    <a:gd name="T11" fmla="*/ 20 h 27"/>
                    <a:gd name="T12" fmla="*/ 3 w 8"/>
                    <a:gd name="T13" fmla="*/ 24 h 27"/>
                    <a:gd name="T14" fmla="*/ 1 w 8"/>
                    <a:gd name="T15" fmla="*/ 26 h 27"/>
                    <a:gd name="T16" fmla="*/ 0 w 8"/>
                    <a:gd name="T17" fmla="*/ 27 h 27"/>
                    <a:gd name="T18" fmla="*/ 0 w 8"/>
                    <a:gd name="T19" fmla="*/ 26 h 27"/>
                    <a:gd name="T20" fmla="*/ 0 w 8"/>
                    <a:gd name="T21" fmla="*/ 23 h 27"/>
                    <a:gd name="T22" fmla="*/ 1 w 8"/>
                    <a:gd name="T23" fmla="*/ 18 h 27"/>
                    <a:gd name="T24" fmla="*/ 3 w 8"/>
                    <a:gd name="T25" fmla="*/ 13 h 27"/>
                    <a:gd name="T26" fmla="*/ 4 w 8"/>
                    <a:gd name="T27" fmla="*/ 7 h 27"/>
                    <a:gd name="T28" fmla="*/ 7 w 8"/>
                    <a:gd name="T29" fmla="*/ 4 h 27"/>
                    <a:gd name="T30" fmla="*/ 7 w 8"/>
                    <a:gd name="T31" fmla="*/ 1 h 27"/>
                    <a:gd name="T32" fmla="*/ 8 w 8"/>
                    <a:gd name="T33" fmla="*/ 0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8" h="27">
                      <a:moveTo>
                        <a:pt x="8" y="0"/>
                      </a:moveTo>
                      <a:lnTo>
                        <a:pt x="8" y="1"/>
                      </a:lnTo>
                      <a:lnTo>
                        <a:pt x="8" y="4"/>
                      </a:lnTo>
                      <a:lnTo>
                        <a:pt x="7" y="8"/>
                      </a:lnTo>
                      <a:lnTo>
                        <a:pt x="5" y="14"/>
                      </a:lnTo>
                      <a:lnTo>
                        <a:pt x="4" y="20"/>
                      </a:lnTo>
                      <a:lnTo>
                        <a:pt x="3" y="24"/>
                      </a:lnTo>
                      <a:lnTo>
                        <a:pt x="1" y="26"/>
                      </a:lnTo>
                      <a:lnTo>
                        <a:pt x="0" y="27"/>
                      </a:lnTo>
                      <a:lnTo>
                        <a:pt x="0" y="26"/>
                      </a:lnTo>
                      <a:lnTo>
                        <a:pt x="0" y="23"/>
                      </a:lnTo>
                      <a:lnTo>
                        <a:pt x="1" y="18"/>
                      </a:lnTo>
                      <a:lnTo>
                        <a:pt x="3" y="13"/>
                      </a:lnTo>
                      <a:lnTo>
                        <a:pt x="4" y="7"/>
                      </a:lnTo>
                      <a:lnTo>
                        <a:pt x="7" y="4"/>
                      </a:lnTo>
                      <a:lnTo>
                        <a:pt x="7" y="1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45" name="Freeform 537"/>
                <p:cNvSpPr>
                  <a:spLocks/>
                </p:cNvSpPr>
                <p:nvPr/>
              </p:nvSpPr>
              <p:spPr bwMode="auto">
                <a:xfrm>
                  <a:off x="3338513" y="4017963"/>
                  <a:ext cx="61913" cy="14288"/>
                </a:xfrm>
                <a:custGeom>
                  <a:avLst/>
                  <a:gdLst>
                    <a:gd name="T0" fmla="*/ 39 w 39"/>
                    <a:gd name="T1" fmla="*/ 0 h 9"/>
                    <a:gd name="T2" fmla="*/ 35 w 39"/>
                    <a:gd name="T3" fmla="*/ 2 h 9"/>
                    <a:gd name="T4" fmla="*/ 26 w 39"/>
                    <a:gd name="T5" fmla="*/ 5 h 9"/>
                    <a:gd name="T6" fmla="*/ 12 w 39"/>
                    <a:gd name="T7" fmla="*/ 8 h 9"/>
                    <a:gd name="T8" fmla="*/ 6 w 39"/>
                    <a:gd name="T9" fmla="*/ 9 h 9"/>
                    <a:gd name="T10" fmla="*/ 1 w 39"/>
                    <a:gd name="T11" fmla="*/ 9 h 9"/>
                    <a:gd name="T12" fmla="*/ 0 w 39"/>
                    <a:gd name="T13" fmla="*/ 9 h 9"/>
                    <a:gd name="T14" fmla="*/ 0 w 39"/>
                    <a:gd name="T15" fmla="*/ 9 h 9"/>
                    <a:gd name="T16" fmla="*/ 1 w 39"/>
                    <a:gd name="T17" fmla="*/ 8 h 9"/>
                    <a:gd name="T18" fmla="*/ 4 w 39"/>
                    <a:gd name="T19" fmla="*/ 6 h 9"/>
                    <a:gd name="T20" fmla="*/ 10 w 39"/>
                    <a:gd name="T21" fmla="*/ 5 h 9"/>
                    <a:gd name="T22" fmla="*/ 25 w 39"/>
                    <a:gd name="T23" fmla="*/ 3 h 9"/>
                    <a:gd name="T24" fmla="*/ 35 w 39"/>
                    <a:gd name="T25" fmla="*/ 2 h 9"/>
                    <a:gd name="T26" fmla="*/ 39 w 39"/>
                    <a:gd name="T27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9" h="9">
                      <a:moveTo>
                        <a:pt x="39" y="0"/>
                      </a:moveTo>
                      <a:lnTo>
                        <a:pt x="35" y="2"/>
                      </a:lnTo>
                      <a:lnTo>
                        <a:pt x="26" y="5"/>
                      </a:lnTo>
                      <a:lnTo>
                        <a:pt x="12" y="8"/>
                      </a:lnTo>
                      <a:lnTo>
                        <a:pt x="6" y="9"/>
                      </a:lnTo>
                      <a:lnTo>
                        <a:pt x="1" y="9"/>
                      </a:lnTo>
                      <a:lnTo>
                        <a:pt x="0" y="9"/>
                      </a:lnTo>
                      <a:lnTo>
                        <a:pt x="0" y="9"/>
                      </a:lnTo>
                      <a:lnTo>
                        <a:pt x="1" y="8"/>
                      </a:lnTo>
                      <a:lnTo>
                        <a:pt x="4" y="6"/>
                      </a:lnTo>
                      <a:lnTo>
                        <a:pt x="10" y="5"/>
                      </a:lnTo>
                      <a:lnTo>
                        <a:pt x="25" y="3"/>
                      </a:lnTo>
                      <a:lnTo>
                        <a:pt x="35" y="2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46" name="Freeform 538"/>
                <p:cNvSpPr>
                  <a:spLocks/>
                </p:cNvSpPr>
                <p:nvPr/>
              </p:nvSpPr>
              <p:spPr bwMode="auto">
                <a:xfrm>
                  <a:off x="3333751" y="3975100"/>
                  <a:ext cx="49213" cy="41275"/>
                </a:xfrm>
                <a:custGeom>
                  <a:avLst/>
                  <a:gdLst>
                    <a:gd name="T0" fmla="*/ 31 w 31"/>
                    <a:gd name="T1" fmla="*/ 0 h 26"/>
                    <a:gd name="T2" fmla="*/ 29 w 31"/>
                    <a:gd name="T3" fmla="*/ 0 h 26"/>
                    <a:gd name="T4" fmla="*/ 28 w 31"/>
                    <a:gd name="T5" fmla="*/ 1 h 26"/>
                    <a:gd name="T6" fmla="*/ 26 w 31"/>
                    <a:gd name="T7" fmla="*/ 4 h 26"/>
                    <a:gd name="T8" fmla="*/ 23 w 31"/>
                    <a:gd name="T9" fmla="*/ 7 h 26"/>
                    <a:gd name="T10" fmla="*/ 19 w 31"/>
                    <a:gd name="T11" fmla="*/ 11 h 26"/>
                    <a:gd name="T12" fmla="*/ 15 w 31"/>
                    <a:gd name="T13" fmla="*/ 14 h 26"/>
                    <a:gd name="T14" fmla="*/ 9 w 31"/>
                    <a:gd name="T15" fmla="*/ 19 h 26"/>
                    <a:gd name="T16" fmla="*/ 4 w 31"/>
                    <a:gd name="T17" fmla="*/ 23 h 26"/>
                    <a:gd name="T18" fmla="*/ 2 w 31"/>
                    <a:gd name="T19" fmla="*/ 24 h 26"/>
                    <a:gd name="T20" fmla="*/ 0 w 31"/>
                    <a:gd name="T21" fmla="*/ 26 h 26"/>
                    <a:gd name="T22" fmla="*/ 0 w 31"/>
                    <a:gd name="T23" fmla="*/ 26 h 26"/>
                    <a:gd name="T24" fmla="*/ 0 w 31"/>
                    <a:gd name="T25" fmla="*/ 24 h 26"/>
                    <a:gd name="T26" fmla="*/ 3 w 31"/>
                    <a:gd name="T27" fmla="*/ 21 h 26"/>
                    <a:gd name="T28" fmla="*/ 7 w 31"/>
                    <a:gd name="T29" fmla="*/ 17 h 26"/>
                    <a:gd name="T30" fmla="*/ 13 w 31"/>
                    <a:gd name="T31" fmla="*/ 13 h 26"/>
                    <a:gd name="T32" fmla="*/ 18 w 31"/>
                    <a:gd name="T33" fmla="*/ 8 h 26"/>
                    <a:gd name="T34" fmla="*/ 22 w 31"/>
                    <a:gd name="T35" fmla="*/ 5 h 26"/>
                    <a:gd name="T36" fmla="*/ 25 w 31"/>
                    <a:gd name="T37" fmla="*/ 3 h 26"/>
                    <a:gd name="T38" fmla="*/ 28 w 31"/>
                    <a:gd name="T39" fmla="*/ 1 h 26"/>
                    <a:gd name="T40" fmla="*/ 29 w 31"/>
                    <a:gd name="T41" fmla="*/ 0 h 26"/>
                    <a:gd name="T42" fmla="*/ 31 w 31"/>
                    <a:gd name="T43" fmla="*/ 0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31" h="26">
                      <a:moveTo>
                        <a:pt x="31" y="0"/>
                      </a:moveTo>
                      <a:lnTo>
                        <a:pt x="29" y="0"/>
                      </a:lnTo>
                      <a:lnTo>
                        <a:pt x="28" y="1"/>
                      </a:lnTo>
                      <a:lnTo>
                        <a:pt x="26" y="4"/>
                      </a:lnTo>
                      <a:lnTo>
                        <a:pt x="23" y="7"/>
                      </a:lnTo>
                      <a:lnTo>
                        <a:pt x="19" y="11"/>
                      </a:lnTo>
                      <a:lnTo>
                        <a:pt x="15" y="14"/>
                      </a:lnTo>
                      <a:lnTo>
                        <a:pt x="9" y="19"/>
                      </a:lnTo>
                      <a:lnTo>
                        <a:pt x="4" y="23"/>
                      </a:lnTo>
                      <a:lnTo>
                        <a:pt x="2" y="24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0" y="24"/>
                      </a:lnTo>
                      <a:lnTo>
                        <a:pt x="3" y="21"/>
                      </a:lnTo>
                      <a:lnTo>
                        <a:pt x="7" y="17"/>
                      </a:lnTo>
                      <a:lnTo>
                        <a:pt x="13" y="13"/>
                      </a:lnTo>
                      <a:lnTo>
                        <a:pt x="18" y="8"/>
                      </a:lnTo>
                      <a:lnTo>
                        <a:pt x="22" y="5"/>
                      </a:lnTo>
                      <a:lnTo>
                        <a:pt x="25" y="3"/>
                      </a:lnTo>
                      <a:lnTo>
                        <a:pt x="28" y="1"/>
                      </a:lnTo>
                      <a:lnTo>
                        <a:pt x="29" y="0"/>
                      </a:lnTo>
                      <a:lnTo>
                        <a:pt x="31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47" name="Freeform 539"/>
                <p:cNvSpPr>
                  <a:spLocks/>
                </p:cNvSpPr>
                <p:nvPr/>
              </p:nvSpPr>
              <p:spPr bwMode="auto">
                <a:xfrm>
                  <a:off x="3343276" y="4052888"/>
                  <a:ext cx="50800" cy="9525"/>
                </a:xfrm>
                <a:custGeom>
                  <a:avLst/>
                  <a:gdLst>
                    <a:gd name="T0" fmla="*/ 4 w 32"/>
                    <a:gd name="T1" fmla="*/ 0 h 6"/>
                    <a:gd name="T2" fmla="*/ 10 w 32"/>
                    <a:gd name="T3" fmla="*/ 0 h 6"/>
                    <a:gd name="T4" fmla="*/ 17 w 32"/>
                    <a:gd name="T5" fmla="*/ 2 h 6"/>
                    <a:gd name="T6" fmla="*/ 23 w 32"/>
                    <a:gd name="T7" fmla="*/ 3 h 6"/>
                    <a:gd name="T8" fmla="*/ 28 w 32"/>
                    <a:gd name="T9" fmla="*/ 4 h 6"/>
                    <a:gd name="T10" fmla="*/ 32 w 32"/>
                    <a:gd name="T11" fmla="*/ 4 h 6"/>
                    <a:gd name="T12" fmla="*/ 32 w 32"/>
                    <a:gd name="T13" fmla="*/ 6 h 6"/>
                    <a:gd name="T14" fmla="*/ 29 w 32"/>
                    <a:gd name="T15" fmla="*/ 6 h 6"/>
                    <a:gd name="T16" fmla="*/ 20 w 32"/>
                    <a:gd name="T17" fmla="*/ 6 h 6"/>
                    <a:gd name="T18" fmla="*/ 9 w 32"/>
                    <a:gd name="T19" fmla="*/ 4 h 6"/>
                    <a:gd name="T20" fmla="*/ 4 w 32"/>
                    <a:gd name="T21" fmla="*/ 3 h 6"/>
                    <a:gd name="T22" fmla="*/ 1 w 32"/>
                    <a:gd name="T23" fmla="*/ 3 h 6"/>
                    <a:gd name="T24" fmla="*/ 0 w 32"/>
                    <a:gd name="T25" fmla="*/ 2 h 6"/>
                    <a:gd name="T26" fmla="*/ 0 w 32"/>
                    <a:gd name="T27" fmla="*/ 0 h 6"/>
                    <a:gd name="T28" fmla="*/ 1 w 32"/>
                    <a:gd name="T29" fmla="*/ 0 h 6"/>
                    <a:gd name="T30" fmla="*/ 4 w 32"/>
                    <a:gd name="T31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2" h="6">
                      <a:moveTo>
                        <a:pt x="4" y="0"/>
                      </a:moveTo>
                      <a:lnTo>
                        <a:pt x="10" y="0"/>
                      </a:lnTo>
                      <a:lnTo>
                        <a:pt x="17" y="2"/>
                      </a:lnTo>
                      <a:lnTo>
                        <a:pt x="23" y="3"/>
                      </a:lnTo>
                      <a:lnTo>
                        <a:pt x="28" y="4"/>
                      </a:lnTo>
                      <a:lnTo>
                        <a:pt x="32" y="4"/>
                      </a:lnTo>
                      <a:lnTo>
                        <a:pt x="32" y="6"/>
                      </a:lnTo>
                      <a:lnTo>
                        <a:pt x="29" y="6"/>
                      </a:lnTo>
                      <a:lnTo>
                        <a:pt x="20" y="6"/>
                      </a:lnTo>
                      <a:lnTo>
                        <a:pt x="9" y="4"/>
                      </a:lnTo>
                      <a:lnTo>
                        <a:pt x="4" y="3"/>
                      </a:lnTo>
                      <a:lnTo>
                        <a:pt x="1" y="3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48" name="Freeform 540"/>
                <p:cNvSpPr>
                  <a:spLocks/>
                </p:cNvSpPr>
                <p:nvPr/>
              </p:nvSpPr>
              <p:spPr bwMode="auto">
                <a:xfrm>
                  <a:off x="3338513" y="4083050"/>
                  <a:ext cx="50800" cy="9525"/>
                </a:xfrm>
                <a:custGeom>
                  <a:avLst/>
                  <a:gdLst>
                    <a:gd name="T0" fmla="*/ 4 w 32"/>
                    <a:gd name="T1" fmla="*/ 0 h 6"/>
                    <a:gd name="T2" fmla="*/ 9 w 32"/>
                    <a:gd name="T3" fmla="*/ 0 h 6"/>
                    <a:gd name="T4" fmla="*/ 16 w 32"/>
                    <a:gd name="T5" fmla="*/ 1 h 6"/>
                    <a:gd name="T6" fmla="*/ 23 w 32"/>
                    <a:gd name="T7" fmla="*/ 3 h 6"/>
                    <a:gd name="T8" fmla="*/ 28 w 32"/>
                    <a:gd name="T9" fmla="*/ 3 h 6"/>
                    <a:gd name="T10" fmla="*/ 31 w 32"/>
                    <a:gd name="T11" fmla="*/ 4 h 6"/>
                    <a:gd name="T12" fmla="*/ 32 w 32"/>
                    <a:gd name="T13" fmla="*/ 4 h 6"/>
                    <a:gd name="T14" fmla="*/ 29 w 32"/>
                    <a:gd name="T15" fmla="*/ 6 h 6"/>
                    <a:gd name="T16" fmla="*/ 20 w 32"/>
                    <a:gd name="T17" fmla="*/ 6 h 6"/>
                    <a:gd name="T18" fmla="*/ 9 w 32"/>
                    <a:gd name="T19" fmla="*/ 4 h 6"/>
                    <a:gd name="T20" fmla="*/ 4 w 32"/>
                    <a:gd name="T21" fmla="*/ 3 h 6"/>
                    <a:gd name="T22" fmla="*/ 1 w 32"/>
                    <a:gd name="T23" fmla="*/ 1 h 6"/>
                    <a:gd name="T24" fmla="*/ 0 w 32"/>
                    <a:gd name="T25" fmla="*/ 1 h 6"/>
                    <a:gd name="T26" fmla="*/ 0 w 32"/>
                    <a:gd name="T27" fmla="*/ 0 h 6"/>
                    <a:gd name="T28" fmla="*/ 1 w 32"/>
                    <a:gd name="T29" fmla="*/ 0 h 6"/>
                    <a:gd name="T30" fmla="*/ 4 w 32"/>
                    <a:gd name="T31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2" h="6">
                      <a:moveTo>
                        <a:pt x="4" y="0"/>
                      </a:moveTo>
                      <a:lnTo>
                        <a:pt x="9" y="0"/>
                      </a:lnTo>
                      <a:lnTo>
                        <a:pt x="16" y="1"/>
                      </a:lnTo>
                      <a:lnTo>
                        <a:pt x="23" y="3"/>
                      </a:lnTo>
                      <a:lnTo>
                        <a:pt x="28" y="3"/>
                      </a:lnTo>
                      <a:lnTo>
                        <a:pt x="31" y="4"/>
                      </a:lnTo>
                      <a:lnTo>
                        <a:pt x="32" y="4"/>
                      </a:lnTo>
                      <a:lnTo>
                        <a:pt x="29" y="6"/>
                      </a:lnTo>
                      <a:lnTo>
                        <a:pt x="20" y="6"/>
                      </a:lnTo>
                      <a:lnTo>
                        <a:pt x="9" y="4"/>
                      </a:lnTo>
                      <a:lnTo>
                        <a:pt x="4" y="3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CA4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49" name="Freeform 541"/>
                <p:cNvSpPr>
                  <a:spLocks/>
                </p:cNvSpPr>
                <p:nvPr/>
              </p:nvSpPr>
              <p:spPr bwMode="auto">
                <a:xfrm>
                  <a:off x="3616326" y="3925888"/>
                  <a:ext cx="642938" cy="390525"/>
                </a:xfrm>
                <a:custGeom>
                  <a:avLst/>
                  <a:gdLst>
                    <a:gd name="T0" fmla="*/ 386 w 405"/>
                    <a:gd name="T1" fmla="*/ 0 h 246"/>
                    <a:gd name="T2" fmla="*/ 392 w 405"/>
                    <a:gd name="T3" fmla="*/ 2 h 246"/>
                    <a:gd name="T4" fmla="*/ 398 w 405"/>
                    <a:gd name="T5" fmla="*/ 5 h 246"/>
                    <a:gd name="T6" fmla="*/ 401 w 405"/>
                    <a:gd name="T7" fmla="*/ 7 h 246"/>
                    <a:gd name="T8" fmla="*/ 404 w 405"/>
                    <a:gd name="T9" fmla="*/ 12 h 246"/>
                    <a:gd name="T10" fmla="*/ 405 w 405"/>
                    <a:gd name="T11" fmla="*/ 18 h 246"/>
                    <a:gd name="T12" fmla="*/ 405 w 405"/>
                    <a:gd name="T13" fmla="*/ 228 h 246"/>
                    <a:gd name="T14" fmla="*/ 404 w 405"/>
                    <a:gd name="T15" fmla="*/ 234 h 246"/>
                    <a:gd name="T16" fmla="*/ 401 w 405"/>
                    <a:gd name="T17" fmla="*/ 239 h 246"/>
                    <a:gd name="T18" fmla="*/ 398 w 405"/>
                    <a:gd name="T19" fmla="*/ 243 h 246"/>
                    <a:gd name="T20" fmla="*/ 392 w 405"/>
                    <a:gd name="T21" fmla="*/ 244 h 246"/>
                    <a:gd name="T22" fmla="*/ 386 w 405"/>
                    <a:gd name="T23" fmla="*/ 246 h 246"/>
                    <a:gd name="T24" fmla="*/ 17 w 405"/>
                    <a:gd name="T25" fmla="*/ 246 h 246"/>
                    <a:gd name="T26" fmla="*/ 11 w 405"/>
                    <a:gd name="T27" fmla="*/ 244 h 246"/>
                    <a:gd name="T28" fmla="*/ 7 w 405"/>
                    <a:gd name="T29" fmla="*/ 243 h 246"/>
                    <a:gd name="T30" fmla="*/ 2 w 405"/>
                    <a:gd name="T31" fmla="*/ 239 h 246"/>
                    <a:gd name="T32" fmla="*/ 0 w 405"/>
                    <a:gd name="T33" fmla="*/ 234 h 246"/>
                    <a:gd name="T34" fmla="*/ 0 w 405"/>
                    <a:gd name="T35" fmla="*/ 228 h 246"/>
                    <a:gd name="T36" fmla="*/ 0 w 405"/>
                    <a:gd name="T37" fmla="*/ 19 h 246"/>
                    <a:gd name="T38" fmla="*/ 0 w 405"/>
                    <a:gd name="T39" fmla="*/ 13 h 246"/>
                    <a:gd name="T40" fmla="*/ 2 w 405"/>
                    <a:gd name="T41" fmla="*/ 7 h 246"/>
                    <a:gd name="T42" fmla="*/ 7 w 405"/>
                    <a:gd name="T43" fmla="*/ 5 h 246"/>
                    <a:gd name="T44" fmla="*/ 11 w 405"/>
                    <a:gd name="T45" fmla="*/ 2 h 246"/>
                    <a:gd name="T46" fmla="*/ 17 w 405"/>
                    <a:gd name="T47" fmla="*/ 0 h 246"/>
                    <a:gd name="T48" fmla="*/ 386 w 405"/>
                    <a:gd name="T49" fmla="*/ 0 h 2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405" h="246">
                      <a:moveTo>
                        <a:pt x="386" y="0"/>
                      </a:moveTo>
                      <a:lnTo>
                        <a:pt x="392" y="2"/>
                      </a:lnTo>
                      <a:lnTo>
                        <a:pt x="398" y="5"/>
                      </a:lnTo>
                      <a:lnTo>
                        <a:pt x="401" y="7"/>
                      </a:lnTo>
                      <a:lnTo>
                        <a:pt x="404" y="12"/>
                      </a:lnTo>
                      <a:lnTo>
                        <a:pt x="405" y="18"/>
                      </a:lnTo>
                      <a:lnTo>
                        <a:pt x="405" y="228"/>
                      </a:lnTo>
                      <a:lnTo>
                        <a:pt x="404" y="234"/>
                      </a:lnTo>
                      <a:lnTo>
                        <a:pt x="401" y="239"/>
                      </a:lnTo>
                      <a:lnTo>
                        <a:pt x="398" y="243"/>
                      </a:lnTo>
                      <a:lnTo>
                        <a:pt x="392" y="244"/>
                      </a:lnTo>
                      <a:lnTo>
                        <a:pt x="386" y="246"/>
                      </a:lnTo>
                      <a:lnTo>
                        <a:pt x="17" y="246"/>
                      </a:lnTo>
                      <a:lnTo>
                        <a:pt x="11" y="244"/>
                      </a:lnTo>
                      <a:lnTo>
                        <a:pt x="7" y="243"/>
                      </a:lnTo>
                      <a:lnTo>
                        <a:pt x="2" y="239"/>
                      </a:lnTo>
                      <a:lnTo>
                        <a:pt x="0" y="234"/>
                      </a:lnTo>
                      <a:lnTo>
                        <a:pt x="0" y="228"/>
                      </a:lnTo>
                      <a:lnTo>
                        <a:pt x="0" y="19"/>
                      </a:lnTo>
                      <a:lnTo>
                        <a:pt x="0" y="13"/>
                      </a:lnTo>
                      <a:lnTo>
                        <a:pt x="2" y="7"/>
                      </a:lnTo>
                      <a:lnTo>
                        <a:pt x="7" y="5"/>
                      </a:lnTo>
                      <a:lnTo>
                        <a:pt x="11" y="2"/>
                      </a:lnTo>
                      <a:lnTo>
                        <a:pt x="17" y="0"/>
                      </a:lnTo>
                      <a:lnTo>
                        <a:pt x="386" y="0"/>
                      </a:lnTo>
                      <a:close/>
                    </a:path>
                  </a:pathLst>
                </a:custGeom>
                <a:solidFill>
                  <a:srgbClr val="FFF0D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50" name="Freeform 542"/>
                <p:cNvSpPr>
                  <a:spLocks/>
                </p:cNvSpPr>
                <p:nvPr/>
              </p:nvSpPr>
              <p:spPr bwMode="auto">
                <a:xfrm>
                  <a:off x="3684588" y="3925888"/>
                  <a:ext cx="574675" cy="390525"/>
                </a:xfrm>
                <a:custGeom>
                  <a:avLst/>
                  <a:gdLst>
                    <a:gd name="T0" fmla="*/ 343 w 362"/>
                    <a:gd name="T1" fmla="*/ 0 h 246"/>
                    <a:gd name="T2" fmla="*/ 343 w 362"/>
                    <a:gd name="T3" fmla="*/ 0 h 246"/>
                    <a:gd name="T4" fmla="*/ 349 w 362"/>
                    <a:gd name="T5" fmla="*/ 2 h 246"/>
                    <a:gd name="T6" fmla="*/ 355 w 362"/>
                    <a:gd name="T7" fmla="*/ 5 h 246"/>
                    <a:gd name="T8" fmla="*/ 358 w 362"/>
                    <a:gd name="T9" fmla="*/ 7 h 246"/>
                    <a:gd name="T10" fmla="*/ 361 w 362"/>
                    <a:gd name="T11" fmla="*/ 12 h 246"/>
                    <a:gd name="T12" fmla="*/ 362 w 362"/>
                    <a:gd name="T13" fmla="*/ 18 h 246"/>
                    <a:gd name="T14" fmla="*/ 362 w 362"/>
                    <a:gd name="T15" fmla="*/ 228 h 246"/>
                    <a:gd name="T16" fmla="*/ 361 w 362"/>
                    <a:gd name="T17" fmla="*/ 234 h 246"/>
                    <a:gd name="T18" fmla="*/ 358 w 362"/>
                    <a:gd name="T19" fmla="*/ 239 h 246"/>
                    <a:gd name="T20" fmla="*/ 355 w 362"/>
                    <a:gd name="T21" fmla="*/ 243 h 246"/>
                    <a:gd name="T22" fmla="*/ 349 w 362"/>
                    <a:gd name="T23" fmla="*/ 244 h 246"/>
                    <a:gd name="T24" fmla="*/ 343 w 362"/>
                    <a:gd name="T25" fmla="*/ 246 h 246"/>
                    <a:gd name="T26" fmla="*/ 0 w 362"/>
                    <a:gd name="T27" fmla="*/ 246 h 246"/>
                    <a:gd name="T28" fmla="*/ 12 w 362"/>
                    <a:gd name="T29" fmla="*/ 244 h 246"/>
                    <a:gd name="T30" fmla="*/ 29 w 362"/>
                    <a:gd name="T31" fmla="*/ 243 h 246"/>
                    <a:gd name="T32" fmla="*/ 54 w 362"/>
                    <a:gd name="T33" fmla="*/ 243 h 246"/>
                    <a:gd name="T34" fmla="*/ 82 w 362"/>
                    <a:gd name="T35" fmla="*/ 243 h 246"/>
                    <a:gd name="T36" fmla="*/ 112 w 362"/>
                    <a:gd name="T37" fmla="*/ 241 h 246"/>
                    <a:gd name="T38" fmla="*/ 146 w 362"/>
                    <a:gd name="T39" fmla="*/ 241 h 246"/>
                    <a:gd name="T40" fmla="*/ 179 w 362"/>
                    <a:gd name="T41" fmla="*/ 240 h 246"/>
                    <a:gd name="T42" fmla="*/ 213 w 362"/>
                    <a:gd name="T43" fmla="*/ 239 h 246"/>
                    <a:gd name="T44" fmla="*/ 243 w 362"/>
                    <a:gd name="T45" fmla="*/ 237 h 246"/>
                    <a:gd name="T46" fmla="*/ 272 w 362"/>
                    <a:gd name="T47" fmla="*/ 236 h 246"/>
                    <a:gd name="T48" fmla="*/ 297 w 362"/>
                    <a:gd name="T49" fmla="*/ 233 h 246"/>
                    <a:gd name="T50" fmla="*/ 316 w 362"/>
                    <a:gd name="T51" fmla="*/ 228 h 246"/>
                    <a:gd name="T52" fmla="*/ 329 w 362"/>
                    <a:gd name="T53" fmla="*/ 224 h 246"/>
                    <a:gd name="T54" fmla="*/ 333 w 362"/>
                    <a:gd name="T55" fmla="*/ 217 h 246"/>
                    <a:gd name="T56" fmla="*/ 335 w 362"/>
                    <a:gd name="T57" fmla="*/ 207 h 246"/>
                    <a:gd name="T58" fmla="*/ 336 w 362"/>
                    <a:gd name="T59" fmla="*/ 189 h 246"/>
                    <a:gd name="T60" fmla="*/ 338 w 362"/>
                    <a:gd name="T61" fmla="*/ 166 h 246"/>
                    <a:gd name="T62" fmla="*/ 341 w 362"/>
                    <a:gd name="T63" fmla="*/ 138 h 246"/>
                    <a:gd name="T64" fmla="*/ 342 w 362"/>
                    <a:gd name="T65" fmla="*/ 109 h 246"/>
                    <a:gd name="T66" fmla="*/ 345 w 362"/>
                    <a:gd name="T67" fmla="*/ 80 h 246"/>
                    <a:gd name="T68" fmla="*/ 346 w 362"/>
                    <a:gd name="T69" fmla="*/ 54 h 246"/>
                    <a:gd name="T70" fmla="*/ 346 w 362"/>
                    <a:gd name="T71" fmla="*/ 31 h 246"/>
                    <a:gd name="T72" fmla="*/ 345 w 362"/>
                    <a:gd name="T73" fmla="*/ 12 h 246"/>
                    <a:gd name="T74" fmla="*/ 343 w 362"/>
                    <a:gd name="T75" fmla="*/ 0 h 2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362" h="246">
                      <a:moveTo>
                        <a:pt x="343" y="0"/>
                      </a:moveTo>
                      <a:lnTo>
                        <a:pt x="343" y="0"/>
                      </a:lnTo>
                      <a:lnTo>
                        <a:pt x="349" y="2"/>
                      </a:lnTo>
                      <a:lnTo>
                        <a:pt x="355" y="5"/>
                      </a:lnTo>
                      <a:lnTo>
                        <a:pt x="358" y="7"/>
                      </a:lnTo>
                      <a:lnTo>
                        <a:pt x="361" y="12"/>
                      </a:lnTo>
                      <a:lnTo>
                        <a:pt x="362" y="18"/>
                      </a:lnTo>
                      <a:lnTo>
                        <a:pt x="362" y="228"/>
                      </a:lnTo>
                      <a:lnTo>
                        <a:pt x="361" y="234"/>
                      </a:lnTo>
                      <a:lnTo>
                        <a:pt x="358" y="239"/>
                      </a:lnTo>
                      <a:lnTo>
                        <a:pt x="355" y="243"/>
                      </a:lnTo>
                      <a:lnTo>
                        <a:pt x="349" y="244"/>
                      </a:lnTo>
                      <a:lnTo>
                        <a:pt x="343" y="246"/>
                      </a:lnTo>
                      <a:lnTo>
                        <a:pt x="0" y="246"/>
                      </a:lnTo>
                      <a:lnTo>
                        <a:pt x="12" y="244"/>
                      </a:lnTo>
                      <a:lnTo>
                        <a:pt x="29" y="243"/>
                      </a:lnTo>
                      <a:lnTo>
                        <a:pt x="54" y="243"/>
                      </a:lnTo>
                      <a:lnTo>
                        <a:pt x="82" y="243"/>
                      </a:lnTo>
                      <a:lnTo>
                        <a:pt x="112" y="241"/>
                      </a:lnTo>
                      <a:lnTo>
                        <a:pt x="146" y="241"/>
                      </a:lnTo>
                      <a:lnTo>
                        <a:pt x="179" y="240"/>
                      </a:lnTo>
                      <a:lnTo>
                        <a:pt x="213" y="239"/>
                      </a:lnTo>
                      <a:lnTo>
                        <a:pt x="243" y="237"/>
                      </a:lnTo>
                      <a:lnTo>
                        <a:pt x="272" y="236"/>
                      </a:lnTo>
                      <a:lnTo>
                        <a:pt x="297" y="233"/>
                      </a:lnTo>
                      <a:lnTo>
                        <a:pt x="316" y="228"/>
                      </a:lnTo>
                      <a:lnTo>
                        <a:pt x="329" y="224"/>
                      </a:lnTo>
                      <a:lnTo>
                        <a:pt x="333" y="217"/>
                      </a:lnTo>
                      <a:lnTo>
                        <a:pt x="335" y="207"/>
                      </a:lnTo>
                      <a:lnTo>
                        <a:pt x="336" y="189"/>
                      </a:lnTo>
                      <a:lnTo>
                        <a:pt x="338" y="166"/>
                      </a:lnTo>
                      <a:lnTo>
                        <a:pt x="341" y="138"/>
                      </a:lnTo>
                      <a:lnTo>
                        <a:pt x="342" y="109"/>
                      </a:lnTo>
                      <a:lnTo>
                        <a:pt x="345" y="80"/>
                      </a:lnTo>
                      <a:lnTo>
                        <a:pt x="346" y="54"/>
                      </a:lnTo>
                      <a:lnTo>
                        <a:pt x="346" y="31"/>
                      </a:lnTo>
                      <a:lnTo>
                        <a:pt x="345" y="12"/>
                      </a:lnTo>
                      <a:lnTo>
                        <a:pt x="343" y="0"/>
                      </a:lnTo>
                      <a:close/>
                    </a:path>
                  </a:pathLst>
                </a:custGeom>
                <a:solidFill>
                  <a:srgbClr val="FFDEB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51" name="Freeform 543"/>
                <p:cNvSpPr>
                  <a:spLocks/>
                </p:cNvSpPr>
                <p:nvPr/>
              </p:nvSpPr>
              <p:spPr bwMode="auto">
                <a:xfrm>
                  <a:off x="3597276" y="4318000"/>
                  <a:ext cx="681038" cy="46038"/>
                </a:xfrm>
                <a:custGeom>
                  <a:avLst/>
                  <a:gdLst>
                    <a:gd name="T0" fmla="*/ 429 w 429"/>
                    <a:gd name="T1" fmla="*/ 0 h 29"/>
                    <a:gd name="T2" fmla="*/ 429 w 429"/>
                    <a:gd name="T3" fmla="*/ 0 h 29"/>
                    <a:gd name="T4" fmla="*/ 429 w 429"/>
                    <a:gd name="T5" fmla="*/ 5 h 29"/>
                    <a:gd name="T6" fmla="*/ 429 w 429"/>
                    <a:gd name="T7" fmla="*/ 9 h 29"/>
                    <a:gd name="T8" fmla="*/ 429 w 429"/>
                    <a:gd name="T9" fmla="*/ 15 h 29"/>
                    <a:gd name="T10" fmla="*/ 428 w 429"/>
                    <a:gd name="T11" fmla="*/ 19 h 29"/>
                    <a:gd name="T12" fmla="*/ 426 w 429"/>
                    <a:gd name="T13" fmla="*/ 24 h 29"/>
                    <a:gd name="T14" fmla="*/ 422 w 429"/>
                    <a:gd name="T15" fmla="*/ 26 h 29"/>
                    <a:gd name="T16" fmla="*/ 417 w 429"/>
                    <a:gd name="T17" fmla="*/ 28 h 29"/>
                    <a:gd name="T18" fmla="*/ 413 w 429"/>
                    <a:gd name="T19" fmla="*/ 29 h 29"/>
                    <a:gd name="T20" fmla="*/ 14 w 429"/>
                    <a:gd name="T21" fmla="*/ 29 h 29"/>
                    <a:gd name="T22" fmla="*/ 10 w 429"/>
                    <a:gd name="T23" fmla="*/ 29 h 29"/>
                    <a:gd name="T24" fmla="*/ 6 w 429"/>
                    <a:gd name="T25" fmla="*/ 26 h 29"/>
                    <a:gd name="T26" fmla="*/ 3 w 429"/>
                    <a:gd name="T27" fmla="*/ 24 h 29"/>
                    <a:gd name="T28" fmla="*/ 0 w 429"/>
                    <a:gd name="T29" fmla="*/ 19 h 29"/>
                    <a:gd name="T30" fmla="*/ 0 w 429"/>
                    <a:gd name="T31" fmla="*/ 15 h 29"/>
                    <a:gd name="T32" fmla="*/ 0 w 429"/>
                    <a:gd name="T33" fmla="*/ 0 h 29"/>
                    <a:gd name="T34" fmla="*/ 429 w 429"/>
                    <a:gd name="T35" fmla="*/ 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429" h="29">
                      <a:moveTo>
                        <a:pt x="429" y="0"/>
                      </a:moveTo>
                      <a:lnTo>
                        <a:pt x="429" y="0"/>
                      </a:lnTo>
                      <a:lnTo>
                        <a:pt x="429" y="5"/>
                      </a:lnTo>
                      <a:lnTo>
                        <a:pt x="429" y="9"/>
                      </a:lnTo>
                      <a:lnTo>
                        <a:pt x="429" y="15"/>
                      </a:lnTo>
                      <a:lnTo>
                        <a:pt x="428" y="19"/>
                      </a:lnTo>
                      <a:lnTo>
                        <a:pt x="426" y="24"/>
                      </a:lnTo>
                      <a:lnTo>
                        <a:pt x="422" y="26"/>
                      </a:lnTo>
                      <a:lnTo>
                        <a:pt x="417" y="28"/>
                      </a:lnTo>
                      <a:lnTo>
                        <a:pt x="413" y="29"/>
                      </a:lnTo>
                      <a:lnTo>
                        <a:pt x="14" y="29"/>
                      </a:lnTo>
                      <a:lnTo>
                        <a:pt x="10" y="29"/>
                      </a:lnTo>
                      <a:lnTo>
                        <a:pt x="6" y="26"/>
                      </a:lnTo>
                      <a:lnTo>
                        <a:pt x="3" y="24"/>
                      </a:lnTo>
                      <a:lnTo>
                        <a:pt x="0" y="19"/>
                      </a:lnTo>
                      <a:lnTo>
                        <a:pt x="0" y="15"/>
                      </a:lnTo>
                      <a:lnTo>
                        <a:pt x="0" y="0"/>
                      </a:lnTo>
                      <a:lnTo>
                        <a:pt x="429" y="0"/>
                      </a:lnTo>
                      <a:close/>
                    </a:path>
                  </a:pathLst>
                </a:custGeom>
                <a:solidFill>
                  <a:srgbClr val="FFF0D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52" name="Freeform 544"/>
                <p:cNvSpPr>
                  <a:spLocks/>
                </p:cNvSpPr>
                <p:nvPr/>
              </p:nvSpPr>
              <p:spPr bwMode="auto">
                <a:xfrm>
                  <a:off x="3590926" y="4316413"/>
                  <a:ext cx="692150" cy="14288"/>
                </a:xfrm>
                <a:custGeom>
                  <a:avLst/>
                  <a:gdLst>
                    <a:gd name="T0" fmla="*/ 432 w 436"/>
                    <a:gd name="T1" fmla="*/ 0 h 9"/>
                    <a:gd name="T2" fmla="*/ 434 w 436"/>
                    <a:gd name="T3" fmla="*/ 0 h 9"/>
                    <a:gd name="T4" fmla="*/ 436 w 436"/>
                    <a:gd name="T5" fmla="*/ 1 h 9"/>
                    <a:gd name="T6" fmla="*/ 436 w 436"/>
                    <a:gd name="T7" fmla="*/ 4 h 9"/>
                    <a:gd name="T8" fmla="*/ 436 w 436"/>
                    <a:gd name="T9" fmla="*/ 7 h 9"/>
                    <a:gd name="T10" fmla="*/ 434 w 436"/>
                    <a:gd name="T11" fmla="*/ 9 h 9"/>
                    <a:gd name="T12" fmla="*/ 432 w 436"/>
                    <a:gd name="T13" fmla="*/ 9 h 9"/>
                    <a:gd name="T14" fmla="*/ 4 w 436"/>
                    <a:gd name="T15" fmla="*/ 9 h 9"/>
                    <a:gd name="T16" fmla="*/ 2 w 436"/>
                    <a:gd name="T17" fmla="*/ 9 h 9"/>
                    <a:gd name="T18" fmla="*/ 1 w 436"/>
                    <a:gd name="T19" fmla="*/ 7 h 9"/>
                    <a:gd name="T20" fmla="*/ 0 w 436"/>
                    <a:gd name="T21" fmla="*/ 4 h 9"/>
                    <a:gd name="T22" fmla="*/ 1 w 436"/>
                    <a:gd name="T23" fmla="*/ 3 h 9"/>
                    <a:gd name="T24" fmla="*/ 2 w 436"/>
                    <a:gd name="T25" fmla="*/ 1 h 9"/>
                    <a:gd name="T26" fmla="*/ 4 w 436"/>
                    <a:gd name="T27" fmla="*/ 0 h 9"/>
                    <a:gd name="T28" fmla="*/ 432 w 436"/>
                    <a:gd name="T29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436" h="9">
                      <a:moveTo>
                        <a:pt x="432" y="0"/>
                      </a:moveTo>
                      <a:lnTo>
                        <a:pt x="434" y="0"/>
                      </a:lnTo>
                      <a:lnTo>
                        <a:pt x="436" y="1"/>
                      </a:lnTo>
                      <a:lnTo>
                        <a:pt x="436" y="4"/>
                      </a:lnTo>
                      <a:lnTo>
                        <a:pt x="436" y="7"/>
                      </a:lnTo>
                      <a:lnTo>
                        <a:pt x="434" y="9"/>
                      </a:lnTo>
                      <a:lnTo>
                        <a:pt x="432" y="9"/>
                      </a:lnTo>
                      <a:lnTo>
                        <a:pt x="4" y="9"/>
                      </a:lnTo>
                      <a:lnTo>
                        <a:pt x="2" y="9"/>
                      </a:lnTo>
                      <a:lnTo>
                        <a:pt x="1" y="7"/>
                      </a:lnTo>
                      <a:lnTo>
                        <a:pt x="0" y="4"/>
                      </a:lnTo>
                      <a:lnTo>
                        <a:pt x="1" y="3"/>
                      </a:lnTo>
                      <a:lnTo>
                        <a:pt x="2" y="1"/>
                      </a:lnTo>
                      <a:lnTo>
                        <a:pt x="4" y="0"/>
                      </a:lnTo>
                      <a:lnTo>
                        <a:pt x="432" y="0"/>
                      </a:lnTo>
                      <a:close/>
                    </a:path>
                  </a:pathLst>
                </a:custGeom>
                <a:solidFill>
                  <a:srgbClr val="FFF0D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53" name="Freeform 545"/>
                <p:cNvSpPr>
                  <a:spLocks/>
                </p:cNvSpPr>
                <p:nvPr/>
              </p:nvSpPr>
              <p:spPr bwMode="auto">
                <a:xfrm>
                  <a:off x="3590926" y="4316413"/>
                  <a:ext cx="692150" cy="14288"/>
                </a:xfrm>
                <a:custGeom>
                  <a:avLst/>
                  <a:gdLst>
                    <a:gd name="T0" fmla="*/ 432 w 436"/>
                    <a:gd name="T1" fmla="*/ 0 h 9"/>
                    <a:gd name="T2" fmla="*/ 434 w 436"/>
                    <a:gd name="T3" fmla="*/ 0 h 9"/>
                    <a:gd name="T4" fmla="*/ 436 w 436"/>
                    <a:gd name="T5" fmla="*/ 1 h 9"/>
                    <a:gd name="T6" fmla="*/ 436 w 436"/>
                    <a:gd name="T7" fmla="*/ 4 h 9"/>
                    <a:gd name="T8" fmla="*/ 436 w 436"/>
                    <a:gd name="T9" fmla="*/ 7 h 9"/>
                    <a:gd name="T10" fmla="*/ 434 w 436"/>
                    <a:gd name="T11" fmla="*/ 9 h 9"/>
                    <a:gd name="T12" fmla="*/ 432 w 436"/>
                    <a:gd name="T13" fmla="*/ 9 h 9"/>
                    <a:gd name="T14" fmla="*/ 4 w 436"/>
                    <a:gd name="T15" fmla="*/ 9 h 9"/>
                    <a:gd name="T16" fmla="*/ 2 w 436"/>
                    <a:gd name="T17" fmla="*/ 9 h 9"/>
                    <a:gd name="T18" fmla="*/ 1 w 436"/>
                    <a:gd name="T19" fmla="*/ 7 h 9"/>
                    <a:gd name="T20" fmla="*/ 0 w 436"/>
                    <a:gd name="T21" fmla="*/ 4 h 9"/>
                    <a:gd name="T22" fmla="*/ 1 w 436"/>
                    <a:gd name="T23" fmla="*/ 3 h 9"/>
                    <a:gd name="T24" fmla="*/ 2 w 436"/>
                    <a:gd name="T25" fmla="*/ 1 h 9"/>
                    <a:gd name="T26" fmla="*/ 4 w 436"/>
                    <a:gd name="T27" fmla="*/ 0 h 9"/>
                    <a:gd name="T28" fmla="*/ 432 w 436"/>
                    <a:gd name="T29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436" h="9">
                      <a:moveTo>
                        <a:pt x="432" y="0"/>
                      </a:moveTo>
                      <a:lnTo>
                        <a:pt x="434" y="0"/>
                      </a:lnTo>
                      <a:lnTo>
                        <a:pt x="436" y="1"/>
                      </a:lnTo>
                      <a:lnTo>
                        <a:pt x="436" y="4"/>
                      </a:lnTo>
                      <a:lnTo>
                        <a:pt x="436" y="7"/>
                      </a:lnTo>
                      <a:lnTo>
                        <a:pt x="434" y="9"/>
                      </a:lnTo>
                      <a:lnTo>
                        <a:pt x="432" y="9"/>
                      </a:lnTo>
                      <a:lnTo>
                        <a:pt x="4" y="9"/>
                      </a:lnTo>
                      <a:lnTo>
                        <a:pt x="2" y="9"/>
                      </a:lnTo>
                      <a:lnTo>
                        <a:pt x="1" y="7"/>
                      </a:lnTo>
                      <a:lnTo>
                        <a:pt x="0" y="4"/>
                      </a:lnTo>
                      <a:lnTo>
                        <a:pt x="1" y="3"/>
                      </a:lnTo>
                      <a:lnTo>
                        <a:pt x="2" y="1"/>
                      </a:lnTo>
                      <a:lnTo>
                        <a:pt x="4" y="0"/>
                      </a:lnTo>
                      <a:lnTo>
                        <a:pt x="432" y="0"/>
                      </a:lnTo>
                      <a:close/>
                    </a:path>
                  </a:pathLst>
                </a:custGeom>
                <a:solidFill>
                  <a:srgbClr val="FFDEB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54" name="Freeform 546"/>
                <p:cNvSpPr>
                  <a:spLocks/>
                </p:cNvSpPr>
                <p:nvPr/>
              </p:nvSpPr>
              <p:spPr bwMode="auto">
                <a:xfrm>
                  <a:off x="3890963" y="4094163"/>
                  <a:ext cx="109538" cy="109538"/>
                </a:xfrm>
                <a:custGeom>
                  <a:avLst/>
                  <a:gdLst>
                    <a:gd name="T0" fmla="*/ 35 w 69"/>
                    <a:gd name="T1" fmla="*/ 0 h 69"/>
                    <a:gd name="T2" fmla="*/ 48 w 69"/>
                    <a:gd name="T3" fmla="*/ 2 h 69"/>
                    <a:gd name="T4" fmla="*/ 59 w 69"/>
                    <a:gd name="T5" fmla="*/ 9 h 69"/>
                    <a:gd name="T6" fmla="*/ 67 w 69"/>
                    <a:gd name="T7" fmla="*/ 21 h 69"/>
                    <a:gd name="T8" fmla="*/ 69 w 69"/>
                    <a:gd name="T9" fmla="*/ 34 h 69"/>
                    <a:gd name="T10" fmla="*/ 67 w 69"/>
                    <a:gd name="T11" fmla="*/ 47 h 69"/>
                    <a:gd name="T12" fmla="*/ 59 w 69"/>
                    <a:gd name="T13" fmla="*/ 58 h 69"/>
                    <a:gd name="T14" fmla="*/ 48 w 69"/>
                    <a:gd name="T15" fmla="*/ 66 h 69"/>
                    <a:gd name="T16" fmla="*/ 35 w 69"/>
                    <a:gd name="T17" fmla="*/ 69 h 69"/>
                    <a:gd name="T18" fmla="*/ 21 w 69"/>
                    <a:gd name="T19" fmla="*/ 66 h 69"/>
                    <a:gd name="T20" fmla="*/ 10 w 69"/>
                    <a:gd name="T21" fmla="*/ 58 h 69"/>
                    <a:gd name="T22" fmla="*/ 3 w 69"/>
                    <a:gd name="T23" fmla="*/ 47 h 69"/>
                    <a:gd name="T24" fmla="*/ 0 w 69"/>
                    <a:gd name="T25" fmla="*/ 34 h 69"/>
                    <a:gd name="T26" fmla="*/ 3 w 69"/>
                    <a:gd name="T27" fmla="*/ 21 h 69"/>
                    <a:gd name="T28" fmla="*/ 10 w 69"/>
                    <a:gd name="T29" fmla="*/ 9 h 69"/>
                    <a:gd name="T30" fmla="*/ 21 w 69"/>
                    <a:gd name="T31" fmla="*/ 2 h 69"/>
                    <a:gd name="T32" fmla="*/ 35 w 69"/>
                    <a:gd name="T33" fmla="*/ 0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9" h="69">
                      <a:moveTo>
                        <a:pt x="35" y="0"/>
                      </a:moveTo>
                      <a:lnTo>
                        <a:pt x="48" y="2"/>
                      </a:lnTo>
                      <a:lnTo>
                        <a:pt x="59" y="9"/>
                      </a:lnTo>
                      <a:lnTo>
                        <a:pt x="67" y="21"/>
                      </a:lnTo>
                      <a:lnTo>
                        <a:pt x="69" y="34"/>
                      </a:lnTo>
                      <a:lnTo>
                        <a:pt x="67" y="47"/>
                      </a:lnTo>
                      <a:lnTo>
                        <a:pt x="59" y="58"/>
                      </a:lnTo>
                      <a:lnTo>
                        <a:pt x="48" y="66"/>
                      </a:lnTo>
                      <a:lnTo>
                        <a:pt x="35" y="69"/>
                      </a:lnTo>
                      <a:lnTo>
                        <a:pt x="21" y="66"/>
                      </a:lnTo>
                      <a:lnTo>
                        <a:pt x="10" y="58"/>
                      </a:lnTo>
                      <a:lnTo>
                        <a:pt x="3" y="47"/>
                      </a:lnTo>
                      <a:lnTo>
                        <a:pt x="0" y="34"/>
                      </a:lnTo>
                      <a:lnTo>
                        <a:pt x="3" y="21"/>
                      </a:lnTo>
                      <a:lnTo>
                        <a:pt x="10" y="9"/>
                      </a:lnTo>
                      <a:lnTo>
                        <a:pt x="21" y="2"/>
                      </a:lnTo>
                      <a:lnTo>
                        <a:pt x="35" y="0"/>
                      </a:lnTo>
                      <a:close/>
                    </a:path>
                  </a:pathLst>
                </a:custGeom>
                <a:solidFill>
                  <a:srgbClr val="FFDEB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55" name="Rectangle 547"/>
                <p:cNvSpPr>
                  <a:spLocks noChangeArrowheads="1"/>
                </p:cNvSpPr>
                <p:nvPr/>
              </p:nvSpPr>
              <p:spPr bwMode="auto">
                <a:xfrm>
                  <a:off x="1960563" y="4246563"/>
                  <a:ext cx="4965700" cy="136525"/>
                </a:xfrm>
                <a:prstGeom prst="rect">
                  <a:avLst/>
                </a:prstGeom>
                <a:solidFill>
                  <a:srgbClr val="D2794F"/>
                </a:soli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56" name="Freeform 548"/>
                <p:cNvSpPr>
                  <a:spLocks/>
                </p:cNvSpPr>
                <p:nvPr/>
              </p:nvSpPr>
              <p:spPr bwMode="auto">
                <a:xfrm>
                  <a:off x="4765676" y="4392613"/>
                  <a:ext cx="407988" cy="981075"/>
                </a:xfrm>
                <a:custGeom>
                  <a:avLst/>
                  <a:gdLst>
                    <a:gd name="T0" fmla="*/ 54 w 257"/>
                    <a:gd name="T1" fmla="*/ 1 h 618"/>
                    <a:gd name="T2" fmla="*/ 78 w 257"/>
                    <a:gd name="T3" fmla="*/ 8 h 618"/>
                    <a:gd name="T4" fmla="*/ 116 w 257"/>
                    <a:gd name="T5" fmla="*/ 22 h 618"/>
                    <a:gd name="T6" fmla="*/ 157 w 257"/>
                    <a:gd name="T7" fmla="*/ 40 h 618"/>
                    <a:gd name="T8" fmla="*/ 186 w 257"/>
                    <a:gd name="T9" fmla="*/ 61 h 618"/>
                    <a:gd name="T10" fmla="*/ 196 w 257"/>
                    <a:gd name="T11" fmla="*/ 83 h 618"/>
                    <a:gd name="T12" fmla="*/ 177 w 257"/>
                    <a:gd name="T13" fmla="*/ 103 h 618"/>
                    <a:gd name="T14" fmla="*/ 154 w 257"/>
                    <a:gd name="T15" fmla="*/ 120 h 618"/>
                    <a:gd name="T16" fmla="*/ 135 w 257"/>
                    <a:gd name="T17" fmla="*/ 136 h 618"/>
                    <a:gd name="T18" fmla="*/ 121 w 257"/>
                    <a:gd name="T19" fmla="*/ 155 h 618"/>
                    <a:gd name="T20" fmla="*/ 116 w 257"/>
                    <a:gd name="T21" fmla="*/ 183 h 618"/>
                    <a:gd name="T22" fmla="*/ 122 w 257"/>
                    <a:gd name="T23" fmla="*/ 225 h 618"/>
                    <a:gd name="T24" fmla="*/ 141 w 257"/>
                    <a:gd name="T25" fmla="*/ 285 h 618"/>
                    <a:gd name="T26" fmla="*/ 176 w 257"/>
                    <a:gd name="T27" fmla="*/ 368 h 618"/>
                    <a:gd name="T28" fmla="*/ 189 w 257"/>
                    <a:gd name="T29" fmla="*/ 394 h 618"/>
                    <a:gd name="T30" fmla="*/ 211 w 257"/>
                    <a:gd name="T31" fmla="*/ 446 h 618"/>
                    <a:gd name="T32" fmla="*/ 240 w 257"/>
                    <a:gd name="T33" fmla="*/ 525 h 618"/>
                    <a:gd name="T34" fmla="*/ 256 w 257"/>
                    <a:gd name="T35" fmla="*/ 575 h 618"/>
                    <a:gd name="T36" fmla="*/ 240 w 257"/>
                    <a:gd name="T37" fmla="*/ 591 h 618"/>
                    <a:gd name="T38" fmla="*/ 218 w 257"/>
                    <a:gd name="T39" fmla="*/ 609 h 618"/>
                    <a:gd name="T40" fmla="*/ 201 w 257"/>
                    <a:gd name="T41" fmla="*/ 618 h 618"/>
                    <a:gd name="T42" fmla="*/ 193 w 257"/>
                    <a:gd name="T43" fmla="*/ 610 h 618"/>
                    <a:gd name="T44" fmla="*/ 188 w 257"/>
                    <a:gd name="T45" fmla="*/ 597 h 618"/>
                    <a:gd name="T46" fmla="*/ 182 w 257"/>
                    <a:gd name="T47" fmla="*/ 578 h 618"/>
                    <a:gd name="T48" fmla="*/ 170 w 257"/>
                    <a:gd name="T49" fmla="*/ 549 h 618"/>
                    <a:gd name="T50" fmla="*/ 151 w 257"/>
                    <a:gd name="T51" fmla="*/ 503 h 618"/>
                    <a:gd name="T52" fmla="*/ 129 w 257"/>
                    <a:gd name="T53" fmla="*/ 449 h 618"/>
                    <a:gd name="T54" fmla="*/ 102 w 257"/>
                    <a:gd name="T55" fmla="*/ 395 h 618"/>
                    <a:gd name="T56" fmla="*/ 68 w 257"/>
                    <a:gd name="T57" fmla="*/ 333 h 618"/>
                    <a:gd name="T58" fmla="*/ 36 w 257"/>
                    <a:gd name="T59" fmla="*/ 272 h 618"/>
                    <a:gd name="T60" fmla="*/ 13 w 257"/>
                    <a:gd name="T61" fmla="*/ 221 h 618"/>
                    <a:gd name="T62" fmla="*/ 1 w 257"/>
                    <a:gd name="T63" fmla="*/ 171 h 618"/>
                    <a:gd name="T64" fmla="*/ 1 w 257"/>
                    <a:gd name="T65" fmla="*/ 123 h 618"/>
                    <a:gd name="T66" fmla="*/ 12 w 257"/>
                    <a:gd name="T67" fmla="*/ 88 h 618"/>
                    <a:gd name="T68" fmla="*/ 28 w 257"/>
                    <a:gd name="T69" fmla="*/ 61 h 618"/>
                    <a:gd name="T70" fmla="*/ 42 w 257"/>
                    <a:gd name="T71" fmla="*/ 33 h 618"/>
                    <a:gd name="T72" fmla="*/ 51 w 257"/>
                    <a:gd name="T73" fmla="*/ 0 h 6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257" h="618">
                      <a:moveTo>
                        <a:pt x="51" y="0"/>
                      </a:moveTo>
                      <a:lnTo>
                        <a:pt x="54" y="1"/>
                      </a:lnTo>
                      <a:lnTo>
                        <a:pt x="64" y="4"/>
                      </a:lnTo>
                      <a:lnTo>
                        <a:pt x="78" y="8"/>
                      </a:lnTo>
                      <a:lnTo>
                        <a:pt x="96" y="14"/>
                      </a:lnTo>
                      <a:lnTo>
                        <a:pt x="116" y="22"/>
                      </a:lnTo>
                      <a:lnTo>
                        <a:pt x="137" y="30"/>
                      </a:lnTo>
                      <a:lnTo>
                        <a:pt x="157" y="40"/>
                      </a:lnTo>
                      <a:lnTo>
                        <a:pt x="173" y="51"/>
                      </a:lnTo>
                      <a:lnTo>
                        <a:pt x="186" y="61"/>
                      </a:lnTo>
                      <a:lnTo>
                        <a:pt x="195" y="71"/>
                      </a:lnTo>
                      <a:lnTo>
                        <a:pt x="196" y="83"/>
                      </a:lnTo>
                      <a:lnTo>
                        <a:pt x="189" y="93"/>
                      </a:lnTo>
                      <a:lnTo>
                        <a:pt x="177" y="103"/>
                      </a:lnTo>
                      <a:lnTo>
                        <a:pt x="166" y="112"/>
                      </a:lnTo>
                      <a:lnTo>
                        <a:pt x="154" y="120"/>
                      </a:lnTo>
                      <a:lnTo>
                        <a:pt x="144" y="128"/>
                      </a:lnTo>
                      <a:lnTo>
                        <a:pt x="135" y="136"/>
                      </a:lnTo>
                      <a:lnTo>
                        <a:pt x="126" y="145"/>
                      </a:lnTo>
                      <a:lnTo>
                        <a:pt x="121" y="155"/>
                      </a:lnTo>
                      <a:lnTo>
                        <a:pt x="118" y="168"/>
                      </a:lnTo>
                      <a:lnTo>
                        <a:pt x="116" y="183"/>
                      </a:lnTo>
                      <a:lnTo>
                        <a:pt x="118" y="202"/>
                      </a:lnTo>
                      <a:lnTo>
                        <a:pt x="122" y="225"/>
                      </a:lnTo>
                      <a:lnTo>
                        <a:pt x="129" y="251"/>
                      </a:lnTo>
                      <a:lnTo>
                        <a:pt x="141" y="285"/>
                      </a:lnTo>
                      <a:lnTo>
                        <a:pt x="157" y="322"/>
                      </a:lnTo>
                      <a:lnTo>
                        <a:pt x="176" y="368"/>
                      </a:lnTo>
                      <a:lnTo>
                        <a:pt x="182" y="378"/>
                      </a:lnTo>
                      <a:lnTo>
                        <a:pt x="189" y="394"/>
                      </a:lnTo>
                      <a:lnTo>
                        <a:pt x="198" y="417"/>
                      </a:lnTo>
                      <a:lnTo>
                        <a:pt x="211" y="446"/>
                      </a:lnTo>
                      <a:lnTo>
                        <a:pt x="224" y="482"/>
                      </a:lnTo>
                      <a:lnTo>
                        <a:pt x="240" y="525"/>
                      </a:lnTo>
                      <a:lnTo>
                        <a:pt x="257" y="573"/>
                      </a:lnTo>
                      <a:lnTo>
                        <a:pt x="256" y="575"/>
                      </a:lnTo>
                      <a:lnTo>
                        <a:pt x="249" y="583"/>
                      </a:lnTo>
                      <a:lnTo>
                        <a:pt x="240" y="591"/>
                      </a:lnTo>
                      <a:lnTo>
                        <a:pt x="230" y="602"/>
                      </a:lnTo>
                      <a:lnTo>
                        <a:pt x="218" y="609"/>
                      </a:lnTo>
                      <a:lnTo>
                        <a:pt x="208" y="616"/>
                      </a:lnTo>
                      <a:lnTo>
                        <a:pt x="201" y="618"/>
                      </a:lnTo>
                      <a:lnTo>
                        <a:pt x="195" y="616"/>
                      </a:lnTo>
                      <a:lnTo>
                        <a:pt x="193" y="610"/>
                      </a:lnTo>
                      <a:lnTo>
                        <a:pt x="190" y="603"/>
                      </a:lnTo>
                      <a:lnTo>
                        <a:pt x="188" y="597"/>
                      </a:lnTo>
                      <a:lnTo>
                        <a:pt x="185" y="588"/>
                      </a:lnTo>
                      <a:lnTo>
                        <a:pt x="182" y="578"/>
                      </a:lnTo>
                      <a:lnTo>
                        <a:pt x="176" y="565"/>
                      </a:lnTo>
                      <a:lnTo>
                        <a:pt x="170" y="549"/>
                      </a:lnTo>
                      <a:lnTo>
                        <a:pt x="161" y="529"/>
                      </a:lnTo>
                      <a:lnTo>
                        <a:pt x="151" y="503"/>
                      </a:lnTo>
                      <a:lnTo>
                        <a:pt x="140" y="471"/>
                      </a:lnTo>
                      <a:lnTo>
                        <a:pt x="129" y="449"/>
                      </a:lnTo>
                      <a:lnTo>
                        <a:pt x="116" y="424"/>
                      </a:lnTo>
                      <a:lnTo>
                        <a:pt x="102" y="395"/>
                      </a:lnTo>
                      <a:lnTo>
                        <a:pt x="86" y="365"/>
                      </a:lnTo>
                      <a:lnTo>
                        <a:pt x="68" y="333"/>
                      </a:lnTo>
                      <a:lnTo>
                        <a:pt x="52" y="302"/>
                      </a:lnTo>
                      <a:lnTo>
                        <a:pt x="36" y="272"/>
                      </a:lnTo>
                      <a:lnTo>
                        <a:pt x="23" y="244"/>
                      </a:lnTo>
                      <a:lnTo>
                        <a:pt x="13" y="221"/>
                      </a:lnTo>
                      <a:lnTo>
                        <a:pt x="7" y="202"/>
                      </a:lnTo>
                      <a:lnTo>
                        <a:pt x="1" y="171"/>
                      </a:lnTo>
                      <a:lnTo>
                        <a:pt x="0" y="145"/>
                      </a:lnTo>
                      <a:lnTo>
                        <a:pt x="1" y="123"/>
                      </a:lnTo>
                      <a:lnTo>
                        <a:pt x="6" y="104"/>
                      </a:lnTo>
                      <a:lnTo>
                        <a:pt x="12" y="88"/>
                      </a:lnTo>
                      <a:lnTo>
                        <a:pt x="20" y="74"/>
                      </a:lnTo>
                      <a:lnTo>
                        <a:pt x="28" y="61"/>
                      </a:lnTo>
                      <a:lnTo>
                        <a:pt x="36" y="48"/>
                      </a:lnTo>
                      <a:lnTo>
                        <a:pt x="42" y="33"/>
                      </a:lnTo>
                      <a:lnTo>
                        <a:pt x="48" y="17"/>
                      </a:lnTo>
                      <a:lnTo>
                        <a:pt x="51" y="0"/>
                      </a:lnTo>
                      <a:close/>
                    </a:path>
                  </a:pathLst>
                </a:custGeom>
                <a:solidFill>
                  <a:srgbClr val="394856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57" name="Freeform 549"/>
                <p:cNvSpPr>
                  <a:spLocks/>
                </p:cNvSpPr>
                <p:nvPr/>
              </p:nvSpPr>
              <p:spPr bwMode="auto">
                <a:xfrm>
                  <a:off x="4864101" y="4392613"/>
                  <a:ext cx="538163" cy="161925"/>
                </a:xfrm>
                <a:custGeom>
                  <a:avLst/>
                  <a:gdLst>
                    <a:gd name="T0" fmla="*/ 338 w 339"/>
                    <a:gd name="T1" fmla="*/ 0 h 102"/>
                    <a:gd name="T2" fmla="*/ 339 w 339"/>
                    <a:gd name="T3" fmla="*/ 30 h 102"/>
                    <a:gd name="T4" fmla="*/ 339 w 339"/>
                    <a:gd name="T5" fmla="*/ 55 h 102"/>
                    <a:gd name="T6" fmla="*/ 338 w 339"/>
                    <a:gd name="T7" fmla="*/ 75 h 102"/>
                    <a:gd name="T8" fmla="*/ 336 w 339"/>
                    <a:gd name="T9" fmla="*/ 88 h 102"/>
                    <a:gd name="T10" fmla="*/ 335 w 339"/>
                    <a:gd name="T11" fmla="*/ 93 h 102"/>
                    <a:gd name="T12" fmla="*/ 229 w 339"/>
                    <a:gd name="T13" fmla="*/ 102 h 102"/>
                    <a:gd name="T14" fmla="*/ 72 w 339"/>
                    <a:gd name="T15" fmla="*/ 94 h 102"/>
                    <a:gd name="T16" fmla="*/ 50 w 339"/>
                    <a:gd name="T17" fmla="*/ 90 h 102"/>
                    <a:gd name="T18" fmla="*/ 32 w 339"/>
                    <a:gd name="T19" fmla="*/ 77 h 102"/>
                    <a:gd name="T20" fmla="*/ 16 w 339"/>
                    <a:gd name="T21" fmla="*/ 58 h 102"/>
                    <a:gd name="T22" fmla="*/ 6 w 339"/>
                    <a:gd name="T23" fmla="*/ 33 h 102"/>
                    <a:gd name="T24" fmla="*/ 0 w 339"/>
                    <a:gd name="T25" fmla="*/ 6 h 102"/>
                    <a:gd name="T26" fmla="*/ 338 w 339"/>
                    <a:gd name="T27" fmla="*/ 0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39" h="102">
                      <a:moveTo>
                        <a:pt x="338" y="0"/>
                      </a:moveTo>
                      <a:lnTo>
                        <a:pt x="339" y="30"/>
                      </a:lnTo>
                      <a:lnTo>
                        <a:pt x="339" y="55"/>
                      </a:lnTo>
                      <a:lnTo>
                        <a:pt x="338" y="75"/>
                      </a:lnTo>
                      <a:lnTo>
                        <a:pt x="336" y="88"/>
                      </a:lnTo>
                      <a:lnTo>
                        <a:pt x="335" y="93"/>
                      </a:lnTo>
                      <a:lnTo>
                        <a:pt x="229" y="102"/>
                      </a:lnTo>
                      <a:lnTo>
                        <a:pt x="72" y="94"/>
                      </a:lnTo>
                      <a:lnTo>
                        <a:pt x="50" y="90"/>
                      </a:lnTo>
                      <a:lnTo>
                        <a:pt x="32" y="77"/>
                      </a:lnTo>
                      <a:lnTo>
                        <a:pt x="16" y="58"/>
                      </a:lnTo>
                      <a:lnTo>
                        <a:pt x="6" y="33"/>
                      </a:lnTo>
                      <a:lnTo>
                        <a:pt x="0" y="6"/>
                      </a:lnTo>
                      <a:lnTo>
                        <a:pt x="338" y="0"/>
                      </a:lnTo>
                      <a:close/>
                    </a:path>
                  </a:pathLst>
                </a:custGeom>
                <a:solidFill>
                  <a:srgbClr val="394856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58" name="Freeform 550"/>
                <p:cNvSpPr>
                  <a:spLocks/>
                </p:cNvSpPr>
                <p:nvPr/>
              </p:nvSpPr>
              <p:spPr bwMode="auto">
                <a:xfrm>
                  <a:off x="4914901" y="4419600"/>
                  <a:ext cx="506413" cy="957263"/>
                </a:xfrm>
                <a:custGeom>
                  <a:avLst/>
                  <a:gdLst>
                    <a:gd name="T0" fmla="*/ 307 w 319"/>
                    <a:gd name="T1" fmla="*/ 0 h 603"/>
                    <a:gd name="T2" fmla="*/ 316 w 319"/>
                    <a:gd name="T3" fmla="*/ 39 h 603"/>
                    <a:gd name="T4" fmla="*/ 319 w 319"/>
                    <a:gd name="T5" fmla="*/ 76 h 603"/>
                    <a:gd name="T6" fmla="*/ 318 w 319"/>
                    <a:gd name="T7" fmla="*/ 108 h 603"/>
                    <a:gd name="T8" fmla="*/ 312 w 319"/>
                    <a:gd name="T9" fmla="*/ 138 h 603"/>
                    <a:gd name="T10" fmla="*/ 302 w 319"/>
                    <a:gd name="T11" fmla="*/ 167 h 603"/>
                    <a:gd name="T12" fmla="*/ 287 w 319"/>
                    <a:gd name="T13" fmla="*/ 198 h 603"/>
                    <a:gd name="T14" fmla="*/ 268 w 319"/>
                    <a:gd name="T15" fmla="*/ 230 h 603"/>
                    <a:gd name="T16" fmla="*/ 246 w 319"/>
                    <a:gd name="T17" fmla="*/ 265 h 603"/>
                    <a:gd name="T18" fmla="*/ 222 w 319"/>
                    <a:gd name="T19" fmla="*/ 304 h 603"/>
                    <a:gd name="T20" fmla="*/ 192 w 319"/>
                    <a:gd name="T21" fmla="*/ 348 h 603"/>
                    <a:gd name="T22" fmla="*/ 160 w 319"/>
                    <a:gd name="T23" fmla="*/ 397 h 603"/>
                    <a:gd name="T24" fmla="*/ 139 w 319"/>
                    <a:gd name="T25" fmla="*/ 433 h 603"/>
                    <a:gd name="T26" fmla="*/ 118 w 319"/>
                    <a:gd name="T27" fmla="*/ 470 h 603"/>
                    <a:gd name="T28" fmla="*/ 99 w 319"/>
                    <a:gd name="T29" fmla="*/ 503 h 603"/>
                    <a:gd name="T30" fmla="*/ 83 w 319"/>
                    <a:gd name="T31" fmla="*/ 534 h 603"/>
                    <a:gd name="T32" fmla="*/ 67 w 319"/>
                    <a:gd name="T33" fmla="*/ 560 h 603"/>
                    <a:gd name="T34" fmla="*/ 53 w 319"/>
                    <a:gd name="T35" fmla="*/ 580 h 603"/>
                    <a:gd name="T36" fmla="*/ 41 w 319"/>
                    <a:gd name="T37" fmla="*/ 595 h 603"/>
                    <a:gd name="T38" fmla="*/ 30 w 319"/>
                    <a:gd name="T39" fmla="*/ 603 h 603"/>
                    <a:gd name="T40" fmla="*/ 21 w 319"/>
                    <a:gd name="T41" fmla="*/ 602 h 603"/>
                    <a:gd name="T42" fmla="*/ 11 w 319"/>
                    <a:gd name="T43" fmla="*/ 595 h 603"/>
                    <a:gd name="T44" fmla="*/ 3 w 319"/>
                    <a:gd name="T45" fmla="*/ 585 h 603"/>
                    <a:gd name="T46" fmla="*/ 0 w 319"/>
                    <a:gd name="T47" fmla="*/ 573 h 603"/>
                    <a:gd name="T48" fmla="*/ 2 w 319"/>
                    <a:gd name="T49" fmla="*/ 557 h 603"/>
                    <a:gd name="T50" fmla="*/ 6 w 319"/>
                    <a:gd name="T51" fmla="*/ 540 h 603"/>
                    <a:gd name="T52" fmla="*/ 16 w 319"/>
                    <a:gd name="T53" fmla="*/ 519 h 603"/>
                    <a:gd name="T54" fmla="*/ 31 w 319"/>
                    <a:gd name="T55" fmla="*/ 494 h 603"/>
                    <a:gd name="T56" fmla="*/ 46 w 319"/>
                    <a:gd name="T57" fmla="*/ 467 h 603"/>
                    <a:gd name="T58" fmla="*/ 60 w 319"/>
                    <a:gd name="T59" fmla="*/ 438 h 603"/>
                    <a:gd name="T60" fmla="*/ 75 w 319"/>
                    <a:gd name="T61" fmla="*/ 410 h 603"/>
                    <a:gd name="T62" fmla="*/ 88 w 319"/>
                    <a:gd name="T63" fmla="*/ 381 h 603"/>
                    <a:gd name="T64" fmla="*/ 101 w 319"/>
                    <a:gd name="T65" fmla="*/ 356 h 603"/>
                    <a:gd name="T66" fmla="*/ 111 w 319"/>
                    <a:gd name="T67" fmla="*/ 333 h 603"/>
                    <a:gd name="T68" fmla="*/ 120 w 319"/>
                    <a:gd name="T69" fmla="*/ 314 h 603"/>
                    <a:gd name="T70" fmla="*/ 127 w 319"/>
                    <a:gd name="T71" fmla="*/ 300 h 603"/>
                    <a:gd name="T72" fmla="*/ 131 w 319"/>
                    <a:gd name="T73" fmla="*/ 292 h 603"/>
                    <a:gd name="T74" fmla="*/ 152 w 319"/>
                    <a:gd name="T75" fmla="*/ 253 h 603"/>
                    <a:gd name="T76" fmla="*/ 166 w 319"/>
                    <a:gd name="T77" fmla="*/ 220 h 603"/>
                    <a:gd name="T78" fmla="*/ 178 w 319"/>
                    <a:gd name="T79" fmla="*/ 192 h 603"/>
                    <a:gd name="T80" fmla="*/ 185 w 319"/>
                    <a:gd name="T81" fmla="*/ 167 h 603"/>
                    <a:gd name="T82" fmla="*/ 188 w 319"/>
                    <a:gd name="T83" fmla="*/ 147 h 603"/>
                    <a:gd name="T84" fmla="*/ 190 w 319"/>
                    <a:gd name="T85" fmla="*/ 130 h 603"/>
                    <a:gd name="T86" fmla="*/ 188 w 319"/>
                    <a:gd name="T87" fmla="*/ 117 h 603"/>
                    <a:gd name="T88" fmla="*/ 185 w 319"/>
                    <a:gd name="T89" fmla="*/ 105 h 603"/>
                    <a:gd name="T90" fmla="*/ 181 w 319"/>
                    <a:gd name="T91" fmla="*/ 98 h 603"/>
                    <a:gd name="T92" fmla="*/ 176 w 319"/>
                    <a:gd name="T93" fmla="*/ 92 h 603"/>
                    <a:gd name="T94" fmla="*/ 171 w 319"/>
                    <a:gd name="T95" fmla="*/ 87 h 603"/>
                    <a:gd name="T96" fmla="*/ 166 w 319"/>
                    <a:gd name="T97" fmla="*/ 85 h 603"/>
                    <a:gd name="T98" fmla="*/ 162 w 319"/>
                    <a:gd name="T99" fmla="*/ 83 h 603"/>
                    <a:gd name="T100" fmla="*/ 159 w 319"/>
                    <a:gd name="T101" fmla="*/ 83 h 603"/>
                    <a:gd name="T102" fmla="*/ 158 w 319"/>
                    <a:gd name="T103" fmla="*/ 83 h 603"/>
                    <a:gd name="T104" fmla="*/ 174 w 319"/>
                    <a:gd name="T105" fmla="*/ 70 h 603"/>
                    <a:gd name="T106" fmla="*/ 192 w 319"/>
                    <a:gd name="T107" fmla="*/ 57 h 603"/>
                    <a:gd name="T108" fmla="*/ 214 w 319"/>
                    <a:gd name="T109" fmla="*/ 45 h 603"/>
                    <a:gd name="T110" fmla="*/ 236 w 319"/>
                    <a:gd name="T111" fmla="*/ 34 h 603"/>
                    <a:gd name="T112" fmla="*/ 258 w 319"/>
                    <a:gd name="T113" fmla="*/ 22 h 603"/>
                    <a:gd name="T114" fmla="*/ 277 w 319"/>
                    <a:gd name="T115" fmla="*/ 13 h 603"/>
                    <a:gd name="T116" fmla="*/ 293 w 319"/>
                    <a:gd name="T117" fmla="*/ 6 h 603"/>
                    <a:gd name="T118" fmla="*/ 303 w 319"/>
                    <a:gd name="T119" fmla="*/ 2 h 603"/>
                    <a:gd name="T120" fmla="*/ 307 w 319"/>
                    <a:gd name="T121" fmla="*/ 0 h 6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319" h="603">
                      <a:moveTo>
                        <a:pt x="307" y="0"/>
                      </a:moveTo>
                      <a:lnTo>
                        <a:pt x="316" y="39"/>
                      </a:lnTo>
                      <a:lnTo>
                        <a:pt x="319" y="76"/>
                      </a:lnTo>
                      <a:lnTo>
                        <a:pt x="318" y="108"/>
                      </a:lnTo>
                      <a:lnTo>
                        <a:pt x="312" y="138"/>
                      </a:lnTo>
                      <a:lnTo>
                        <a:pt x="302" y="167"/>
                      </a:lnTo>
                      <a:lnTo>
                        <a:pt x="287" y="198"/>
                      </a:lnTo>
                      <a:lnTo>
                        <a:pt x="268" y="230"/>
                      </a:lnTo>
                      <a:lnTo>
                        <a:pt x="246" y="265"/>
                      </a:lnTo>
                      <a:lnTo>
                        <a:pt x="222" y="304"/>
                      </a:lnTo>
                      <a:lnTo>
                        <a:pt x="192" y="348"/>
                      </a:lnTo>
                      <a:lnTo>
                        <a:pt x="160" y="397"/>
                      </a:lnTo>
                      <a:lnTo>
                        <a:pt x="139" y="433"/>
                      </a:lnTo>
                      <a:lnTo>
                        <a:pt x="118" y="470"/>
                      </a:lnTo>
                      <a:lnTo>
                        <a:pt x="99" y="503"/>
                      </a:lnTo>
                      <a:lnTo>
                        <a:pt x="83" y="534"/>
                      </a:lnTo>
                      <a:lnTo>
                        <a:pt x="67" y="560"/>
                      </a:lnTo>
                      <a:lnTo>
                        <a:pt x="53" y="580"/>
                      </a:lnTo>
                      <a:lnTo>
                        <a:pt x="41" y="595"/>
                      </a:lnTo>
                      <a:lnTo>
                        <a:pt x="30" y="603"/>
                      </a:lnTo>
                      <a:lnTo>
                        <a:pt x="21" y="602"/>
                      </a:lnTo>
                      <a:lnTo>
                        <a:pt x="11" y="595"/>
                      </a:lnTo>
                      <a:lnTo>
                        <a:pt x="3" y="585"/>
                      </a:lnTo>
                      <a:lnTo>
                        <a:pt x="0" y="573"/>
                      </a:lnTo>
                      <a:lnTo>
                        <a:pt x="2" y="557"/>
                      </a:lnTo>
                      <a:lnTo>
                        <a:pt x="6" y="540"/>
                      </a:lnTo>
                      <a:lnTo>
                        <a:pt x="16" y="519"/>
                      </a:lnTo>
                      <a:lnTo>
                        <a:pt x="31" y="494"/>
                      </a:lnTo>
                      <a:lnTo>
                        <a:pt x="46" y="467"/>
                      </a:lnTo>
                      <a:lnTo>
                        <a:pt x="60" y="438"/>
                      </a:lnTo>
                      <a:lnTo>
                        <a:pt x="75" y="410"/>
                      </a:lnTo>
                      <a:lnTo>
                        <a:pt x="88" y="381"/>
                      </a:lnTo>
                      <a:lnTo>
                        <a:pt x="101" y="356"/>
                      </a:lnTo>
                      <a:lnTo>
                        <a:pt x="111" y="333"/>
                      </a:lnTo>
                      <a:lnTo>
                        <a:pt x="120" y="314"/>
                      </a:lnTo>
                      <a:lnTo>
                        <a:pt x="127" y="300"/>
                      </a:lnTo>
                      <a:lnTo>
                        <a:pt x="131" y="292"/>
                      </a:lnTo>
                      <a:lnTo>
                        <a:pt x="152" y="253"/>
                      </a:lnTo>
                      <a:lnTo>
                        <a:pt x="166" y="220"/>
                      </a:lnTo>
                      <a:lnTo>
                        <a:pt x="178" y="192"/>
                      </a:lnTo>
                      <a:lnTo>
                        <a:pt x="185" y="167"/>
                      </a:lnTo>
                      <a:lnTo>
                        <a:pt x="188" y="147"/>
                      </a:lnTo>
                      <a:lnTo>
                        <a:pt x="190" y="130"/>
                      </a:lnTo>
                      <a:lnTo>
                        <a:pt x="188" y="117"/>
                      </a:lnTo>
                      <a:lnTo>
                        <a:pt x="185" y="105"/>
                      </a:lnTo>
                      <a:lnTo>
                        <a:pt x="181" y="98"/>
                      </a:lnTo>
                      <a:lnTo>
                        <a:pt x="176" y="92"/>
                      </a:lnTo>
                      <a:lnTo>
                        <a:pt x="171" y="87"/>
                      </a:lnTo>
                      <a:lnTo>
                        <a:pt x="166" y="85"/>
                      </a:lnTo>
                      <a:lnTo>
                        <a:pt x="162" y="83"/>
                      </a:lnTo>
                      <a:lnTo>
                        <a:pt x="159" y="83"/>
                      </a:lnTo>
                      <a:lnTo>
                        <a:pt x="158" y="83"/>
                      </a:lnTo>
                      <a:lnTo>
                        <a:pt x="174" y="70"/>
                      </a:lnTo>
                      <a:lnTo>
                        <a:pt x="192" y="57"/>
                      </a:lnTo>
                      <a:lnTo>
                        <a:pt x="214" y="45"/>
                      </a:lnTo>
                      <a:lnTo>
                        <a:pt x="236" y="34"/>
                      </a:lnTo>
                      <a:lnTo>
                        <a:pt x="258" y="22"/>
                      </a:lnTo>
                      <a:lnTo>
                        <a:pt x="277" y="13"/>
                      </a:lnTo>
                      <a:lnTo>
                        <a:pt x="293" y="6"/>
                      </a:lnTo>
                      <a:lnTo>
                        <a:pt x="303" y="2"/>
                      </a:lnTo>
                      <a:lnTo>
                        <a:pt x="307" y="0"/>
                      </a:lnTo>
                      <a:close/>
                    </a:path>
                  </a:pathLst>
                </a:custGeom>
                <a:solidFill>
                  <a:srgbClr val="394856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59" name="Freeform 551"/>
                <p:cNvSpPr>
                  <a:spLocks/>
                </p:cNvSpPr>
                <p:nvPr/>
              </p:nvSpPr>
              <p:spPr bwMode="auto">
                <a:xfrm>
                  <a:off x="5003801" y="5334000"/>
                  <a:ext cx="1588" cy="1588"/>
                </a:xfrm>
                <a:custGeom>
                  <a:avLst/>
                  <a:gdLst>
                    <a:gd name="T0" fmla="*/ 1 w 1"/>
                    <a:gd name="T1" fmla="*/ 0 h 1"/>
                    <a:gd name="T2" fmla="*/ 0 w 1"/>
                    <a:gd name="T3" fmla="*/ 1 h 1"/>
                    <a:gd name="T4" fmla="*/ 0 w 1"/>
                    <a:gd name="T5" fmla="*/ 0 h 1"/>
                    <a:gd name="T6" fmla="*/ 1 w 1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solidFill>
                  <a:srgbClr val="C09E83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60" name="Freeform 552"/>
                <p:cNvSpPr>
                  <a:spLocks/>
                </p:cNvSpPr>
                <p:nvPr/>
              </p:nvSpPr>
              <p:spPr bwMode="auto">
                <a:xfrm>
                  <a:off x="5202238" y="4872038"/>
                  <a:ext cx="82550" cy="127000"/>
                </a:xfrm>
                <a:custGeom>
                  <a:avLst/>
                  <a:gdLst>
                    <a:gd name="T0" fmla="*/ 52 w 52"/>
                    <a:gd name="T1" fmla="*/ 0 h 80"/>
                    <a:gd name="T2" fmla="*/ 27 w 52"/>
                    <a:gd name="T3" fmla="*/ 39 h 80"/>
                    <a:gd name="T4" fmla="*/ 0 w 52"/>
                    <a:gd name="T5" fmla="*/ 80 h 80"/>
                    <a:gd name="T6" fmla="*/ 27 w 52"/>
                    <a:gd name="T7" fmla="*/ 38 h 80"/>
                    <a:gd name="T8" fmla="*/ 52 w 52"/>
                    <a:gd name="T9" fmla="*/ 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2" h="80">
                      <a:moveTo>
                        <a:pt x="52" y="0"/>
                      </a:moveTo>
                      <a:lnTo>
                        <a:pt x="27" y="39"/>
                      </a:lnTo>
                      <a:lnTo>
                        <a:pt x="0" y="80"/>
                      </a:lnTo>
                      <a:lnTo>
                        <a:pt x="27" y="38"/>
                      </a:lnTo>
                      <a:lnTo>
                        <a:pt x="52" y="0"/>
                      </a:lnTo>
                      <a:close/>
                    </a:path>
                  </a:pathLst>
                </a:custGeom>
                <a:solidFill>
                  <a:srgbClr val="FFDEB6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61" name="Freeform 553"/>
                <p:cNvSpPr>
                  <a:spLocks/>
                </p:cNvSpPr>
                <p:nvPr/>
              </p:nvSpPr>
              <p:spPr bwMode="auto">
                <a:xfrm>
                  <a:off x="4810126" y="4443413"/>
                  <a:ext cx="84138" cy="47625"/>
                </a:xfrm>
                <a:custGeom>
                  <a:avLst/>
                  <a:gdLst>
                    <a:gd name="T0" fmla="*/ 20 w 53"/>
                    <a:gd name="T1" fmla="*/ 0 h 30"/>
                    <a:gd name="T2" fmla="*/ 21 w 53"/>
                    <a:gd name="T3" fmla="*/ 0 h 30"/>
                    <a:gd name="T4" fmla="*/ 26 w 53"/>
                    <a:gd name="T5" fmla="*/ 0 h 30"/>
                    <a:gd name="T6" fmla="*/ 32 w 53"/>
                    <a:gd name="T7" fmla="*/ 0 h 30"/>
                    <a:gd name="T8" fmla="*/ 39 w 53"/>
                    <a:gd name="T9" fmla="*/ 0 h 30"/>
                    <a:gd name="T10" fmla="*/ 45 w 53"/>
                    <a:gd name="T11" fmla="*/ 16 h 30"/>
                    <a:gd name="T12" fmla="*/ 53 w 53"/>
                    <a:gd name="T13" fmla="*/ 30 h 30"/>
                    <a:gd name="T14" fmla="*/ 0 w 53"/>
                    <a:gd name="T15" fmla="*/ 29 h 30"/>
                    <a:gd name="T16" fmla="*/ 2 w 53"/>
                    <a:gd name="T17" fmla="*/ 26 h 30"/>
                    <a:gd name="T18" fmla="*/ 7 w 53"/>
                    <a:gd name="T19" fmla="*/ 19 h 30"/>
                    <a:gd name="T20" fmla="*/ 13 w 53"/>
                    <a:gd name="T21" fmla="*/ 10 h 30"/>
                    <a:gd name="T22" fmla="*/ 17 w 53"/>
                    <a:gd name="T23" fmla="*/ 3 h 30"/>
                    <a:gd name="T24" fmla="*/ 20 w 53"/>
                    <a:gd name="T25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53" h="30">
                      <a:moveTo>
                        <a:pt x="20" y="0"/>
                      </a:moveTo>
                      <a:lnTo>
                        <a:pt x="21" y="0"/>
                      </a:lnTo>
                      <a:lnTo>
                        <a:pt x="26" y="0"/>
                      </a:lnTo>
                      <a:lnTo>
                        <a:pt x="32" y="0"/>
                      </a:lnTo>
                      <a:lnTo>
                        <a:pt x="39" y="0"/>
                      </a:lnTo>
                      <a:lnTo>
                        <a:pt x="45" y="16"/>
                      </a:lnTo>
                      <a:lnTo>
                        <a:pt x="53" y="30"/>
                      </a:lnTo>
                      <a:lnTo>
                        <a:pt x="0" y="29"/>
                      </a:lnTo>
                      <a:lnTo>
                        <a:pt x="2" y="26"/>
                      </a:lnTo>
                      <a:lnTo>
                        <a:pt x="7" y="19"/>
                      </a:lnTo>
                      <a:lnTo>
                        <a:pt x="13" y="10"/>
                      </a:lnTo>
                      <a:lnTo>
                        <a:pt x="17" y="3"/>
                      </a:lnTo>
                      <a:lnTo>
                        <a:pt x="20" y="0"/>
                      </a:lnTo>
                      <a:close/>
                    </a:path>
                  </a:pathLst>
                </a:custGeom>
                <a:solidFill>
                  <a:srgbClr val="393F3D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62" name="Freeform 554"/>
                <p:cNvSpPr>
                  <a:spLocks/>
                </p:cNvSpPr>
                <p:nvPr/>
              </p:nvSpPr>
              <p:spPr bwMode="auto">
                <a:xfrm>
                  <a:off x="4872038" y="4443413"/>
                  <a:ext cx="463550" cy="73025"/>
                </a:xfrm>
                <a:custGeom>
                  <a:avLst/>
                  <a:gdLst>
                    <a:gd name="T0" fmla="*/ 0 w 292"/>
                    <a:gd name="T1" fmla="*/ 0 h 46"/>
                    <a:gd name="T2" fmla="*/ 25 w 292"/>
                    <a:gd name="T3" fmla="*/ 0 h 46"/>
                    <a:gd name="T4" fmla="*/ 57 w 292"/>
                    <a:gd name="T5" fmla="*/ 1 h 46"/>
                    <a:gd name="T6" fmla="*/ 93 w 292"/>
                    <a:gd name="T7" fmla="*/ 1 h 46"/>
                    <a:gd name="T8" fmla="*/ 134 w 292"/>
                    <a:gd name="T9" fmla="*/ 3 h 46"/>
                    <a:gd name="T10" fmla="*/ 174 w 292"/>
                    <a:gd name="T11" fmla="*/ 3 h 46"/>
                    <a:gd name="T12" fmla="*/ 215 w 292"/>
                    <a:gd name="T13" fmla="*/ 3 h 46"/>
                    <a:gd name="T14" fmla="*/ 253 w 292"/>
                    <a:gd name="T15" fmla="*/ 4 h 46"/>
                    <a:gd name="T16" fmla="*/ 286 w 292"/>
                    <a:gd name="T17" fmla="*/ 4 h 46"/>
                    <a:gd name="T18" fmla="*/ 292 w 292"/>
                    <a:gd name="T19" fmla="*/ 4 h 46"/>
                    <a:gd name="T20" fmla="*/ 266 w 292"/>
                    <a:gd name="T21" fmla="*/ 16 h 46"/>
                    <a:gd name="T22" fmla="*/ 238 w 292"/>
                    <a:gd name="T23" fmla="*/ 30 h 46"/>
                    <a:gd name="T24" fmla="*/ 212 w 292"/>
                    <a:gd name="T25" fmla="*/ 46 h 46"/>
                    <a:gd name="T26" fmla="*/ 173 w 292"/>
                    <a:gd name="T27" fmla="*/ 40 h 46"/>
                    <a:gd name="T28" fmla="*/ 126 w 292"/>
                    <a:gd name="T29" fmla="*/ 36 h 46"/>
                    <a:gd name="T30" fmla="*/ 74 w 292"/>
                    <a:gd name="T31" fmla="*/ 32 h 46"/>
                    <a:gd name="T32" fmla="*/ 14 w 292"/>
                    <a:gd name="T33" fmla="*/ 30 h 46"/>
                    <a:gd name="T34" fmla="*/ 6 w 292"/>
                    <a:gd name="T35" fmla="*/ 16 h 46"/>
                    <a:gd name="T36" fmla="*/ 0 w 292"/>
                    <a:gd name="T37" fmla="*/ 0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292" h="46">
                      <a:moveTo>
                        <a:pt x="0" y="0"/>
                      </a:moveTo>
                      <a:lnTo>
                        <a:pt x="25" y="0"/>
                      </a:lnTo>
                      <a:lnTo>
                        <a:pt x="57" y="1"/>
                      </a:lnTo>
                      <a:lnTo>
                        <a:pt x="93" y="1"/>
                      </a:lnTo>
                      <a:lnTo>
                        <a:pt x="134" y="3"/>
                      </a:lnTo>
                      <a:lnTo>
                        <a:pt x="174" y="3"/>
                      </a:lnTo>
                      <a:lnTo>
                        <a:pt x="215" y="3"/>
                      </a:lnTo>
                      <a:lnTo>
                        <a:pt x="253" y="4"/>
                      </a:lnTo>
                      <a:lnTo>
                        <a:pt x="286" y="4"/>
                      </a:lnTo>
                      <a:lnTo>
                        <a:pt x="292" y="4"/>
                      </a:lnTo>
                      <a:lnTo>
                        <a:pt x="266" y="16"/>
                      </a:lnTo>
                      <a:lnTo>
                        <a:pt x="238" y="30"/>
                      </a:lnTo>
                      <a:lnTo>
                        <a:pt x="212" y="46"/>
                      </a:lnTo>
                      <a:lnTo>
                        <a:pt x="173" y="40"/>
                      </a:lnTo>
                      <a:lnTo>
                        <a:pt x="126" y="36"/>
                      </a:lnTo>
                      <a:lnTo>
                        <a:pt x="74" y="32"/>
                      </a:lnTo>
                      <a:lnTo>
                        <a:pt x="14" y="30"/>
                      </a:lnTo>
                      <a:lnTo>
                        <a:pt x="6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393F3D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63" name="Freeform 555"/>
                <p:cNvSpPr>
                  <a:spLocks/>
                </p:cNvSpPr>
                <p:nvPr/>
              </p:nvSpPr>
              <p:spPr bwMode="auto">
                <a:xfrm>
                  <a:off x="4984751" y="4448175"/>
                  <a:ext cx="434975" cy="885825"/>
                </a:xfrm>
                <a:custGeom>
                  <a:avLst/>
                  <a:gdLst>
                    <a:gd name="T0" fmla="*/ 266 w 274"/>
                    <a:gd name="T1" fmla="*/ 0 h 558"/>
                    <a:gd name="T2" fmla="*/ 271 w 274"/>
                    <a:gd name="T3" fmla="*/ 23 h 558"/>
                    <a:gd name="T4" fmla="*/ 272 w 274"/>
                    <a:gd name="T5" fmla="*/ 43 h 558"/>
                    <a:gd name="T6" fmla="*/ 274 w 274"/>
                    <a:gd name="T7" fmla="*/ 61 h 558"/>
                    <a:gd name="T8" fmla="*/ 274 w 274"/>
                    <a:gd name="T9" fmla="*/ 72 h 558"/>
                    <a:gd name="T10" fmla="*/ 274 w 274"/>
                    <a:gd name="T11" fmla="*/ 77 h 558"/>
                    <a:gd name="T12" fmla="*/ 269 w 274"/>
                    <a:gd name="T13" fmla="*/ 109 h 558"/>
                    <a:gd name="T14" fmla="*/ 258 w 274"/>
                    <a:gd name="T15" fmla="*/ 145 h 558"/>
                    <a:gd name="T16" fmla="*/ 240 w 274"/>
                    <a:gd name="T17" fmla="*/ 183 h 558"/>
                    <a:gd name="T18" fmla="*/ 217 w 274"/>
                    <a:gd name="T19" fmla="*/ 224 h 558"/>
                    <a:gd name="T20" fmla="*/ 189 w 274"/>
                    <a:gd name="T21" fmla="*/ 267 h 558"/>
                    <a:gd name="T22" fmla="*/ 164 w 274"/>
                    <a:gd name="T23" fmla="*/ 305 h 558"/>
                    <a:gd name="T24" fmla="*/ 137 w 274"/>
                    <a:gd name="T25" fmla="*/ 347 h 558"/>
                    <a:gd name="T26" fmla="*/ 96 w 274"/>
                    <a:gd name="T27" fmla="*/ 411 h 558"/>
                    <a:gd name="T28" fmla="*/ 54 w 274"/>
                    <a:gd name="T29" fmla="*/ 481 h 558"/>
                    <a:gd name="T30" fmla="*/ 13 w 274"/>
                    <a:gd name="T31" fmla="*/ 558 h 558"/>
                    <a:gd name="T32" fmla="*/ 13 w 274"/>
                    <a:gd name="T33" fmla="*/ 558 h 558"/>
                    <a:gd name="T34" fmla="*/ 12 w 274"/>
                    <a:gd name="T35" fmla="*/ 558 h 558"/>
                    <a:gd name="T36" fmla="*/ 6 w 274"/>
                    <a:gd name="T37" fmla="*/ 549 h 558"/>
                    <a:gd name="T38" fmla="*/ 0 w 274"/>
                    <a:gd name="T39" fmla="*/ 540 h 558"/>
                    <a:gd name="T40" fmla="*/ 35 w 274"/>
                    <a:gd name="T41" fmla="*/ 485 h 558"/>
                    <a:gd name="T42" fmla="*/ 68 w 274"/>
                    <a:gd name="T43" fmla="*/ 428 h 558"/>
                    <a:gd name="T44" fmla="*/ 100 w 274"/>
                    <a:gd name="T45" fmla="*/ 370 h 558"/>
                    <a:gd name="T46" fmla="*/ 115 w 274"/>
                    <a:gd name="T47" fmla="*/ 346 h 558"/>
                    <a:gd name="T48" fmla="*/ 128 w 274"/>
                    <a:gd name="T49" fmla="*/ 324 h 558"/>
                    <a:gd name="T50" fmla="*/ 141 w 274"/>
                    <a:gd name="T51" fmla="*/ 303 h 558"/>
                    <a:gd name="T52" fmla="*/ 154 w 274"/>
                    <a:gd name="T53" fmla="*/ 277 h 558"/>
                    <a:gd name="T54" fmla="*/ 162 w 274"/>
                    <a:gd name="T55" fmla="*/ 260 h 558"/>
                    <a:gd name="T56" fmla="*/ 172 w 274"/>
                    <a:gd name="T57" fmla="*/ 238 h 558"/>
                    <a:gd name="T58" fmla="*/ 183 w 274"/>
                    <a:gd name="T59" fmla="*/ 212 h 558"/>
                    <a:gd name="T60" fmla="*/ 196 w 274"/>
                    <a:gd name="T61" fmla="*/ 184 h 558"/>
                    <a:gd name="T62" fmla="*/ 208 w 274"/>
                    <a:gd name="T63" fmla="*/ 157 h 558"/>
                    <a:gd name="T64" fmla="*/ 217 w 274"/>
                    <a:gd name="T65" fmla="*/ 129 h 558"/>
                    <a:gd name="T66" fmla="*/ 226 w 274"/>
                    <a:gd name="T67" fmla="*/ 104 h 558"/>
                    <a:gd name="T68" fmla="*/ 230 w 274"/>
                    <a:gd name="T69" fmla="*/ 83 h 558"/>
                    <a:gd name="T70" fmla="*/ 227 w 274"/>
                    <a:gd name="T71" fmla="*/ 74 h 558"/>
                    <a:gd name="T72" fmla="*/ 217 w 274"/>
                    <a:gd name="T73" fmla="*/ 65 h 558"/>
                    <a:gd name="T74" fmla="*/ 199 w 274"/>
                    <a:gd name="T75" fmla="*/ 58 h 558"/>
                    <a:gd name="T76" fmla="*/ 175 w 274"/>
                    <a:gd name="T77" fmla="*/ 49 h 558"/>
                    <a:gd name="T78" fmla="*/ 141 w 274"/>
                    <a:gd name="T79" fmla="*/ 43 h 558"/>
                    <a:gd name="T80" fmla="*/ 167 w 274"/>
                    <a:gd name="T81" fmla="*/ 27 h 558"/>
                    <a:gd name="T82" fmla="*/ 195 w 274"/>
                    <a:gd name="T83" fmla="*/ 13 h 558"/>
                    <a:gd name="T84" fmla="*/ 221 w 274"/>
                    <a:gd name="T85" fmla="*/ 1 h 558"/>
                    <a:gd name="T86" fmla="*/ 244 w 274"/>
                    <a:gd name="T87" fmla="*/ 1 h 558"/>
                    <a:gd name="T88" fmla="*/ 259 w 274"/>
                    <a:gd name="T89" fmla="*/ 0 h 558"/>
                    <a:gd name="T90" fmla="*/ 266 w 274"/>
                    <a:gd name="T91" fmla="*/ 0 h 5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274" h="558">
                      <a:moveTo>
                        <a:pt x="266" y="0"/>
                      </a:moveTo>
                      <a:lnTo>
                        <a:pt x="271" y="23"/>
                      </a:lnTo>
                      <a:lnTo>
                        <a:pt x="272" y="43"/>
                      </a:lnTo>
                      <a:lnTo>
                        <a:pt x="274" y="61"/>
                      </a:lnTo>
                      <a:lnTo>
                        <a:pt x="274" y="72"/>
                      </a:lnTo>
                      <a:lnTo>
                        <a:pt x="274" y="77"/>
                      </a:lnTo>
                      <a:lnTo>
                        <a:pt x="269" y="109"/>
                      </a:lnTo>
                      <a:lnTo>
                        <a:pt x="258" y="145"/>
                      </a:lnTo>
                      <a:lnTo>
                        <a:pt x="240" y="183"/>
                      </a:lnTo>
                      <a:lnTo>
                        <a:pt x="217" y="224"/>
                      </a:lnTo>
                      <a:lnTo>
                        <a:pt x="189" y="267"/>
                      </a:lnTo>
                      <a:lnTo>
                        <a:pt x="164" y="305"/>
                      </a:lnTo>
                      <a:lnTo>
                        <a:pt x="137" y="347"/>
                      </a:lnTo>
                      <a:lnTo>
                        <a:pt x="96" y="411"/>
                      </a:lnTo>
                      <a:lnTo>
                        <a:pt x="54" y="481"/>
                      </a:lnTo>
                      <a:lnTo>
                        <a:pt x="13" y="558"/>
                      </a:lnTo>
                      <a:lnTo>
                        <a:pt x="13" y="558"/>
                      </a:lnTo>
                      <a:lnTo>
                        <a:pt x="12" y="558"/>
                      </a:lnTo>
                      <a:lnTo>
                        <a:pt x="6" y="549"/>
                      </a:lnTo>
                      <a:lnTo>
                        <a:pt x="0" y="540"/>
                      </a:lnTo>
                      <a:lnTo>
                        <a:pt x="35" y="485"/>
                      </a:lnTo>
                      <a:lnTo>
                        <a:pt x="68" y="428"/>
                      </a:lnTo>
                      <a:lnTo>
                        <a:pt x="100" y="370"/>
                      </a:lnTo>
                      <a:lnTo>
                        <a:pt x="115" y="346"/>
                      </a:lnTo>
                      <a:lnTo>
                        <a:pt x="128" y="324"/>
                      </a:lnTo>
                      <a:lnTo>
                        <a:pt x="141" y="303"/>
                      </a:lnTo>
                      <a:lnTo>
                        <a:pt x="154" y="277"/>
                      </a:lnTo>
                      <a:lnTo>
                        <a:pt x="162" y="260"/>
                      </a:lnTo>
                      <a:lnTo>
                        <a:pt x="172" y="238"/>
                      </a:lnTo>
                      <a:lnTo>
                        <a:pt x="183" y="212"/>
                      </a:lnTo>
                      <a:lnTo>
                        <a:pt x="196" y="184"/>
                      </a:lnTo>
                      <a:lnTo>
                        <a:pt x="208" y="157"/>
                      </a:lnTo>
                      <a:lnTo>
                        <a:pt x="217" y="129"/>
                      </a:lnTo>
                      <a:lnTo>
                        <a:pt x="226" y="104"/>
                      </a:lnTo>
                      <a:lnTo>
                        <a:pt x="230" y="83"/>
                      </a:lnTo>
                      <a:lnTo>
                        <a:pt x="227" y="74"/>
                      </a:lnTo>
                      <a:lnTo>
                        <a:pt x="217" y="65"/>
                      </a:lnTo>
                      <a:lnTo>
                        <a:pt x="199" y="58"/>
                      </a:lnTo>
                      <a:lnTo>
                        <a:pt x="175" y="49"/>
                      </a:lnTo>
                      <a:lnTo>
                        <a:pt x="141" y="43"/>
                      </a:lnTo>
                      <a:lnTo>
                        <a:pt x="167" y="27"/>
                      </a:lnTo>
                      <a:lnTo>
                        <a:pt x="195" y="13"/>
                      </a:lnTo>
                      <a:lnTo>
                        <a:pt x="221" y="1"/>
                      </a:lnTo>
                      <a:lnTo>
                        <a:pt x="244" y="1"/>
                      </a:lnTo>
                      <a:lnTo>
                        <a:pt x="259" y="0"/>
                      </a:lnTo>
                      <a:lnTo>
                        <a:pt x="266" y="0"/>
                      </a:lnTo>
                      <a:close/>
                    </a:path>
                  </a:pathLst>
                </a:custGeom>
                <a:solidFill>
                  <a:srgbClr val="393F3D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64" name="Freeform 556"/>
                <p:cNvSpPr>
                  <a:spLocks/>
                </p:cNvSpPr>
                <p:nvPr/>
              </p:nvSpPr>
              <p:spPr bwMode="auto">
                <a:xfrm>
                  <a:off x="4851401" y="5268913"/>
                  <a:ext cx="161925" cy="130175"/>
                </a:xfrm>
                <a:custGeom>
                  <a:avLst/>
                  <a:gdLst>
                    <a:gd name="T0" fmla="*/ 38 w 102"/>
                    <a:gd name="T1" fmla="*/ 0 h 82"/>
                    <a:gd name="T2" fmla="*/ 55 w 102"/>
                    <a:gd name="T3" fmla="*/ 3 h 82"/>
                    <a:gd name="T4" fmla="*/ 71 w 102"/>
                    <a:gd name="T5" fmla="*/ 12 h 82"/>
                    <a:gd name="T6" fmla="*/ 84 w 102"/>
                    <a:gd name="T7" fmla="*/ 25 h 82"/>
                    <a:gd name="T8" fmla="*/ 94 w 102"/>
                    <a:gd name="T9" fmla="*/ 38 h 82"/>
                    <a:gd name="T10" fmla="*/ 100 w 102"/>
                    <a:gd name="T11" fmla="*/ 54 h 82"/>
                    <a:gd name="T12" fmla="*/ 102 w 102"/>
                    <a:gd name="T13" fmla="*/ 68 h 82"/>
                    <a:gd name="T14" fmla="*/ 97 w 102"/>
                    <a:gd name="T15" fmla="*/ 82 h 82"/>
                    <a:gd name="T16" fmla="*/ 0 w 102"/>
                    <a:gd name="T17" fmla="*/ 16 h 82"/>
                    <a:gd name="T18" fmla="*/ 10 w 102"/>
                    <a:gd name="T19" fmla="*/ 6 h 82"/>
                    <a:gd name="T20" fmla="*/ 23 w 102"/>
                    <a:gd name="T21" fmla="*/ 0 h 82"/>
                    <a:gd name="T22" fmla="*/ 38 w 102"/>
                    <a:gd name="T23" fmla="*/ 0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02" h="82">
                      <a:moveTo>
                        <a:pt x="38" y="0"/>
                      </a:moveTo>
                      <a:lnTo>
                        <a:pt x="55" y="3"/>
                      </a:lnTo>
                      <a:lnTo>
                        <a:pt x="71" y="12"/>
                      </a:lnTo>
                      <a:lnTo>
                        <a:pt x="84" y="25"/>
                      </a:lnTo>
                      <a:lnTo>
                        <a:pt x="94" y="38"/>
                      </a:lnTo>
                      <a:lnTo>
                        <a:pt x="100" y="54"/>
                      </a:lnTo>
                      <a:lnTo>
                        <a:pt x="102" y="68"/>
                      </a:lnTo>
                      <a:lnTo>
                        <a:pt x="97" y="82"/>
                      </a:lnTo>
                      <a:lnTo>
                        <a:pt x="0" y="16"/>
                      </a:lnTo>
                      <a:lnTo>
                        <a:pt x="10" y="6"/>
                      </a:lnTo>
                      <a:lnTo>
                        <a:pt x="23" y="0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B05D3B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65" name="Freeform 557"/>
                <p:cNvSpPr>
                  <a:spLocks/>
                </p:cNvSpPr>
                <p:nvPr/>
              </p:nvSpPr>
              <p:spPr bwMode="auto">
                <a:xfrm>
                  <a:off x="4832351" y="5292725"/>
                  <a:ext cx="180975" cy="134938"/>
                </a:xfrm>
                <a:custGeom>
                  <a:avLst/>
                  <a:gdLst>
                    <a:gd name="T0" fmla="*/ 10 w 114"/>
                    <a:gd name="T1" fmla="*/ 0 h 85"/>
                    <a:gd name="T2" fmla="*/ 13 w 114"/>
                    <a:gd name="T3" fmla="*/ 1 h 85"/>
                    <a:gd name="T4" fmla="*/ 111 w 114"/>
                    <a:gd name="T5" fmla="*/ 68 h 85"/>
                    <a:gd name="T6" fmla="*/ 112 w 114"/>
                    <a:gd name="T7" fmla="*/ 71 h 85"/>
                    <a:gd name="T8" fmla="*/ 114 w 114"/>
                    <a:gd name="T9" fmla="*/ 74 h 85"/>
                    <a:gd name="T10" fmla="*/ 114 w 114"/>
                    <a:gd name="T11" fmla="*/ 77 h 85"/>
                    <a:gd name="T12" fmla="*/ 112 w 114"/>
                    <a:gd name="T13" fmla="*/ 81 h 85"/>
                    <a:gd name="T14" fmla="*/ 109 w 114"/>
                    <a:gd name="T15" fmla="*/ 84 h 85"/>
                    <a:gd name="T16" fmla="*/ 106 w 114"/>
                    <a:gd name="T17" fmla="*/ 85 h 85"/>
                    <a:gd name="T18" fmla="*/ 103 w 114"/>
                    <a:gd name="T19" fmla="*/ 85 h 85"/>
                    <a:gd name="T20" fmla="*/ 100 w 114"/>
                    <a:gd name="T21" fmla="*/ 84 h 85"/>
                    <a:gd name="T22" fmla="*/ 3 w 114"/>
                    <a:gd name="T23" fmla="*/ 17 h 85"/>
                    <a:gd name="T24" fmla="*/ 0 w 114"/>
                    <a:gd name="T25" fmla="*/ 14 h 85"/>
                    <a:gd name="T26" fmla="*/ 0 w 114"/>
                    <a:gd name="T27" fmla="*/ 11 h 85"/>
                    <a:gd name="T28" fmla="*/ 0 w 114"/>
                    <a:gd name="T29" fmla="*/ 8 h 85"/>
                    <a:gd name="T30" fmla="*/ 2 w 114"/>
                    <a:gd name="T31" fmla="*/ 4 h 85"/>
                    <a:gd name="T32" fmla="*/ 3 w 114"/>
                    <a:gd name="T33" fmla="*/ 3 h 85"/>
                    <a:gd name="T34" fmla="*/ 6 w 114"/>
                    <a:gd name="T35" fmla="*/ 0 h 85"/>
                    <a:gd name="T36" fmla="*/ 10 w 114"/>
                    <a:gd name="T37" fmla="*/ 0 h 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14" h="85">
                      <a:moveTo>
                        <a:pt x="10" y="0"/>
                      </a:moveTo>
                      <a:lnTo>
                        <a:pt x="13" y="1"/>
                      </a:lnTo>
                      <a:lnTo>
                        <a:pt x="111" y="68"/>
                      </a:lnTo>
                      <a:lnTo>
                        <a:pt x="112" y="71"/>
                      </a:lnTo>
                      <a:lnTo>
                        <a:pt x="114" y="74"/>
                      </a:lnTo>
                      <a:lnTo>
                        <a:pt x="114" y="77"/>
                      </a:lnTo>
                      <a:lnTo>
                        <a:pt x="112" y="81"/>
                      </a:lnTo>
                      <a:lnTo>
                        <a:pt x="109" y="84"/>
                      </a:lnTo>
                      <a:lnTo>
                        <a:pt x="106" y="85"/>
                      </a:lnTo>
                      <a:lnTo>
                        <a:pt x="103" y="85"/>
                      </a:lnTo>
                      <a:lnTo>
                        <a:pt x="100" y="84"/>
                      </a:lnTo>
                      <a:lnTo>
                        <a:pt x="3" y="17"/>
                      </a:lnTo>
                      <a:lnTo>
                        <a:pt x="0" y="14"/>
                      </a:lnTo>
                      <a:lnTo>
                        <a:pt x="0" y="11"/>
                      </a:lnTo>
                      <a:lnTo>
                        <a:pt x="0" y="8"/>
                      </a:lnTo>
                      <a:lnTo>
                        <a:pt x="2" y="4"/>
                      </a:lnTo>
                      <a:lnTo>
                        <a:pt x="3" y="3"/>
                      </a:lnTo>
                      <a:lnTo>
                        <a:pt x="6" y="0"/>
                      </a:lnTo>
                      <a:lnTo>
                        <a:pt x="10" y="0"/>
                      </a:lnTo>
                      <a:close/>
                    </a:path>
                  </a:pathLst>
                </a:custGeom>
                <a:solidFill>
                  <a:srgbClr val="38485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66" name="Freeform 558"/>
                <p:cNvSpPr>
                  <a:spLocks noEditPoints="1"/>
                </p:cNvSpPr>
                <p:nvPr/>
              </p:nvSpPr>
              <p:spPr bwMode="auto">
                <a:xfrm>
                  <a:off x="4949826" y="5360988"/>
                  <a:ext cx="60325" cy="66675"/>
                </a:xfrm>
                <a:custGeom>
                  <a:avLst/>
                  <a:gdLst>
                    <a:gd name="T0" fmla="*/ 37 w 38"/>
                    <a:gd name="T1" fmla="*/ 38 h 42"/>
                    <a:gd name="T2" fmla="*/ 35 w 38"/>
                    <a:gd name="T3" fmla="*/ 41 h 42"/>
                    <a:gd name="T4" fmla="*/ 32 w 38"/>
                    <a:gd name="T5" fmla="*/ 42 h 42"/>
                    <a:gd name="T6" fmla="*/ 35 w 38"/>
                    <a:gd name="T7" fmla="*/ 41 h 42"/>
                    <a:gd name="T8" fmla="*/ 37 w 38"/>
                    <a:gd name="T9" fmla="*/ 38 h 42"/>
                    <a:gd name="T10" fmla="*/ 35 w 38"/>
                    <a:gd name="T11" fmla="*/ 24 h 42"/>
                    <a:gd name="T12" fmla="*/ 37 w 38"/>
                    <a:gd name="T13" fmla="*/ 25 h 42"/>
                    <a:gd name="T14" fmla="*/ 35 w 38"/>
                    <a:gd name="T15" fmla="*/ 24 h 42"/>
                    <a:gd name="T16" fmla="*/ 35 w 38"/>
                    <a:gd name="T17" fmla="*/ 24 h 42"/>
                    <a:gd name="T18" fmla="*/ 0 w 38"/>
                    <a:gd name="T19" fmla="*/ 24 h 42"/>
                    <a:gd name="T20" fmla="*/ 26 w 38"/>
                    <a:gd name="T21" fmla="*/ 41 h 42"/>
                    <a:gd name="T22" fmla="*/ 0 w 38"/>
                    <a:gd name="T23" fmla="*/ 24 h 42"/>
                    <a:gd name="T24" fmla="*/ 0 w 38"/>
                    <a:gd name="T25" fmla="*/ 24 h 42"/>
                    <a:gd name="T26" fmla="*/ 15 w 38"/>
                    <a:gd name="T27" fmla="*/ 10 h 42"/>
                    <a:gd name="T28" fmla="*/ 35 w 38"/>
                    <a:gd name="T29" fmla="*/ 24 h 42"/>
                    <a:gd name="T30" fmla="*/ 35 w 38"/>
                    <a:gd name="T31" fmla="*/ 24 h 42"/>
                    <a:gd name="T32" fmla="*/ 15 w 38"/>
                    <a:gd name="T33" fmla="*/ 10 h 42"/>
                    <a:gd name="T34" fmla="*/ 38 w 38"/>
                    <a:gd name="T35" fmla="*/ 0 h 42"/>
                    <a:gd name="T36" fmla="*/ 38 w 38"/>
                    <a:gd name="T37" fmla="*/ 0 h 42"/>
                    <a:gd name="T38" fmla="*/ 38 w 38"/>
                    <a:gd name="T39" fmla="*/ 12 h 42"/>
                    <a:gd name="T40" fmla="*/ 35 w 38"/>
                    <a:gd name="T41" fmla="*/ 24 h 42"/>
                    <a:gd name="T42" fmla="*/ 38 w 38"/>
                    <a:gd name="T43" fmla="*/ 12 h 42"/>
                    <a:gd name="T44" fmla="*/ 38 w 38"/>
                    <a:gd name="T45" fmla="*/ 0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38" h="42">
                      <a:moveTo>
                        <a:pt x="37" y="38"/>
                      </a:moveTo>
                      <a:lnTo>
                        <a:pt x="35" y="41"/>
                      </a:lnTo>
                      <a:lnTo>
                        <a:pt x="32" y="42"/>
                      </a:lnTo>
                      <a:lnTo>
                        <a:pt x="35" y="41"/>
                      </a:lnTo>
                      <a:lnTo>
                        <a:pt x="37" y="38"/>
                      </a:lnTo>
                      <a:close/>
                      <a:moveTo>
                        <a:pt x="35" y="24"/>
                      </a:moveTo>
                      <a:lnTo>
                        <a:pt x="37" y="25"/>
                      </a:lnTo>
                      <a:lnTo>
                        <a:pt x="35" y="24"/>
                      </a:lnTo>
                      <a:lnTo>
                        <a:pt x="35" y="24"/>
                      </a:lnTo>
                      <a:close/>
                      <a:moveTo>
                        <a:pt x="0" y="24"/>
                      </a:moveTo>
                      <a:lnTo>
                        <a:pt x="26" y="41"/>
                      </a:lnTo>
                      <a:lnTo>
                        <a:pt x="0" y="24"/>
                      </a:lnTo>
                      <a:lnTo>
                        <a:pt x="0" y="24"/>
                      </a:lnTo>
                      <a:close/>
                      <a:moveTo>
                        <a:pt x="15" y="10"/>
                      </a:moveTo>
                      <a:lnTo>
                        <a:pt x="35" y="24"/>
                      </a:lnTo>
                      <a:lnTo>
                        <a:pt x="35" y="24"/>
                      </a:lnTo>
                      <a:lnTo>
                        <a:pt x="15" y="10"/>
                      </a:lnTo>
                      <a:close/>
                      <a:moveTo>
                        <a:pt x="38" y="0"/>
                      </a:moveTo>
                      <a:lnTo>
                        <a:pt x="38" y="0"/>
                      </a:lnTo>
                      <a:lnTo>
                        <a:pt x="38" y="12"/>
                      </a:lnTo>
                      <a:lnTo>
                        <a:pt x="35" y="24"/>
                      </a:lnTo>
                      <a:lnTo>
                        <a:pt x="38" y="12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FFEFD6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67" name="Rectangle 559"/>
                <p:cNvSpPr>
                  <a:spLocks noChangeArrowheads="1"/>
                </p:cNvSpPr>
                <p:nvPr/>
              </p:nvSpPr>
              <p:spPr bwMode="auto">
                <a:xfrm>
                  <a:off x="5010151" y="5349875"/>
                  <a:ext cx="1588" cy="11113"/>
                </a:xfrm>
                <a:prstGeom prst="rect">
                  <a:avLst/>
                </a:prstGeom>
                <a:solidFill>
                  <a:srgbClr val="DDCAB5"/>
                </a:soli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68" name="Freeform 560"/>
                <p:cNvSpPr>
                  <a:spLocks/>
                </p:cNvSpPr>
                <p:nvPr/>
              </p:nvSpPr>
              <p:spPr bwMode="auto">
                <a:xfrm>
                  <a:off x="4973638" y="5299075"/>
                  <a:ext cx="36513" cy="100013"/>
                </a:xfrm>
                <a:custGeom>
                  <a:avLst/>
                  <a:gdLst>
                    <a:gd name="T0" fmla="*/ 3 w 23"/>
                    <a:gd name="T1" fmla="*/ 0 h 63"/>
                    <a:gd name="T2" fmla="*/ 16 w 23"/>
                    <a:gd name="T3" fmla="*/ 16 h 63"/>
                    <a:gd name="T4" fmla="*/ 23 w 23"/>
                    <a:gd name="T5" fmla="*/ 32 h 63"/>
                    <a:gd name="T6" fmla="*/ 23 w 23"/>
                    <a:gd name="T7" fmla="*/ 32 h 63"/>
                    <a:gd name="T8" fmla="*/ 23 w 23"/>
                    <a:gd name="T9" fmla="*/ 32 h 63"/>
                    <a:gd name="T10" fmla="*/ 23 w 23"/>
                    <a:gd name="T11" fmla="*/ 39 h 63"/>
                    <a:gd name="T12" fmla="*/ 23 w 23"/>
                    <a:gd name="T13" fmla="*/ 51 h 63"/>
                    <a:gd name="T14" fmla="*/ 20 w 23"/>
                    <a:gd name="T15" fmla="*/ 63 h 63"/>
                    <a:gd name="T16" fmla="*/ 0 w 23"/>
                    <a:gd name="T17" fmla="*/ 49 h 63"/>
                    <a:gd name="T18" fmla="*/ 7 w 23"/>
                    <a:gd name="T19" fmla="*/ 33 h 63"/>
                    <a:gd name="T20" fmla="*/ 9 w 23"/>
                    <a:gd name="T21" fmla="*/ 17 h 63"/>
                    <a:gd name="T22" fmla="*/ 3 w 23"/>
                    <a:gd name="T23" fmla="*/ 0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3" h="63">
                      <a:moveTo>
                        <a:pt x="3" y="0"/>
                      </a:moveTo>
                      <a:lnTo>
                        <a:pt x="16" y="16"/>
                      </a:lnTo>
                      <a:lnTo>
                        <a:pt x="23" y="32"/>
                      </a:lnTo>
                      <a:lnTo>
                        <a:pt x="23" y="32"/>
                      </a:lnTo>
                      <a:lnTo>
                        <a:pt x="23" y="32"/>
                      </a:lnTo>
                      <a:lnTo>
                        <a:pt x="23" y="39"/>
                      </a:lnTo>
                      <a:lnTo>
                        <a:pt x="23" y="51"/>
                      </a:lnTo>
                      <a:lnTo>
                        <a:pt x="20" y="63"/>
                      </a:lnTo>
                      <a:lnTo>
                        <a:pt x="0" y="49"/>
                      </a:lnTo>
                      <a:lnTo>
                        <a:pt x="7" y="33"/>
                      </a:lnTo>
                      <a:lnTo>
                        <a:pt x="9" y="17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B05732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69" name="Freeform 561"/>
                <p:cNvSpPr>
                  <a:spLocks/>
                </p:cNvSpPr>
                <p:nvPr/>
              </p:nvSpPr>
              <p:spPr bwMode="auto">
                <a:xfrm>
                  <a:off x="4949826" y="5376863"/>
                  <a:ext cx="63500" cy="50800"/>
                </a:xfrm>
                <a:custGeom>
                  <a:avLst/>
                  <a:gdLst>
                    <a:gd name="T0" fmla="*/ 15 w 40"/>
                    <a:gd name="T1" fmla="*/ 0 h 32"/>
                    <a:gd name="T2" fmla="*/ 37 w 40"/>
                    <a:gd name="T3" fmla="*/ 15 h 32"/>
                    <a:gd name="T4" fmla="*/ 38 w 40"/>
                    <a:gd name="T5" fmla="*/ 16 h 32"/>
                    <a:gd name="T6" fmla="*/ 40 w 40"/>
                    <a:gd name="T7" fmla="*/ 19 h 32"/>
                    <a:gd name="T8" fmla="*/ 40 w 40"/>
                    <a:gd name="T9" fmla="*/ 22 h 32"/>
                    <a:gd name="T10" fmla="*/ 40 w 40"/>
                    <a:gd name="T11" fmla="*/ 25 h 32"/>
                    <a:gd name="T12" fmla="*/ 38 w 40"/>
                    <a:gd name="T13" fmla="*/ 28 h 32"/>
                    <a:gd name="T14" fmla="*/ 38 w 40"/>
                    <a:gd name="T15" fmla="*/ 28 h 32"/>
                    <a:gd name="T16" fmla="*/ 38 w 40"/>
                    <a:gd name="T17" fmla="*/ 28 h 32"/>
                    <a:gd name="T18" fmla="*/ 38 w 40"/>
                    <a:gd name="T19" fmla="*/ 28 h 32"/>
                    <a:gd name="T20" fmla="*/ 37 w 40"/>
                    <a:gd name="T21" fmla="*/ 28 h 32"/>
                    <a:gd name="T22" fmla="*/ 35 w 40"/>
                    <a:gd name="T23" fmla="*/ 31 h 32"/>
                    <a:gd name="T24" fmla="*/ 32 w 40"/>
                    <a:gd name="T25" fmla="*/ 32 h 32"/>
                    <a:gd name="T26" fmla="*/ 29 w 40"/>
                    <a:gd name="T27" fmla="*/ 32 h 32"/>
                    <a:gd name="T28" fmla="*/ 29 w 40"/>
                    <a:gd name="T29" fmla="*/ 32 h 32"/>
                    <a:gd name="T30" fmla="*/ 28 w 40"/>
                    <a:gd name="T31" fmla="*/ 32 h 32"/>
                    <a:gd name="T32" fmla="*/ 26 w 40"/>
                    <a:gd name="T33" fmla="*/ 31 h 32"/>
                    <a:gd name="T34" fmla="*/ 0 w 40"/>
                    <a:gd name="T35" fmla="*/ 14 h 32"/>
                    <a:gd name="T36" fmla="*/ 8 w 40"/>
                    <a:gd name="T37" fmla="*/ 8 h 32"/>
                    <a:gd name="T38" fmla="*/ 15 w 40"/>
                    <a:gd name="T39" fmla="*/ 0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0" h="32">
                      <a:moveTo>
                        <a:pt x="15" y="0"/>
                      </a:moveTo>
                      <a:lnTo>
                        <a:pt x="37" y="15"/>
                      </a:lnTo>
                      <a:lnTo>
                        <a:pt x="38" y="16"/>
                      </a:lnTo>
                      <a:lnTo>
                        <a:pt x="40" y="19"/>
                      </a:lnTo>
                      <a:lnTo>
                        <a:pt x="40" y="22"/>
                      </a:lnTo>
                      <a:lnTo>
                        <a:pt x="40" y="25"/>
                      </a:lnTo>
                      <a:lnTo>
                        <a:pt x="38" y="28"/>
                      </a:lnTo>
                      <a:lnTo>
                        <a:pt x="38" y="28"/>
                      </a:lnTo>
                      <a:lnTo>
                        <a:pt x="38" y="28"/>
                      </a:lnTo>
                      <a:lnTo>
                        <a:pt x="38" y="28"/>
                      </a:lnTo>
                      <a:lnTo>
                        <a:pt x="37" y="28"/>
                      </a:lnTo>
                      <a:lnTo>
                        <a:pt x="35" y="31"/>
                      </a:lnTo>
                      <a:lnTo>
                        <a:pt x="32" y="32"/>
                      </a:lnTo>
                      <a:lnTo>
                        <a:pt x="29" y="32"/>
                      </a:lnTo>
                      <a:lnTo>
                        <a:pt x="29" y="32"/>
                      </a:lnTo>
                      <a:lnTo>
                        <a:pt x="28" y="32"/>
                      </a:lnTo>
                      <a:lnTo>
                        <a:pt x="26" y="31"/>
                      </a:lnTo>
                      <a:lnTo>
                        <a:pt x="0" y="14"/>
                      </a:lnTo>
                      <a:lnTo>
                        <a:pt x="8" y="8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384349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70" name="Freeform 562"/>
                <p:cNvSpPr>
                  <a:spLocks/>
                </p:cNvSpPr>
                <p:nvPr/>
              </p:nvSpPr>
              <p:spPr bwMode="auto">
                <a:xfrm>
                  <a:off x="4937126" y="5267325"/>
                  <a:ext cx="53975" cy="42863"/>
                </a:xfrm>
                <a:custGeom>
                  <a:avLst/>
                  <a:gdLst>
                    <a:gd name="T0" fmla="*/ 2 w 34"/>
                    <a:gd name="T1" fmla="*/ 0 h 27"/>
                    <a:gd name="T2" fmla="*/ 16 w 34"/>
                    <a:gd name="T3" fmla="*/ 6 h 27"/>
                    <a:gd name="T4" fmla="*/ 26 w 34"/>
                    <a:gd name="T5" fmla="*/ 11 h 27"/>
                    <a:gd name="T6" fmla="*/ 34 w 34"/>
                    <a:gd name="T7" fmla="*/ 22 h 27"/>
                    <a:gd name="T8" fmla="*/ 34 w 34"/>
                    <a:gd name="T9" fmla="*/ 23 h 27"/>
                    <a:gd name="T10" fmla="*/ 34 w 34"/>
                    <a:gd name="T11" fmla="*/ 24 h 27"/>
                    <a:gd name="T12" fmla="*/ 34 w 34"/>
                    <a:gd name="T13" fmla="*/ 26 h 27"/>
                    <a:gd name="T14" fmla="*/ 32 w 34"/>
                    <a:gd name="T15" fmla="*/ 27 h 27"/>
                    <a:gd name="T16" fmla="*/ 30 w 34"/>
                    <a:gd name="T17" fmla="*/ 26 h 27"/>
                    <a:gd name="T18" fmla="*/ 21 w 34"/>
                    <a:gd name="T19" fmla="*/ 16 h 27"/>
                    <a:gd name="T20" fmla="*/ 13 w 34"/>
                    <a:gd name="T21" fmla="*/ 10 h 27"/>
                    <a:gd name="T22" fmla="*/ 1 w 34"/>
                    <a:gd name="T23" fmla="*/ 6 h 27"/>
                    <a:gd name="T24" fmla="*/ 0 w 34"/>
                    <a:gd name="T25" fmla="*/ 4 h 27"/>
                    <a:gd name="T26" fmla="*/ 0 w 34"/>
                    <a:gd name="T27" fmla="*/ 3 h 27"/>
                    <a:gd name="T28" fmla="*/ 1 w 34"/>
                    <a:gd name="T29" fmla="*/ 1 h 27"/>
                    <a:gd name="T30" fmla="*/ 2 w 34"/>
                    <a:gd name="T31" fmla="*/ 0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4" h="27">
                      <a:moveTo>
                        <a:pt x="2" y="0"/>
                      </a:moveTo>
                      <a:lnTo>
                        <a:pt x="16" y="6"/>
                      </a:lnTo>
                      <a:lnTo>
                        <a:pt x="26" y="11"/>
                      </a:lnTo>
                      <a:lnTo>
                        <a:pt x="34" y="22"/>
                      </a:lnTo>
                      <a:lnTo>
                        <a:pt x="34" y="23"/>
                      </a:lnTo>
                      <a:lnTo>
                        <a:pt x="34" y="24"/>
                      </a:lnTo>
                      <a:lnTo>
                        <a:pt x="34" y="26"/>
                      </a:lnTo>
                      <a:lnTo>
                        <a:pt x="32" y="27"/>
                      </a:lnTo>
                      <a:lnTo>
                        <a:pt x="30" y="26"/>
                      </a:lnTo>
                      <a:lnTo>
                        <a:pt x="21" y="16"/>
                      </a:lnTo>
                      <a:lnTo>
                        <a:pt x="13" y="10"/>
                      </a:lnTo>
                      <a:lnTo>
                        <a:pt x="1" y="6"/>
                      </a:lnTo>
                      <a:lnTo>
                        <a:pt x="0" y="4"/>
                      </a:lnTo>
                      <a:lnTo>
                        <a:pt x="0" y="3"/>
                      </a:lnTo>
                      <a:lnTo>
                        <a:pt x="1" y="1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38485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71" name="Freeform 563"/>
                <p:cNvSpPr>
                  <a:spLocks/>
                </p:cNvSpPr>
                <p:nvPr/>
              </p:nvSpPr>
              <p:spPr bwMode="auto">
                <a:xfrm>
                  <a:off x="4933951" y="5287963"/>
                  <a:ext cx="46038" cy="31750"/>
                </a:xfrm>
                <a:custGeom>
                  <a:avLst/>
                  <a:gdLst>
                    <a:gd name="T0" fmla="*/ 3 w 29"/>
                    <a:gd name="T1" fmla="*/ 0 h 20"/>
                    <a:gd name="T2" fmla="*/ 13 w 29"/>
                    <a:gd name="T3" fmla="*/ 3 h 20"/>
                    <a:gd name="T4" fmla="*/ 20 w 29"/>
                    <a:gd name="T5" fmla="*/ 9 h 20"/>
                    <a:gd name="T6" fmla="*/ 29 w 29"/>
                    <a:gd name="T7" fmla="*/ 17 h 20"/>
                    <a:gd name="T8" fmla="*/ 29 w 29"/>
                    <a:gd name="T9" fmla="*/ 19 h 20"/>
                    <a:gd name="T10" fmla="*/ 28 w 29"/>
                    <a:gd name="T11" fmla="*/ 20 h 20"/>
                    <a:gd name="T12" fmla="*/ 26 w 29"/>
                    <a:gd name="T13" fmla="*/ 20 h 20"/>
                    <a:gd name="T14" fmla="*/ 25 w 29"/>
                    <a:gd name="T15" fmla="*/ 20 h 20"/>
                    <a:gd name="T16" fmla="*/ 19 w 29"/>
                    <a:gd name="T17" fmla="*/ 11 h 20"/>
                    <a:gd name="T18" fmla="*/ 12 w 29"/>
                    <a:gd name="T19" fmla="*/ 7 h 20"/>
                    <a:gd name="T20" fmla="*/ 2 w 29"/>
                    <a:gd name="T21" fmla="*/ 4 h 20"/>
                    <a:gd name="T22" fmla="*/ 0 w 29"/>
                    <a:gd name="T23" fmla="*/ 3 h 20"/>
                    <a:gd name="T24" fmla="*/ 0 w 29"/>
                    <a:gd name="T25" fmla="*/ 1 h 20"/>
                    <a:gd name="T26" fmla="*/ 2 w 29"/>
                    <a:gd name="T27" fmla="*/ 0 h 20"/>
                    <a:gd name="T28" fmla="*/ 3 w 29"/>
                    <a:gd name="T29" fmla="*/ 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9" h="20">
                      <a:moveTo>
                        <a:pt x="3" y="0"/>
                      </a:moveTo>
                      <a:lnTo>
                        <a:pt x="13" y="3"/>
                      </a:lnTo>
                      <a:lnTo>
                        <a:pt x="20" y="9"/>
                      </a:lnTo>
                      <a:lnTo>
                        <a:pt x="29" y="17"/>
                      </a:lnTo>
                      <a:lnTo>
                        <a:pt x="29" y="19"/>
                      </a:lnTo>
                      <a:lnTo>
                        <a:pt x="28" y="20"/>
                      </a:lnTo>
                      <a:lnTo>
                        <a:pt x="26" y="20"/>
                      </a:lnTo>
                      <a:lnTo>
                        <a:pt x="25" y="20"/>
                      </a:lnTo>
                      <a:lnTo>
                        <a:pt x="19" y="11"/>
                      </a:lnTo>
                      <a:lnTo>
                        <a:pt x="12" y="7"/>
                      </a:lnTo>
                      <a:lnTo>
                        <a:pt x="2" y="4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38485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72" name="Freeform 564"/>
                <p:cNvSpPr>
                  <a:spLocks/>
                </p:cNvSpPr>
                <p:nvPr/>
              </p:nvSpPr>
              <p:spPr bwMode="auto">
                <a:xfrm>
                  <a:off x="4929188" y="5303838"/>
                  <a:ext cx="39688" cy="26988"/>
                </a:xfrm>
                <a:custGeom>
                  <a:avLst/>
                  <a:gdLst>
                    <a:gd name="T0" fmla="*/ 2 w 25"/>
                    <a:gd name="T1" fmla="*/ 0 h 17"/>
                    <a:gd name="T2" fmla="*/ 9 w 25"/>
                    <a:gd name="T3" fmla="*/ 1 h 17"/>
                    <a:gd name="T4" fmla="*/ 15 w 25"/>
                    <a:gd name="T5" fmla="*/ 4 h 17"/>
                    <a:gd name="T6" fmla="*/ 19 w 25"/>
                    <a:gd name="T7" fmla="*/ 9 h 17"/>
                    <a:gd name="T8" fmla="*/ 25 w 25"/>
                    <a:gd name="T9" fmla="*/ 14 h 17"/>
                    <a:gd name="T10" fmla="*/ 25 w 25"/>
                    <a:gd name="T11" fmla="*/ 16 h 17"/>
                    <a:gd name="T12" fmla="*/ 23 w 25"/>
                    <a:gd name="T13" fmla="*/ 17 h 17"/>
                    <a:gd name="T14" fmla="*/ 22 w 25"/>
                    <a:gd name="T15" fmla="*/ 17 h 17"/>
                    <a:gd name="T16" fmla="*/ 21 w 25"/>
                    <a:gd name="T17" fmla="*/ 17 h 17"/>
                    <a:gd name="T18" fmla="*/ 16 w 25"/>
                    <a:gd name="T19" fmla="*/ 12 h 17"/>
                    <a:gd name="T20" fmla="*/ 12 w 25"/>
                    <a:gd name="T21" fmla="*/ 9 h 17"/>
                    <a:gd name="T22" fmla="*/ 7 w 25"/>
                    <a:gd name="T23" fmla="*/ 6 h 17"/>
                    <a:gd name="T24" fmla="*/ 2 w 25"/>
                    <a:gd name="T25" fmla="*/ 3 h 17"/>
                    <a:gd name="T26" fmla="*/ 0 w 25"/>
                    <a:gd name="T27" fmla="*/ 3 h 17"/>
                    <a:gd name="T28" fmla="*/ 0 w 25"/>
                    <a:gd name="T29" fmla="*/ 1 h 17"/>
                    <a:gd name="T30" fmla="*/ 0 w 25"/>
                    <a:gd name="T31" fmla="*/ 0 h 17"/>
                    <a:gd name="T32" fmla="*/ 2 w 25"/>
                    <a:gd name="T33" fmla="*/ 0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5" h="17">
                      <a:moveTo>
                        <a:pt x="2" y="0"/>
                      </a:moveTo>
                      <a:lnTo>
                        <a:pt x="9" y="1"/>
                      </a:lnTo>
                      <a:lnTo>
                        <a:pt x="15" y="4"/>
                      </a:lnTo>
                      <a:lnTo>
                        <a:pt x="19" y="9"/>
                      </a:lnTo>
                      <a:lnTo>
                        <a:pt x="25" y="14"/>
                      </a:lnTo>
                      <a:lnTo>
                        <a:pt x="25" y="16"/>
                      </a:lnTo>
                      <a:lnTo>
                        <a:pt x="23" y="17"/>
                      </a:lnTo>
                      <a:lnTo>
                        <a:pt x="22" y="17"/>
                      </a:lnTo>
                      <a:lnTo>
                        <a:pt x="21" y="17"/>
                      </a:lnTo>
                      <a:lnTo>
                        <a:pt x="16" y="12"/>
                      </a:lnTo>
                      <a:lnTo>
                        <a:pt x="12" y="9"/>
                      </a:lnTo>
                      <a:lnTo>
                        <a:pt x="7" y="6"/>
                      </a:ln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38485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73" name="Freeform 565"/>
                <p:cNvSpPr>
                  <a:spLocks/>
                </p:cNvSpPr>
                <p:nvPr/>
              </p:nvSpPr>
              <p:spPr bwMode="auto">
                <a:xfrm>
                  <a:off x="5054601" y="5289550"/>
                  <a:ext cx="177800" cy="106363"/>
                </a:xfrm>
                <a:custGeom>
                  <a:avLst/>
                  <a:gdLst>
                    <a:gd name="T0" fmla="*/ 61 w 112"/>
                    <a:gd name="T1" fmla="*/ 0 h 67"/>
                    <a:gd name="T2" fmla="*/ 78 w 112"/>
                    <a:gd name="T3" fmla="*/ 0 h 67"/>
                    <a:gd name="T4" fmla="*/ 93 w 112"/>
                    <a:gd name="T5" fmla="*/ 6 h 67"/>
                    <a:gd name="T6" fmla="*/ 104 w 112"/>
                    <a:gd name="T7" fmla="*/ 15 h 67"/>
                    <a:gd name="T8" fmla="*/ 112 w 112"/>
                    <a:gd name="T9" fmla="*/ 26 h 67"/>
                    <a:gd name="T10" fmla="*/ 0 w 112"/>
                    <a:gd name="T11" fmla="*/ 67 h 67"/>
                    <a:gd name="T12" fmla="*/ 0 w 112"/>
                    <a:gd name="T13" fmla="*/ 48 h 67"/>
                    <a:gd name="T14" fmla="*/ 7 w 112"/>
                    <a:gd name="T15" fmla="*/ 31 h 67"/>
                    <a:gd name="T16" fmla="*/ 22 w 112"/>
                    <a:gd name="T17" fmla="*/ 15 h 67"/>
                    <a:gd name="T18" fmla="*/ 42 w 112"/>
                    <a:gd name="T19" fmla="*/ 5 h 67"/>
                    <a:gd name="T20" fmla="*/ 61 w 112"/>
                    <a:gd name="T21" fmla="*/ 0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12" h="67">
                      <a:moveTo>
                        <a:pt x="61" y="0"/>
                      </a:moveTo>
                      <a:lnTo>
                        <a:pt x="78" y="0"/>
                      </a:lnTo>
                      <a:lnTo>
                        <a:pt x="93" y="6"/>
                      </a:lnTo>
                      <a:lnTo>
                        <a:pt x="104" y="15"/>
                      </a:lnTo>
                      <a:lnTo>
                        <a:pt x="112" y="26"/>
                      </a:lnTo>
                      <a:lnTo>
                        <a:pt x="0" y="67"/>
                      </a:lnTo>
                      <a:lnTo>
                        <a:pt x="0" y="48"/>
                      </a:lnTo>
                      <a:lnTo>
                        <a:pt x="7" y="31"/>
                      </a:lnTo>
                      <a:lnTo>
                        <a:pt x="22" y="15"/>
                      </a:lnTo>
                      <a:lnTo>
                        <a:pt x="42" y="5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solidFill>
                  <a:srgbClr val="B05D3B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74" name="Freeform 566"/>
                <p:cNvSpPr>
                  <a:spLocks/>
                </p:cNvSpPr>
                <p:nvPr/>
              </p:nvSpPr>
              <p:spPr bwMode="auto">
                <a:xfrm>
                  <a:off x="5049838" y="5329238"/>
                  <a:ext cx="203200" cy="96838"/>
                </a:xfrm>
                <a:custGeom>
                  <a:avLst/>
                  <a:gdLst>
                    <a:gd name="T0" fmla="*/ 121 w 128"/>
                    <a:gd name="T1" fmla="*/ 0 h 61"/>
                    <a:gd name="T2" fmla="*/ 123 w 128"/>
                    <a:gd name="T3" fmla="*/ 1 h 61"/>
                    <a:gd name="T4" fmla="*/ 126 w 128"/>
                    <a:gd name="T5" fmla="*/ 4 h 61"/>
                    <a:gd name="T6" fmla="*/ 128 w 128"/>
                    <a:gd name="T7" fmla="*/ 7 h 61"/>
                    <a:gd name="T8" fmla="*/ 128 w 128"/>
                    <a:gd name="T9" fmla="*/ 12 h 61"/>
                    <a:gd name="T10" fmla="*/ 128 w 128"/>
                    <a:gd name="T11" fmla="*/ 14 h 61"/>
                    <a:gd name="T12" fmla="*/ 126 w 128"/>
                    <a:gd name="T13" fmla="*/ 17 h 61"/>
                    <a:gd name="T14" fmla="*/ 123 w 128"/>
                    <a:gd name="T15" fmla="*/ 19 h 61"/>
                    <a:gd name="T16" fmla="*/ 10 w 128"/>
                    <a:gd name="T17" fmla="*/ 60 h 61"/>
                    <a:gd name="T18" fmla="*/ 7 w 128"/>
                    <a:gd name="T19" fmla="*/ 61 h 61"/>
                    <a:gd name="T20" fmla="*/ 4 w 128"/>
                    <a:gd name="T21" fmla="*/ 60 h 61"/>
                    <a:gd name="T22" fmla="*/ 1 w 128"/>
                    <a:gd name="T23" fmla="*/ 57 h 61"/>
                    <a:gd name="T24" fmla="*/ 0 w 128"/>
                    <a:gd name="T25" fmla="*/ 54 h 61"/>
                    <a:gd name="T26" fmla="*/ 0 w 128"/>
                    <a:gd name="T27" fmla="*/ 49 h 61"/>
                    <a:gd name="T28" fmla="*/ 0 w 128"/>
                    <a:gd name="T29" fmla="*/ 46 h 61"/>
                    <a:gd name="T30" fmla="*/ 1 w 128"/>
                    <a:gd name="T31" fmla="*/ 44 h 61"/>
                    <a:gd name="T32" fmla="*/ 4 w 128"/>
                    <a:gd name="T33" fmla="*/ 42 h 61"/>
                    <a:gd name="T34" fmla="*/ 118 w 128"/>
                    <a:gd name="T35" fmla="*/ 1 h 61"/>
                    <a:gd name="T36" fmla="*/ 121 w 128"/>
                    <a:gd name="T37" fmla="*/ 0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28" h="61">
                      <a:moveTo>
                        <a:pt x="121" y="0"/>
                      </a:moveTo>
                      <a:lnTo>
                        <a:pt x="123" y="1"/>
                      </a:lnTo>
                      <a:lnTo>
                        <a:pt x="126" y="4"/>
                      </a:lnTo>
                      <a:lnTo>
                        <a:pt x="128" y="7"/>
                      </a:lnTo>
                      <a:lnTo>
                        <a:pt x="128" y="12"/>
                      </a:lnTo>
                      <a:lnTo>
                        <a:pt x="128" y="14"/>
                      </a:lnTo>
                      <a:lnTo>
                        <a:pt x="126" y="17"/>
                      </a:lnTo>
                      <a:lnTo>
                        <a:pt x="123" y="19"/>
                      </a:lnTo>
                      <a:lnTo>
                        <a:pt x="10" y="60"/>
                      </a:lnTo>
                      <a:lnTo>
                        <a:pt x="7" y="61"/>
                      </a:lnTo>
                      <a:lnTo>
                        <a:pt x="4" y="60"/>
                      </a:lnTo>
                      <a:lnTo>
                        <a:pt x="1" y="57"/>
                      </a:lnTo>
                      <a:lnTo>
                        <a:pt x="0" y="54"/>
                      </a:lnTo>
                      <a:lnTo>
                        <a:pt x="0" y="49"/>
                      </a:lnTo>
                      <a:lnTo>
                        <a:pt x="0" y="46"/>
                      </a:lnTo>
                      <a:lnTo>
                        <a:pt x="1" y="44"/>
                      </a:lnTo>
                      <a:lnTo>
                        <a:pt x="4" y="42"/>
                      </a:lnTo>
                      <a:lnTo>
                        <a:pt x="118" y="1"/>
                      </a:lnTo>
                      <a:lnTo>
                        <a:pt x="121" y="0"/>
                      </a:lnTo>
                      <a:close/>
                    </a:path>
                  </a:pathLst>
                </a:custGeom>
                <a:solidFill>
                  <a:srgbClr val="38485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75" name="Freeform 567"/>
                <p:cNvSpPr>
                  <a:spLocks/>
                </p:cNvSpPr>
                <p:nvPr/>
              </p:nvSpPr>
              <p:spPr bwMode="auto">
                <a:xfrm>
                  <a:off x="5194301" y="5340350"/>
                  <a:ext cx="12700" cy="4763"/>
                </a:xfrm>
                <a:custGeom>
                  <a:avLst/>
                  <a:gdLst>
                    <a:gd name="T0" fmla="*/ 8 w 8"/>
                    <a:gd name="T1" fmla="*/ 0 h 3"/>
                    <a:gd name="T2" fmla="*/ 8 w 8"/>
                    <a:gd name="T3" fmla="*/ 0 h 3"/>
                    <a:gd name="T4" fmla="*/ 0 w 8"/>
                    <a:gd name="T5" fmla="*/ 3 h 3"/>
                    <a:gd name="T6" fmla="*/ 8 w 8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" h="3">
                      <a:moveTo>
                        <a:pt x="8" y="0"/>
                      </a:moveTo>
                      <a:lnTo>
                        <a:pt x="8" y="0"/>
                      </a:lnTo>
                      <a:lnTo>
                        <a:pt x="0" y="3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DDCAB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76" name="Freeform 568"/>
                <p:cNvSpPr>
                  <a:spLocks noEditPoints="1"/>
                </p:cNvSpPr>
                <p:nvPr/>
              </p:nvSpPr>
              <p:spPr bwMode="auto">
                <a:xfrm>
                  <a:off x="5202238" y="5299075"/>
                  <a:ext cx="34925" cy="41275"/>
                </a:xfrm>
                <a:custGeom>
                  <a:avLst/>
                  <a:gdLst>
                    <a:gd name="T0" fmla="*/ 22 w 22"/>
                    <a:gd name="T1" fmla="*/ 20 h 26"/>
                    <a:gd name="T2" fmla="*/ 3 w 22"/>
                    <a:gd name="T3" fmla="*/ 26 h 26"/>
                    <a:gd name="T4" fmla="*/ 3 w 22"/>
                    <a:gd name="T5" fmla="*/ 26 h 26"/>
                    <a:gd name="T6" fmla="*/ 19 w 22"/>
                    <a:gd name="T7" fmla="*/ 20 h 26"/>
                    <a:gd name="T8" fmla="*/ 22 w 22"/>
                    <a:gd name="T9" fmla="*/ 20 h 26"/>
                    <a:gd name="T10" fmla="*/ 0 w 22"/>
                    <a:gd name="T11" fmla="*/ 0 h 26"/>
                    <a:gd name="T12" fmla="*/ 6 w 22"/>
                    <a:gd name="T13" fmla="*/ 3 h 26"/>
                    <a:gd name="T14" fmla="*/ 11 w 22"/>
                    <a:gd name="T15" fmla="*/ 9 h 26"/>
                    <a:gd name="T16" fmla="*/ 16 w 22"/>
                    <a:gd name="T17" fmla="*/ 15 h 26"/>
                    <a:gd name="T18" fmla="*/ 19 w 22"/>
                    <a:gd name="T19" fmla="*/ 20 h 26"/>
                    <a:gd name="T20" fmla="*/ 16 w 22"/>
                    <a:gd name="T21" fmla="*/ 15 h 26"/>
                    <a:gd name="T22" fmla="*/ 11 w 22"/>
                    <a:gd name="T23" fmla="*/ 9 h 26"/>
                    <a:gd name="T24" fmla="*/ 6 w 22"/>
                    <a:gd name="T25" fmla="*/ 3 h 26"/>
                    <a:gd name="T26" fmla="*/ 0 w 22"/>
                    <a:gd name="T27" fmla="*/ 0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2" h="26">
                      <a:moveTo>
                        <a:pt x="22" y="20"/>
                      </a:moveTo>
                      <a:lnTo>
                        <a:pt x="3" y="26"/>
                      </a:lnTo>
                      <a:lnTo>
                        <a:pt x="3" y="26"/>
                      </a:lnTo>
                      <a:lnTo>
                        <a:pt x="19" y="20"/>
                      </a:lnTo>
                      <a:lnTo>
                        <a:pt x="22" y="20"/>
                      </a:lnTo>
                      <a:close/>
                      <a:moveTo>
                        <a:pt x="0" y="0"/>
                      </a:moveTo>
                      <a:lnTo>
                        <a:pt x="6" y="3"/>
                      </a:lnTo>
                      <a:lnTo>
                        <a:pt x="11" y="9"/>
                      </a:lnTo>
                      <a:lnTo>
                        <a:pt x="16" y="15"/>
                      </a:lnTo>
                      <a:lnTo>
                        <a:pt x="19" y="20"/>
                      </a:lnTo>
                      <a:lnTo>
                        <a:pt x="16" y="15"/>
                      </a:lnTo>
                      <a:lnTo>
                        <a:pt x="11" y="9"/>
                      </a:lnTo>
                      <a:lnTo>
                        <a:pt x="6" y="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AA9A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77" name="Freeform 569"/>
                <p:cNvSpPr>
                  <a:spLocks/>
                </p:cNvSpPr>
                <p:nvPr/>
              </p:nvSpPr>
              <p:spPr bwMode="auto">
                <a:xfrm>
                  <a:off x="5140326" y="5289550"/>
                  <a:ext cx="92075" cy="55563"/>
                </a:xfrm>
                <a:custGeom>
                  <a:avLst/>
                  <a:gdLst>
                    <a:gd name="T0" fmla="*/ 14 w 58"/>
                    <a:gd name="T1" fmla="*/ 0 h 35"/>
                    <a:gd name="T2" fmla="*/ 27 w 58"/>
                    <a:gd name="T3" fmla="*/ 2 h 35"/>
                    <a:gd name="T4" fmla="*/ 39 w 58"/>
                    <a:gd name="T5" fmla="*/ 6 h 35"/>
                    <a:gd name="T6" fmla="*/ 45 w 58"/>
                    <a:gd name="T7" fmla="*/ 9 h 35"/>
                    <a:gd name="T8" fmla="*/ 50 w 58"/>
                    <a:gd name="T9" fmla="*/ 15 h 35"/>
                    <a:gd name="T10" fmla="*/ 55 w 58"/>
                    <a:gd name="T11" fmla="*/ 21 h 35"/>
                    <a:gd name="T12" fmla="*/ 58 w 58"/>
                    <a:gd name="T13" fmla="*/ 26 h 35"/>
                    <a:gd name="T14" fmla="*/ 42 w 58"/>
                    <a:gd name="T15" fmla="*/ 32 h 35"/>
                    <a:gd name="T16" fmla="*/ 34 w 58"/>
                    <a:gd name="T17" fmla="*/ 35 h 35"/>
                    <a:gd name="T18" fmla="*/ 27 w 58"/>
                    <a:gd name="T19" fmla="*/ 19 h 35"/>
                    <a:gd name="T20" fmla="*/ 16 w 58"/>
                    <a:gd name="T21" fmla="*/ 8 h 35"/>
                    <a:gd name="T22" fmla="*/ 0 w 58"/>
                    <a:gd name="T23" fmla="*/ 2 h 35"/>
                    <a:gd name="T24" fmla="*/ 7 w 58"/>
                    <a:gd name="T25" fmla="*/ 0 h 35"/>
                    <a:gd name="T26" fmla="*/ 14 w 58"/>
                    <a:gd name="T27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58" h="35">
                      <a:moveTo>
                        <a:pt x="14" y="0"/>
                      </a:moveTo>
                      <a:lnTo>
                        <a:pt x="27" y="2"/>
                      </a:lnTo>
                      <a:lnTo>
                        <a:pt x="39" y="6"/>
                      </a:lnTo>
                      <a:lnTo>
                        <a:pt x="45" y="9"/>
                      </a:lnTo>
                      <a:lnTo>
                        <a:pt x="50" y="15"/>
                      </a:lnTo>
                      <a:lnTo>
                        <a:pt x="55" y="21"/>
                      </a:lnTo>
                      <a:lnTo>
                        <a:pt x="58" y="26"/>
                      </a:lnTo>
                      <a:lnTo>
                        <a:pt x="42" y="32"/>
                      </a:lnTo>
                      <a:lnTo>
                        <a:pt x="34" y="35"/>
                      </a:lnTo>
                      <a:lnTo>
                        <a:pt x="27" y="19"/>
                      </a:lnTo>
                      <a:lnTo>
                        <a:pt x="16" y="8"/>
                      </a:lnTo>
                      <a:lnTo>
                        <a:pt x="0" y="2"/>
                      </a:lnTo>
                      <a:lnTo>
                        <a:pt x="7" y="0"/>
                      </a:lnTo>
                      <a:lnTo>
                        <a:pt x="14" y="0"/>
                      </a:lnTo>
                      <a:close/>
                    </a:path>
                  </a:pathLst>
                </a:custGeom>
                <a:solidFill>
                  <a:srgbClr val="B05732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78" name="Freeform 570"/>
                <p:cNvSpPr>
                  <a:spLocks/>
                </p:cNvSpPr>
                <p:nvPr/>
              </p:nvSpPr>
              <p:spPr bwMode="auto">
                <a:xfrm>
                  <a:off x="5194301" y="5329238"/>
                  <a:ext cx="58738" cy="47625"/>
                </a:xfrm>
                <a:custGeom>
                  <a:avLst/>
                  <a:gdLst>
                    <a:gd name="T0" fmla="*/ 28 w 37"/>
                    <a:gd name="T1" fmla="*/ 0 h 30"/>
                    <a:gd name="T2" fmla="*/ 28 w 37"/>
                    <a:gd name="T3" fmla="*/ 0 h 30"/>
                    <a:gd name="T4" fmla="*/ 32 w 37"/>
                    <a:gd name="T5" fmla="*/ 1 h 30"/>
                    <a:gd name="T6" fmla="*/ 35 w 37"/>
                    <a:gd name="T7" fmla="*/ 4 h 30"/>
                    <a:gd name="T8" fmla="*/ 37 w 37"/>
                    <a:gd name="T9" fmla="*/ 7 h 30"/>
                    <a:gd name="T10" fmla="*/ 37 w 37"/>
                    <a:gd name="T11" fmla="*/ 12 h 30"/>
                    <a:gd name="T12" fmla="*/ 37 w 37"/>
                    <a:gd name="T13" fmla="*/ 14 h 30"/>
                    <a:gd name="T14" fmla="*/ 35 w 37"/>
                    <a:gd name="T15" fmla="*/ 17 h 30"/>
                    <a:gd name="T16" fmla="*/ 32 w 37"/>
                    <a:gd name="T17" fmla="*/ 19 h 30"/>
                    <a:gd name="T18" fmla="*/ 3 w 37"/>
                    <a:gd name="T19" fmla="*/ 30 h 30"/>
                    <a:gd name="T20" fmla="*/ 3 w 37"/>
                    <a:gd name="T21" fmla="*/ 20 h 30"/>
                    <a:gd name="T22" fmla="*/ 0 w 37"/>
                    <a:gd name="T23" fmla="*/ 10 h 30"/>
                    <a:gd name="T24" fmla="*/ 8 w 37"/>
                    <a:gd name="T25" fmla="*/ 7 h 30"/>
                    <a:gd name="T26" fmla="*/ 27 w 37"/>
                    <a:gd name="T27" fmla="*/ 1 h 30"/>
                    <a:gd name="T28" fmla="*/ 27 w 37"/>
                    <a:gd name="T29" fmla="*/ 1 h 30"/>
                    <a:gd name="T30" fmla="*/ 28 w 37"/>
                    <a:gd name="T3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7" h="30">
                      <a:moveTo>
                        <a:pt x="28" y="0"/>
                      </a:moveTo>
                      <a:lnTo>
                        <a:pt x="28" y="0"/>
                      </a:lnTo>
                      <a:lnTo>
                        <a:pt x="32" y="1"/>
                      </a:lnTo>
                      <a:lnTo>
                        <a:pt x="35" y="4"/>
                      </a:lnTo>
                      <a:lnTo>
                        <a:pt x="37" y="7"/>
                      </a:lnTo>
                      <a:lnTo>
                        <a:pt x="37" y="12"/>
                      </a:lnTo>
                      <a:lnTo>
                        <a:pt x="37" y="14"/>
                      </a:lnTo>
                      <a:lnTo>
                        <a:pt x="35" y="17"/>
                      </a:lnTo>
                      <a:lnTo>
                        <a:pt x="32" y="19"/>
                      </a:lnTo>
                      <a:lnTo>
                        <a:pt x="3" y="30"/>
                      </a:lnTo>
                      <a:lnTo>
                        <a:pt x="3" y="20"/>
                      </a:lnTo>
                      <a:lnTo>
                        <a:pt x="0" y="10"/>
                      </a:lnTo>
                      <a:lnTo>
                        <a:pt x="8" y="7"/>
                      </a:lnTo>
                      <a:lnTo>
                        <a:pt x="27" y="1"/>
                      </a:lnTo>
                      <a:lnTo>
                        <a:pt x="27" y="1"/>
                      </a:lnTo>
                      <a:lnTo>
                        <a:pt x="28" y="0"/>
                      </a:lnTo>
                      <a:close/>
                    </a:path>
                  </a:pathLst>
                </a:custGeom>
                <a:solidFill>
                  <a:srgbClr val="384349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79" name="Freeform 571"/>
                <p:cNvSpPr>
                  <a:spLocks/>
                </p:cNvSpPr>
                <p:nvPr/>
              </p:nvSpPr>
              <p:spPr bwMode="auto">
                <a:xfrm>
                  <a:off x="5091113" y="5280025"/>
                  <a:ext cx="65088" cy="30163"/>
                </a:xfrm>
                <a:custGeom>
                  <a:avLst/>
                  <a:gdLst>
                    <a:gd name="T0" fmla="*/ 38 w 41"/>
                    <a:gd name="T1" fmla="*/ 0 h 19"/>
                    <a:gd name="T2" fmla="*/ 39 w 41"/>
                    <a:gd name="T3" fmla="*/ 2 h 19"/>
                    <a:gd name="T4" fmla="*/ 41 w 41"/>
                    <a:gd name="T5" fmla="*/ 3 h 19"/>
                    <a:gd name="T6" fmla="*/ 39 w 41"/>
                    <a:gd name="T7" fmla="*/ 6 h 19"/>
                    <a:gd name="T8" fmla="*/ 38 w 41"/>
                    <a:gd name="T9" fmla="*/ 6 h 19"/>
                    <a:gd name="T10" fmla="*/ 25 w 41"/>
                    <a:gd name="T11" fmla="*/ 8 h 19"/>
                    <a:gd name="T12" fmla="*/ 15 w 41"/>
                    <a:gd name="T13" fmla="*/ 12 h 19"/>
                    <a:gd name="T14" fmla="*/ 4 w 41"/>
                    <a:gd name="T15" fmla="*/ 19 h 19"/>
                    <a:gd name="T16" fmla="*/ 3 w 41"/>
                    <a:gd name="T17" fmla="*/ 19 h 19"/>
                    <a:gd name="T18" fmla="*/ 0 w 41"/>
                    <a:gd name="T19" fmla="*/ 18 h 19"/>
                    <a:gd name="T20" fmla="*/ 0 w 41"/>
                    <a:gd name="T21" fmla="*/ 16 h 19"/>
                    <a:gd name="T22" fmla="*/ 0 w 41"/>
                    <a:gd name="T23" fmla="*/ 15 h 19"/>
                    <a:gd name="T24" fmla="*/ 1 w 41"/>
                    <a:gd name="T25" fmla="*/ 14 h 19"/>
                    <a:gd name="T26" fmla="*/ 13 w 41"/>
                    <a:gd name="T27" fmla="*/ 6 h 19"/>
                    <a:gd name="T28" fmla="*/ 23 w 41"/>
                    <a:gd name="T29" fmla="*/ 2 h 19"/>
                    <a:gd name="T30" fmla="*/ 38 w 41"/>
                    <a:gd name="T31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41" h="19">
                      <a:moveTo>
                        <a:pt x="38" y="0"/>
                      </a:moveTo>
                      <a:lnTo>
                        <a:pt x="39" y="2"/>
                      </a:lnTo>
                      <a:lnTo>
                        <a:pt x="41" y="3"/>
                      </a:lnTo>
                      <a:lnTo>
                        <a:pt x="39" y="6"/>
                      </a:lnTo>
                      <a:lnTo>
                        <a:pt x="38" y="6"/>
                      </a:lnTo>
                      <a:lnTo>
                        <a:pt x="25" y="8"/>
                      </a:lnTo>
                      <a:lnTo>
                        <a:pt x="15" y="12"/>
                      </a:lnTo>
                      <a:lnTo>
                        <a:pt x="4" y="19"/>
                      </a:lnTo>
                      <a:lnTo>
                        <a:pt x="3" y="19"/>
                      </a:lnTo>
                      <a:lnTo>
                        <a:pt x="0" y="18"/>
                      </a:lnTo>
                      <a:lnTo>
                        <a:pt x="0" y="16"/>
                      </a:lnTo>
                      <a:lnTo>
                        <a:pt x="0" y="15"/>
                      </a:lnTo>
                      <a:lnTo>
                        <a:pt x="1" y="14"/>
                      </a:lnTo>
                      <a:lnTo>
                        <a:pt x="13" y="6"/>
                      </a:lnTo>
                      <a:lnTo>
                        <a:pt x="23" y="2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38485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80" name="Freeform 572"/>
                <p:cNvSpPr>
                  <a:spLocks/>
                </p:cNvSpPr>
                <p:nvPr/>
              </p:nvSpPr>
              <p:spPr bwMode="auto">
                <a:xfrm>
                  <a:off x="5102226" y="5299075"/>
                  <a:ext cx="53975" cy="25400"/>
                </a:xfrm>
                <a:custGeom>
                  <a:avLst/>
                  <a:gdLst>
                    <a:gd name="T0" fmla="*/ 31 w 34"/>
                    <a:gd name="T1" fmla="*/ 0 h 16"/>
                    <a:gd name="T2" fmla="*/ 34 w 34"/>
                    <a:gd name="T3" fmla="*/ 2 h 16"/>
                    <a:gd name="T4" fmla="*/ 34 w 34"/>
                    <a:gd name="T5" fmla="*/ 3 h 16"/>
                    <a:gd name="T6" fmla="*/ 34 w 34"/>
                    <a:gd name="T7" fmla="*/ 4 h 16"/>
                    <a:gd name="T8" fmla="*/ 32 w 34"/>
                    <a:gd name="T9" fmla="*/ 6 h 16"/>
                    <a:gd name="T10" fmla="*/ 22 w 34"/>
                    <a:gd name="T11" fmla="*/ 6 h 16"/>
                    <a:gd name="T12" fmla="*/ 13 w 34"/>
                    <a:gd name="T13" fmla="*/ 9 h 16"/>
                    <a:gd name="T14" fmla="*/ 5 w 34"/>
                    <a:gd name="T15" fmla="*/ 15 h 16"/>
                    <a:gd name="T16" fmla="*/ 3 w 34"/>
                    <a:gd name="T17" fmla="*/ 16 h 16"/>
                    <a:gd name="T18" fmla="*/ 2 w 34"/>
                    <a:gd name="T19" fmla="*/ 15 h 16"/>
                    <a:gd name="T20" fmla="*/ 0 w 34"/>
                    <a:gd name="T21" fmla="*/ 13 h 16"/>
                    <a:gd name="T22" fmla="*/ 2 w 34"/>
                    <a:gd name="T23" fmla="*/ 12 h 16"/>
                    <a:gd name="T24" fmla="*/ 12 w 34"/>
                    <a:gd name="T25" fmla="*/ 4 h 16"/>
                    <a:gd name="T26" fmla="*/ 21 w 34"/>
                    <a:gd name="T27" fmla="*/ 2 h 16"/>
                    <a:gd name="T28" fmla="*/ 31 w 34"/>
                    <a:gd name="T29" fmla="*/ 0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4" h="16">
                      <a:moveTo>
                        <a:pt x="31" y="0"/>
                      </a:moveTo>
                      <a:lnTo>
                        <a:pt x="34" y="2"/>
                      </a:lnTo>
                      <a:lnTo>
                        <a:pt x="34" y="3"/>
                      </a:lnTo>
                      <a:lnTo>
                        <a:pt x="34" y="4"/>
                      </a:lnTo>
                      <a:lnTo>
                        <a:pt x="32" y="6"/>
                      </a:lnTo>
                      <a:lnTo>
                        <a:pt x="22" y="6"/>
                      </a:lnTo>
                      <a:lnTo>
                        <a:pt x="13" y="9"/>
                      </a:lnTo>
                      <a:lnTo>
                        <a:pt x="5" y="15"/>
                      </a:lnTo>
                      <a:lnTo>
                        <a:pt x="3" y="16"/>
                      </a:lnTo>
                      <a:lnTo>
                        <a:pt x="2" y="15"/>
                      </a:lnTo>
                      <a:lnTo>
                        <a:pt x="0" y="13"/>
                      </a:lnTo>
                      <a:lnTo>
                        <a:pt x="2" y="12"/>
                      </a:lnTo>
                      <a:lnTo>
                        <a:pt x="12" y="4"/>
                      </a:lnTo>
                      <a:lnTo>
                        <a:pt x="21" y="2"/>
                      </a:lnTo>
                      <a:lnTo>
                        <a:pt x="31" y="0"/>
                      </a:lnTo>
                      <a:close/>
                    </a:path>
                  </a:pathLst>
                </a:custGeom>
                <a:solidFill>
                  <a:srgbClr val="38485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81" name="Freeform 573"/>
                <p:cNvSpPr>
                  <a:spLocks/>
                </p:cNvSpPr>
                <p:nvPr/>
              </p:nvSpPr>
              <p:spPr bwMode="auto">
                <a:xfrm>
                  <a:off x="5111751" y="5318125"/>
                  <a:ext cx="46038" cy="20638"/>
                </a:xfrm>
                <a:custGeom>
                  <a:avLst/>
                  <a:gdLst>
                    <a:gd name="T0" fmla="*/ 26 w 29"/>
                    <a:gd name="T1" fmla="*/ 0 h 13"/>
                    <a:gd name="T2" fmla="*/ 28 w 29"/>
                    <a:gd name="T3" fmla="*/ 0 h 13"/>
                    <a:gd name="T4" fmla="*/ 29 w 29"/>
                    <a:gd name="T5" fmla="*/ 1 h 13"/>
                    <a:gd name="T6" fmla="*/ 28 w 29"/>
                    <a:gd name="T7" fmla="*/ 3 h 13"/>
                    <a:gd name="T8" fmla="*/ 26 w 29"/>
                    <a:gd name="T9" fmla="*/ 4 h 13"/>
                    <a:gd name="T10" fmla="*/ 20 w 29"/>
                    <a:gd name="T11" fmla="*/ 4 h 13"/>
                    <a:gd name="T12" fmla="*/ 15 w 29"/>
                    <a:gd name="T13" fmla="*/ 5 h 13"/>
                    <a:gd name="T14" fmla="*/ 9 w 29"/>
                    <a:gd name="T15" fmla="*/ 8 h 13"/>
                    <a:gd name="T16" fmla="*/ 3 w 29"/>
                    <a:gd name="T17" fmla="*/ 13 h 13"/>
                    <a:gd name="T18" fmla="*/ 2 w 29"/>
                    <a:gd name="T19" fmla="*/ 13 h 13"/>
                    <a:gd name="T20" fmla="*/ 2 w 29"/>
                    <a:gd name="T21" fmla="*/ 11 h 13"/>
                    <a:gd name="T22" fmla="*/ 0 w 29"/>
                    <a:gd name="T23" fmla="*/ 10 h 13"/>
                    <a:gd name="T24" fmla="*/ 2 w 29"/>
                    <a:gd name="T25" fmla="*/ 8 h 13"/>
                    <a:gd name="T26" fmla="*/ 9 w 29"/>
                    <a:gd name="T27" fmla="*/ 4 h 13"/>
                    <a:gd name="T28" fmla="*/ 18 w 29"/>
                    <a:gd name="T29" fmla="*/ 1 h 13"/>
                    <a:gd name="T30" fmla="*/ 26 w 29"/>
                    <a:gd name="T31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9" h="13">
                      <a:moveTo>
                        <a:pt x="26" y="0"/>
                      </a:moveTo>
                      <a:lnTo>
                        <a:pt x="28" y="0"/>
                      </a:lnTo>
                      <a:lnTo>
                        <a:pt x="29" y="1"/>
                      </a:lnTo>
                      <a:lnTo>
                        <a:pt x="28" y="3"/>
                      </a:lnTo>
                      <a:lnTo>
                        <a:pt x="26" y="4"/>
                      </a:lnTo>
                      <a:lnTo>
                        <a:pt x="20" y="4"/>
                      </a:lnTo>
                      <a:lnTo>
                        <a:pt x="15" y="5"/>
                      </a:lnTo>
                      <a:lnTo>
                        <a:pt x="9" y="8"/>
                      </a:lnTo>
                      <a:lnTo>
                        <a:pt x="3" y="13"/>
                      </a:lnTo>
                      <a:lnTo>
                        <a:pt x="2" y="13"/>
                      </a:lnTo>
                      <a:lnTo>
                        <a:pt x="2" y="11"/>
                      </a:lnTo>
                      <a:lnTo>
                        <a:pt x="0" y="10"/>
                      </a:lnTo>
                      <a:lnTo>
                        <a:pt x="2" y="8"/>
                      </a:lnTo>
                      <a:lnTo>
                        <a:pt x="9" y="4"/>
                      </a:lnTo>
                      <a:lnTo>
                        <a:pt x="18" y="1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solidFill>
                  <a:srgbClr val="38485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82" name="Freeform 574"/>
                <p:cNvSpPr>
                  <a:spLocks/>
                </p:cNvSpPr>
                <p:nvPr/>
              </p:nvSpPr>
              <p:spPr bwMode="auto">
                <a:xfrm>
                  <a:off x="3746501" y="5313363"/>
                  <a:ext cx="217488" cy="77788"/>
                </a:xfrm>
                <a:custGeom>
                  <a:avLst/>
                  <a:gdLst>
                    <a:gd name="T0" fmla="*/ 69 w 137"/>
                    <a:gd name="T1" fmla="*/ 0 h 49"/>
                    <a:gd name="T2" fmla="*/ 89 w 137"/>
                    <a:gd name="T3" fmla="*/ 1 h 49"/>
                    <a:gd name="T4" fmla="*/ 108 w 137"/>
                    <a:gd name="T5" fmla="*/ 8 h 49"/>
                    <a:gd name="T6" fmla="*/ 123 w 137"/>
                    <a:gd name="T7" fmla="*/ 19 h 49"/>
                    <a:gd name="T8" fmla="*/ 133 w 137"/>
                    <a:gd name="T9" fmla="*/ 32 h 49"/>
                    <a:gd name="T10" fmla="*/ 137 w 137"/>
                    <a:gd name="T11" fmla="*/ 48 h 49"/>
                    <a:gd name="T12" fmla="*/ 0 w 137"/>
                    <a:gd name="T13" fmla="*/ 49 h 49"/>
                    <a:gd name="T14" fmla="*/ 5 w 137"/>
                    <a:gd name="T15" fmla="*/ 33 h 49"/>
                    <a:gd name="T16" fmla="*/ 15 w 137"/>
                    <a:gd name="T17" fmla="*/ 20 h 49"/>
                    <a:gd name="T18" fmla="*/ 30 w 137"/>
                    <a:gd name="T19" fmla="*/ 8 h 49"/>
                    <a:gd name="T20" fmla="*/ 47 w 137"/>
                    <a:gd name="T21" fmla="*/ 3 h 49"/>
                    <a:gd name="T22" fmla="*/ 69 w 137"/>
                    <a:gd name="T23" fmla="*/ 0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37" h="49">
                      <a:moveTo>
                        <a:pt x="69" y="0"/>
                      </a:moveTo>
                      <a:lnTo>
                        <a:pt x="89" y="1"/>
                      </a:lnTo>
                      <a:lnTo>
                        <a:pt x="108" y="8"/>
                      </a:lnTo>
                      <a:lnTo>
                        <a:pt x="123" y="19"/>
                      </a:lnTo>
                      <a:lnTo>
                        <a:pt x="133" y="32"/>
                      </a:lnTo>
                      <a:lnTo>
                        <a:pt x="137" y="48"/>
                      </a:lnTo>
                      <a:lnTo>
                        <a:pt x="0" y="49"/>
                      </a:lnTo>
                      <a:lnTo>
                        <a:pt x="5" y="33"/>
                      </a:lnTo>
                      <a:lnTo>
                        <a:pt x="15" y="20"/>
                      </a:lnTo>
                      <a:lnTo>
                        <a:pt x="30" y="8"/>
                      </a:lnTo>
                      <a:lnTo>
                        <a:pt x="47" y="3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B05D3B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83" name="Freeform 575"/>
                <p:cNvSpPr>
                  <a:spLocks/>
                </p:cNvSpPr>
                <p:nvPr/>
              </p:nvSpPr>
              <p:spPr bwMode="auto">
                <a:xfrm>
                  <a:off x="3735388" y="5389563"/>
                  <a:ext cx="247650" cy="34925"/>
                </a:xfrm>
                <a:custGeom>
                  <a:avLst/>
                  <a:gdLst>
                    <a:gd name="T0" fmla="*/ 146 w 156"/>
                    <a:gd name="T1" fmla="*/ 0 h 22"/>
                    <a:gd name="T2" fmla="*/ 150 w 156"/>
                    <a:gd name="T3" fmla="*/ 1 h 22"/>
                    <a:gd name="T4" fmla="*/ 153 w 156"/>
                    <a:gd name="T5" fmla="*/ 3 h 22"/>
                    <a:gd name="T6" fmla="*/ 154 w 156"/>
                    <a:gd name="T7" fmla="*/ 7 h 22"/>
                    <a:gd name="T8" fmla="*/ 156 w 156"/>
                    <a:gd name="T9" fmla="*/ 10 h 22"/>
                    <a:gd name="T10" fmla="*/ 154 w 156"/>
                    <a:gd name="T11" fmla="*/ 14 h 22"/>
                    <a:gd name="T12" fmla="*/ 153 w 156"/>
                    <a:gd name="T13" fmla="*/ 19 h 22"/>
                    <a:gd name="T14" fmla="*/ 150 w 156"/>
                    <a:gd name="T15" fmla="*/ 20 h 22"/>
                    <a:gd name="T16" fmla="*/ 146 w 156"/>
                    <a:gd name="T17" fmla="*/ 22 h 22"/>
                    <a:gd name="T18" fmla="*/ 9 w 156"/>
                    <a:gd name="T19" fmla="*/ 22 h 22"/>
                    <a:gd name="T20" fmla="*/ 6 w 156"/>
                    <a:gd name="T21" fmla="*/ 22 h 22"/>
                    <a:gd name="T22" fmla="*/ 3 w 156"/>
                    <a:gd name="T23" fmla="*/ 19 h 22"/>
                    <a:gd name="T24" fmla="*/ 2 w 156"/>
                    <a:gd name="T25" fmla="*/ 16 h 22"/>
                    <a:gd name="T26" fmla="*/ 0 w 156"/>
                    <a:gd name="T27" fmla="*/ 11 h 22"/>
                    <a:gd name="T28" fmla="*/ 2 w 156"/>
                    <a:gd name="T29" fmla="*/ 7 h 22"/>
                    <a:gd name="T30" fmla="*/ 3 w 156"/>
                    <a:gd name="T31" fmla="*/ 4 h 22"/>
                    <a:gd name="T32" fmla="*/ 6 w 156"/>
                    <a:gd name="T33" fmla="*/ 1 h 22"/>
                    <a:gd name="T34" fmla="*/ 9 w 156"/>
                    <a:gd name="T35" fmla="*/ 1 h 22"/>
                    <a:gd name="T36" fmla="*/ 146 w 156"/>
                    <a:gd name="T37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56" h="22">
                      <a:moveTo>
                        <a:pt x="146" y="0"/>
                      </a:moveTo>
                      <a:lnTo>
                        <a:pt x="150" y="1"/>
                      </a:lnTo>
                      <a:lnTo>
                        <a:pt x="153" y="3"/>
                      </a:lnTo>
                      <a:lnTo>
                        <a:pt x="154" y="7"/>
                      </a:lnTo>
                      <a:lnTo>
                        <a:pt x="156" y="10"/>
                      </a:lnTo>
                      <a:lnTo>
                        <a:pt x="154" y="14"/>
                      </a:lnTo>
                      <a:lnTo>
                        <a:pt x="153" y="19"/>
                      </a:lnTo>
                      <a:lnTo>
                        <a:pt x="150" y="20"/>
                      </a:lnTo>
                      <a:lnTo>
                        <a:pt x="146" y="22"/>
                      </a:lnTo>
                      <a:lnTo>
                        <a:pt x="9" y="22"/>
                      </a:lnTo>
                      <a:lnTo>
                        <a:pt x="6" y="22"/>
                      </a:lnTo>
                      <a:lnTo>
                        <a:pt x="3" y="19"/>
                      </a:lnTo>
                      <a:lnTo>
                        <a:pt x="2" y="16"/>
                      </a:lnTo>
                      <a:lnTo>
                        <a:pt x="0" y="11"/>
                      </a:lnTo>
                      <a:lnTo>
                        <a:pt x="2" y="7"/>
                      </a:lnTo>
                      <a:lnTo>
                        <a:pt x="3" y="4"/>
                      </a:lnTo>
                      <a:lnTo>
                        <a:pt x="6" y="1"/>
                      </a:lnTo>
                      <a:lnTo>
                        <a:pt x="9" y="1"/>
                      </a:lnTo>
                      <a:lnTo>
                        <a:pt x="146" y="0"/>
                      </a:lnTo>
                      <a:close/>
                    </a:path>
                  </a:pathLst>
                </a:custGeom>
                <a:solidFill>
                  <a:srgbClr val="38485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84" name="Freeform 576"/>
                <p:cNvSpPr>
                  <a:spLocks noEditPoints="1"/>
                </p:cNvSpPr>
                <p:nvPr/>
              </p:nvSpPr>
              <p:spPr bwMode="auto">
                <a:xfrm>
                  <a:off x="3911601" y="5411788"/>
                  <a:ext cx="68263" cy="12700"/>
                </a:xfrm>
                <a:custGeom>
                  <a:avLst/>
                  <a:gdLst>
                    <a:gd name="T0" fmla="*/ 35 w 43"/>
                    <a:gd name="T1" fmla="*/ 8 h 8"/>
                    <a:gd name="T2" fmla="*/ 0 w 43"/>
                    <a:gd name="T3" fmla="*/ 8 h 8"/>
                    <a:gd name="T4" fmla="*/ 0 w 43"/>
                    <a:gd name="T5" fmla="*/ 8 h 8"/>
                    <a:gd name="T6" fmla="*/ 35 w 43"/>
                    <a:gd name="T7" fmla="*/ 8 h 8"/>
                    <a:gd name="T8" fmla="*/ 43 w 43"/>
                    <a:gd name="T9" fmla="*/ 0 h 8"/>
                    <a:gd name="T10" fmla="*/ 42 w 43"/>
                    <a:gd name="T11" fmla="*/ 3 h 8"/>
                    <a:gd name="T12" fmla="*/ 39 w 43"/>
                    <a:gd name="T13" fmla="*/ 6 h 8"/>
                    <a:gd name="T14" fmla="*/ 35 w 43"/>
                    <a:gd name="T15" fmla="*/ 8 h 8"/>
                    <a:gd name="T16" fmla="*/ 39 w 43"/>
                    <a:gd name="T17" fmla="*/ 6 h 8"/>
                    <a:gd name="T18" fmla="*/ 42 w 43"/>
                    <a:gd name="T19" fmla="*/ 3 h 8"/>
                    <a:gd name="T20" fmla="*/ 43 w 43"/>
                    <a:gd name="T21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3" h="8">
                      <a:moveTo>
                        <a:pt x="35" y="8"/>
                      </a:move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35" y="8"/>
                      </a:lnTo>
                      <a:close/>
                      <a:moveTo>
                        <a:pt x="43" y="0"/>
                      </a:moveTo>
                      <a:lnTo>
                        <a:pt x="42" y="3"/>
                      </a:lnTo>
                      <a:lnTo>
                        <a:pt x="39" y="6"/>
                      </a:lnTo>
                      <a:lnTo>
                        <a:pt x="35" y="8"/>
                      </a:lnTo>
                      <a:lnTo>
                        <a:pt x="39" y="6"/>
                      </a:lnTo>
                      <a:lnTo>
                        <a:pt x="42" y="3"/>
                      </a:lnTo>
                      <a:lnTo>
                        <a:pt x="43" y="0"/>
                      </a:lnTo>
                      <a:close/>
                    </a:path>
                  </a:pathLst>
                </a:custGeom>
                <a:solidFill>
                  <a:srgbClr val="FFEFD6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85" name="Freeform 577"/>
                <p:cNvSpPr>
                  <a:spLocks noEditPoints="1"/>
                </p:cNvSpPr>
                <p:nvPr/>
              </p:nvSpPr>
              <p:spPr bwMode="auto">
                <a:xfrm>
                  <a:off x="3917951" y="5360988"/>
                  <a:ext cx="49213" cy="28575"/>
                </a:xfrm>
                <a:custGeom>
                  <a:avLst/>
                  <a:gdLst>
                    <a:gd name="T0" fmla="*/ 29 w 31"/>
                    <a:gd name="T1" fmla="*/ 18 h 18"/>
                    <a:gd name="T2" fmla="*/ 31 w 31"/>
                    <a:gd name="T3" fmla="*/ 18 h 18"/>
                    <a:gd name="T4" fmla="*/ 0 w 31"/>
                    <a:gd name="T5" fmla="*/ 18 h 18"/>
                    <a:gd name="T6" fmla="*/ 0 w 31"/>
                    <a:gd name="T7" fmla="*/ 18 h 18"/>
                    <a:gd name="T8" fmla="*/ 29 w 31"/>
                    <a:gd name="T9" fmla="*/ 18 h 18"/>
                    <a:gd name="T10" fmla="*/ 23 w 31"/>
                    <a:gd name="T11" fmla="*/ 0 h 18"/>
                    <a:gd name="T12" fmla="*/ 23 w 31"/>
                    <a:gd name="T13" fmla="*/ 0 h 18"/>
                    <a:gd name="T14" fmla="*/ 28 w 31"/>
                    <a:gd name="T15" fmla="*/ 9 h 18"/>
                    <a:gd name="T16" fmla="*/ 29 w 31"/>
                    <a:gd name="T17" fmla="*/ 18 h 18"/>
                    <a:gd name="T18" fmla="*/ 28 w 31"/>
                    <a:gd name="T19" fmla="*/ 9 h 18"/>
                    <a:gd name="T20" fmla="*/ 23 w 31"/>
                    <a:gd name="T21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1" h="18">
                      <a:moveTo>
                        <a:pt x="29" y="18"/>
                      </a:moveTo>
                      <a:lnTo>
                        <a:pt x="31" y="18"/>
                      </a:lnTo>
                      <a:lnTo>
                        <a:pt x="0" y="18"/>
                      </a:lnTo>
                      <a:lnTo>
                        <a:pt x="0" y="18"/>
                      </a:lnTo>
                      <a:lnTo>
                        <a:pt x="29" y="18"/>
                      </a:lnTo>
                      <a:close/>
                      <a:moveTo>
                        <a:pt x="23" y="0"/>
                      </a:moveTo>
                      <a:lnTo>
                        <a:pt x="23" y="0"/>
                      </a:lnTo>
                      <a:lnTo>
                        <a:pt x="28" y="9"/>
                      </a:lnTo>
                      <a:lnTo>
                        <a:pt x="29" y="18"/>
                      </a:lnTo>
                      <a:lnTo>
                        <a:pt x="28" y="9"/>
                      </a:lnTo>
                      <a:lnTo>
                        <a:pt x="23" y="0"/>
                      </a:lnTo>
                      <a:close/>
                    </a:path>
                  </a:pathLst>
                </a:custGeom>
                <a:solidFill>
                  <a:srgbClr val="DDCAB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86" name="Freeform 578"/>
                <p:cNvSpPr>
                  <a:spLocks/>
                </p:cNvSpPr>
                <p:nvPr/>
              </p:nvSpPr>
              <p:spPr bwMode="auto">
                <a:xfrm>
                  <a:off x="3938588" y="5340350"/>
                  <a:ext cx="15875" cy="20638"/>
                </a:xfrm>
                <a:custGeom>
                  <a:avLst/>
                  <a:gdLst>
                    <a:gd name="T0" fmla="*/ 0 w 10"/>
                    <a:gd name="T1" fmla="*/ 0 h 13"/>
                    <a:gd name="T2" fmla="*/ 6 w 10"/>
                    <a:gd name="T3" fmla="*/ 6 h 13"/>
                    <a:gd name="T4" fmla="*/ 10 w 10"/>
                    <a:gd name="T5" fmla="*/ 13 h 13"/>
                    <a:gd name="T6" fmla="*/ 10 w 10"/>
                    <a:gd name="T7" fmla="*/ 13 h 13"/>
                    <a:gd name="T8" fmla="*/ 6 w 10"/>
                    <a:gd name="T9" fmla="*/ 6 h 13"/>
                    <a:gd name="T10" fmla="*/ 0 w 10"/>
                    <a:gd name="T11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" h="13">
                      <a:moveTo>
                        <a:pt x="0" y="0"/>
                      </a:moveTo>
                      <a:lnTo>
                        <a:pt x="6" y="6"/>
                      </a:lnTo>
                      <a:lnTo>
                        <a:pt x="10" y="13"/>
                      </a:lnTo>
                      <a:lnTo>
                        <a:pt x="10" y="13"/>
                      </a:lnTo>
                      <a:lnTo>
                        <a:pt x="6" y="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AA9A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87" name="Freeform 579"/>
                <p:cNvSpPr>
                  <a:spLocks/>
                </p:cNvSpPr>
                <p:nvPr/>
              </p:nvSpPr>
              <p:spPr bwMode="auto">
                <a:xfrm>
                  <a:off x="3876676" y="5313363"/>
                  <a:ext cx="87313" cy="76200"/>
                </a:xfrm>
                <a:custGeom>
                  <a:avLst/>
                  <a:gdLst>
                    <a:gd name="T0" fmla="*/ 0 w 55"/>
                    <a:gd name="T1" fmla="*/ 0 h 48"/>
                    <a:gd name="T2" fmla="*/ 22 w 55"/>
                    <a:gd name="T3" fmla="*/ 7 h 48"/>
                    <a:gd name="T4" fmla="*/ 39 w 55"/>
                    <a:gd name="T5" fmla="*/ 17 h 48"/>
                    <a:gd name="T6" fmla="*/ 39 w 55"/>
                    <a:gd name="T7" fmla="*/ 17 h 48"/>
                    <a:gd name="T8" fmla="*/ 39 w 55"/>
                    <a:gd name="T9" fmla="*/ 17 h 48"/>
                    <a:gd name="T10" fmla="*/ 45 w 55"/>
                    <a:gd name="T11" fmla="*/ 23 h 48"/>
                    <a:gd name="T12" fmla="*/ 49 w 55"/>
                    <a:gd name="T13" fmla="*/ 30 h 48"/>
                    <a:gd name="T14" fmla="*/ 54 w 55"/>
                    <a:gd name="T15" fmla="*/ 39 h 48"/>
                    <a:gd name="T16" fmla="*/ 55 w 55"/>
                    <a:gd name="T17" fmla="*/ 48 h 48"/>
                    <a:gd name="T18" fmla="*/ 26 w 55"/>
                    <a:gd name="T19" fmla="*/ 48 h 48"/>
                    <a:gd name="T20" fmla="*/ 25 w 55"/>
                    <a:gd name="T21" fmla="*/ 33 h 48"/>
                    <a:gd name="T22" fmla="*/ 20 w 55"/>
                    <a:gd name="T23" fmla="*/ 20 h 48"/>
                    <a:gd name="T24" fmla="*/ 12 w 55"/>
                    <a:gd name="T25" fmla="*/ 8 h 48"/>
                    <a:gd name="T26" fmla="*/ 0 w 55"/>
                    <a:gd name="T27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55" h="48">
                      <a:moveTo>
                        <a:pt x="0" y="0"/>
                      </a:moveTo>
                      <a:lnTo>
                        <a:pt x="22" y="7"/>
                      </a:lnTo>
                      <a:lnTo>
                        <a:pt x="39" y="17"/>
                      </a:lnTo>
                      <a:lnTo>
                        <a:pt x="39" y="17"/>
                      </a:lnTo>
                      <a:lnTo>
                        <a:pt x="39" y="17"/>
                      </a:lnTo>
                      <a:lnTo>
                        <a:pt x="45" y="23"/>
                      </a:lnTo>
                      <a:lnTo>
                        <a:pt x="49" y="30"/>
                      </a:lnTo>
                      <a:lnTo>
                        <a:pt x="54" y="39"/>
                      </a:lnTo>
                      <a:lnTo>
                        <a:pt x="55" y="48"/>
                      </a:lnTo>
                      <a:lnTo>
                        <a:pt x="26" y="48"/>
                      </a:lnTo>
                      <a:lnTo>
                        <a:pt x="25" y="33"/>
                      </a:lnTo>
                      <a:lnTo>
                        <a:pt x="20" y="20"/>
                      </a:lnTo>
                      <a:lnTo>
                        <a:pt x="12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05732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88" name="Freeform 580"/>
                <p:cNvSpPr>
                  <a:spLocks/>
                </p:cNvSpPr>
                <p:nvPr/>
              </p:nvSpPr>
              <p:spPr bwMode="auto">
                <a:xfrm>
                  <a:off x="3911601" y="5389563"/>
                  <a:ext cx="71438" cy="34925"/>
                </a:xfrm>
                <a:custGeom>
                  <a:avLst/>
                  <a:gdLst>
                    <a:gd name="T0" fmla="*/ 35 w 45"/>
                    <a:gd name="T1" fmla="*/ 0 h 22"/>
                    <a:gd name="T2" fmla="*/ 35 w 45"/>
                    <a:gd name="T3" fmla="*/ 0 h 22"/>
                    <a:gd name="T4" fmla="*/ 39 w 45"/>
                    <a:gd name="T5" fmla="*/ 1 h 22"/>
                    <a:gd name="T6" fmla="*/ 42 w 45"/>
                    <a:gd name="T7" fmla="*/ 3 h 22"/>
                    <a:gd name="T8" fmla="*/ 43 w 45"/>
                    <a:gd name="T9" fmla="*/ 7 h 22"/>
                    <a:gd name="T10" fmla="*/ 45 w 45"/>
                    <a:gd name="T11" fmla="*/ 10 h 22"/>
                    <a:gd name="T12" fmla="*/ 45 w 45"/>
                    <a:gd name="T13" fmla="*/ 10 h 22"/>
                    <a:gd name="T14" fmla="*/ 43 w 45"/>
                    <a:gd name="T15" fmla="*/ 14 h 22"/>
                    <a:gd name="T16" fmla="*/ 42 w 45"/>
                    <a:gd name="T17" fmla="*/ 17 h 22"/>
                    <a:gd name="T18" fmla="*/ 39 w 45"/>
                    <a:gd name="T19" fmla="*/ 20 h 22"/>
                    <a:gd name="T20" fmla="*/ 35 w 45"/>
                    <a:gd name="T21" fmla="*/ 22 h 22"/>
                    <a:gd name="T22" fmla="*/ 0 w 45"/>
                    <a:gd name="T23" fmla="*/ 22 h 22"/>
                    <a:gd name="T24" fmla="*/ 3 w 45"/>
                    <a:gd name="T25" fmla="*/ 14 h 22"/>
                    <a:gd name="T26" fmla="*/ 4 w 45"/>
                    <a:gd name="T27" fmla="*/ 7 h 22"/>
                    <a:gd name="T28" fmla="*/ 4 w 45"/>
                    <a:gd name="T29" fmla="*/ 0 h 22"/>
                    <a:gd name="T30" fmla="*/ 35 w 45"/>
                    <a:gd name="T31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45" h="22">
                      <a:moveTo>
                        <a:pt x="35" y="0"/>
                      </a:moveTo>
                      <a:lnTo>
                        <a:pt x="35" y="0"/>
                      </a:lnTo>
                      <a:lnTo>
                        <a:pt x="39" y="1"/>
                      </a:lnTo>
                      <a:lnTo>
                        <a:pt x="42" y="3"/>
                      </a:lnTo>
                      <a:lnTo>
                        <a:pt x="43" y="7"/>
                      </a:lnTo>
                      <a:lnTo>
                        <a:pt x="45" y="10"/>
                      </a:lnTo>
                      <a:lnTo>
                        <a:pt x="45" y="10"/>
                      </a:lnTo>
                      <a:lnTo>
                        <a:pt x="43" y="14"/>
                      </a:lnTo>
                      <a:lnTo>
                        <a:pt x="42" y="17"/>
                      </a:lnTo>
                      <a:lnTo>
                        <a:pt x="39" y="20"/>
                      </a:lnTo>
                      <a:lnTo>
                        <a:pt x="35" y="22"/>
                      </a:lnTo>
                      <a:lnTo>
                        <a:pt x="0" y="22"/>
                      </a:lnTo>
                      <a:lnTo>
                        <a:pt x="3" y="14"/>
                      </a:lnTo>
                      <a:lnTo>
                        <a:pt x="4" y="7"/>
                      </a:lnTo>
                      <a:lnTo>
                        <a:pt x="4" y="0"/>
                      </a:lnTo>
                      <a:lnTo>
                        <a:pt x="35" y="0"/>
                      </a:lnTo>
                      <a:close/>
                    </a:path>
                  </a:pathLst>
                </a:custGeom>
                <a:solidFill>
                  <a:srgbClr val="384349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89" name="Freeform 581"/>
                <p:cNvSpPr>
                  <a:spLocks/>
                </p:cNvSpPr>
                <p:nvPr/>
              </p:nvSpPr>
              <p:spPr bwMode="auto">
                <a:xfrm>
                  <a:off x="3819526" y="5302250"/>
                  <a:ext cx="76200" cy="15875"/>
                </a:xfrm>
                <a:custGeom>
                  <a:avLst/>
                  <a:gdLst>
                    <a:gd name="T0" fmla="*/ 30 w 48"/>
                    <a:gd name="T1" fmla="*/ 0 h 10"/>
                    <a:gd name="T2" fmla="*/ 46 w 48"/>
                    <a:gd name="T3" fmla="*/ 4 h 10"/>
                    <a:gd name="T4" fmla="*/ 48 w 48"/>
                    <a:gd name="T5" fmla="*/ 4 h 10"/>
                    <a:gd name="T6" fmla="*/ 48 w 48"/>
                    <a:gd name="T7" fmla="*/ 5 h 10"/>
                    <a:gd name="T8" fmla="*/ 48 w 48"/>
                    <a:gd name="T9" fmla="*/ 7 h 10"/>
                    <a:gd name="T10" fmla="*/ 46 w 48"/>
                    <a:gd name="T11" fmla="*/ 8 h 10"/>
                    <a:gd name="T12" fmla="*/ 45 w 48"/>
                    <a:gd name="T13" fmla="*/ 10 h 10"/>
                    <a:gd name="T14" fmla="*/ 43 w 48"/>
                    <a:gd name="T15" fmla="*/ 10 h 10"/>
                    <a:gd name="T16" fmla="*/ 30 w 48"/>
                    <a:gd name="T17" fmla="*/ 5 h 10"/>
                    <a:gd name="T18" fmla="*/ 17 w 48"/>
                    <a:gd name="T19" fmla="*/ 7 h 10"/>
                    <a:gd name="T20" fmla="*/ 4 w 48"/>
                    <a:gd name="T21" fmla="*/ 10 h 10"/>
                    <a:gd name="T22" fmla="*/ 1 w 48"/>
                    <a:gd name="T23" fmla="*/ 10 h 10"/>
                    <a:gd name="T24" fmla="*/ 0 w 48"/>
                    <a:gd name="T25" fmla="*/ 10 h 10"/>
                    <a:gd name="T26" fmla="*/ 0 w 48"/>
                    <a:gd name="T27" fmla="*/ 8 h 10"/>
                    <a:gd name="T28" fmla="*/ 0 w 48"/>
                    <a:gd name="T29" fmla="*/ 5 h 10"/>
                    <a:gd name="T30" fmla="*/ 0 w 48"/>
                    <a:gd name="T31" fmla="*/ 4 h 10"/>
                    <a:gd name="T32" fmla="*/ 1 w 48"/>
                    <a:gd name="T33" fmla="*/ 4 h 10"/>
                    <a:gd name="T34" fmla="*/ 17 w 48"/>
                    <a:gd name="T35" fmla="*/ 0 h 10"/>
                    <a:gd name="T36" fmla="*/ 30 w 48"/>
                    <a:gd name="T37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48" h="10">
                      <a:moveTo>
                        <a:pt x="30" y="0"/>
                      </a:moveTo>
                      <a:lnTo>
                        <a:pt x="46" y="4"/>
                      </a:lnTo>
                      <a:lnTo>
                        <a:pt x="48" y="4"/>
                      </a:lnTo>
                      <a:lnTo>
                        <a:pt x="48" y="5"/>
                      </a:lnTo>
                      <a:lnTo>
                        <a:pt x="48" y="7"/>
                      </a:lnTo>
                      <a:lnTo>
                        <a:pt x="46" y="8"/>
                      </a:lnTo>
                      <a:lnTo>
                        <a:pt x="45" y="10"/>
                      </a:lnTo>
                      <a:lnTo>
                        <a:pt x="43" y="10"/>
                      </a:lnTo>
                      <a:lnTo>
                        <a:pt x="30" y="5"/>
                      </a:lnTo>
                      <a:lnTo>
                        <a:pt x="17" y="7"/>
                      </a:lnTo>
                      <a:lnTo>
                        <a:pt x="4" y="10"/>
                      </a:lnTo>
                      <a:lnTo>
                        <a:pt x="1" y="10"/>
                      </a:lnTo>
                      <a:lnTo>
                        <a:pt x="0" y="10"/>
                      </a:lnTo>
                      <a:lnTo>
                        <a:pt x="0" y="8"/>
                      </a:lnTo>
                      <a:lnTo>
                        <a:pt x="0" y="5"/>
                      </a:ln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17" y="0"/>
                      </a:lnTo>
                      <a:lnTo>
                        <a:pt x="30" y="0"/>
                      </a:lnTo>
                      <a:close/>
                    </a:path>
                  </a:pathLst>
                </a:custGeom>
                <a:solidFill>
                  <a:srgbClr val="38485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90" name="Freeform 582"/>
                <p:cNvSpPr>
                  <a:spLocks/>
                </p:cNvSpPr>
                <p:nvPr/>
              </p:nvSpPr>
              <p:spPr bwMode="auto">
                <a:xfrm>
                  <a:off x="3827463" y="5322888"/>
                  <a:ext cx="63500" cy="12700"/>
                </a:xfrm>
                <a:custGeom>
                  <a:avLst/>
                  <a:gdLst>
                    <a:gd name="T0" fmla="*/ 25 w 40"/>
                    <a:gd name="T1" fmla="*/ 0 h 8"/>
                    <a:gd name="T2" fmla="*/ 37 w 40"/>
                    <a:gd name="T3" fmla="*/ 2 h 8"/>
                    <a:gd name="T4" fmla="*/ 40 w 40"/>
                    <a:gd name="T5" fmla="*/ 4 h 8"/>
                    <a:gd name="T6" fmla="*/ 40 w 40"/>
                    <a:gd name="T7" fmla="*/ 5 h 8"/>
                    <a:gd name="T8" fmla="*/ 38 w 40"/>
                    <a:gd name="T9" fmla="*/ 7 h 8"/>
                    <a:gd name="T10" fmla="*/ 35 w 40"/>
                    <a:gd name="T11" fmla="*/ 7 h 8"/>
                    <a:gd name="T12" fmla="*/ 25 w 40"/>
                    <a:gd name="T13" fmla="*/ 5 h 8"/>
                    <a:gd name="T14" fmla="*/ 15 w 40"/>
                    <a:gd name="T15" fmla="*/ 5 h 8"/>
                    <a:gd name="T16" fmla="*/ 3 w 40"/>
                    <a:gd name="T17" fmla="*/ 8 h 8"/>
                    <a:gd name="T18" fmla="*/ 2 w 40"/>
                    <a:gd name="T19" fmla="*/ 8 h 8"/>
                    <a:gd name="T20" fmla="*/ 0 w 40"/>
                    <a:gd name="T21" fmla="*/ 7 h 8"/>
                    <a:gd name="T22" fmla="*/ 0 w 40"/>
                    <a:gd name="T23" fmla="*/ 4 h 8"/>
                    <a:gd name="T24" fmla="*/ 2 w 40"/>
                    <a:gd name="T25" fmla="*/ 2 h 8"/>
                    <a:gd name="T26" fmla="*/ 13 w 40"/>
                    <a:gd name="T27" fmla="*/ 0 h 8"/>
                    <a:gd name="T28" fmla="*/ 25 w 40"/>
                    <a:gd name="T29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40" h="8">
                      <a:moveTo>
                        <a:pt x="25" y="0"/>
                      </a:moveTo>
                      <a:lnTo>
                        <a:pt x="37" y="2"/>
                      </a:lnTo>
                      <a:lnTo>
                        <a:pt x="40" y="4"/>
                      </a:lnTo>
                      <a:lnTo>
                        <a:pt x="40" y="5"/>
                      </a:lnTo>
                      <a:lnTo>
                        <a:pt x="38" y="7"/>
                      </a:lnTo>
                      <a:lnTo>
                        <a:pt x="35" y="7"/>
                      </a:lnTo>
                      <a:lnTo>
                        <a:pt x="25" y="5"/>
                      </a:lnTo>
                      <a:lnTo>
                        <a:pt x="15" y="5"/>
                      </a:lnTo>
                      <a:lnTo>
                        <a:pt x="3" y="8"/>
                      </a:lnTo>
                      <a:lnTo>
                        <a:pt x="2" y="8"/>
                      </a:lnTo>
                      <a:lnTo>
                        <a:pt x="0" y="7"/>
                      </a:lnTo>
                      <a:lnTo>
                        <a:pt x="0" y="4"/>
                      </a:lnTo>
                      <a:lnTo>
                        <a:pt x="2" y="2"/>
                      </a:lnTo>
                      <a:lnTo>
                        <a:pt x="13" y="0"/>
                      </a:lnTo>
                      <a:lnTo>
                        <a:pt x="25" y="0"/>
                      </a:lnTo>
                      <a:close/>
                    </a:path>
                  </a:pathLst>
                </a:custGeom>
                <a:solidFill>
                  <a:srgbClr val="38485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91" name="Freeform 583"/>
                <p:cNvSpPr>
                  <a:spLocks/>
                </p:cNvSpPr>
                <p:nvPr/>
              </p:nvSpPr>
              <p:spPr bwMode="auto">
                <a:xfrm>
                  <a:off x="3830638" y="5343525"/>
                  <a:ext cx="55563" cy="7938"/>
                </a:xfrm>
                <a:custGeom>
                  <a:avLst/>
                  <a:gdLst>
                    <a:gd name="T0" fmla="*/ 22 w 35"/>
                    <a:gd name="T1" fmla="*/ 0 h 5"/>
                    <a:gd name="T2" fmla="*/ 33 w 35"/>
                    <a:gd name="T3" fmla="*/ 1 h 5"/>
                    <a:gd name="T4" fmla="*/ 35 w 35"/>
                    <a:gd name="T5" fmla="*/ 3 h 5"/>
                    <a:gd name="T6" fmla="*/ 35 w 35"/>
                    <a:gd name="T7" fmla="*/ 4 h 5"/>
                    <a:gd name="T8" fmla="*/ 33 w 35"/>
                    <a:gd name="T9" fmla="*/ 5 h 5"/>
                    <a:gd name="T10" fmla="*/ 32 w 35"/>
                    <a:gd name="T11" fmla="*/ 5 h 5"/>
                    <a:gd name="T12" fmla="*/ 22 w 35"/>
                    <a:gd name="T13" fmla="*/ 4 h 5"/>
                    <a:gd name="T14" fmla="*/ 13 w 35"/>
                    <a:gd name="T15" fmla="*/ 4 h 5"/>
                    <a:gd name="T16" fmla="*/ 4 w 35"/>
                    <a:gd name="T17" fmla="*/ 5 h 5"/>
                    <a:gd name="T18" fmla="*/ 1 w 35"/>
                    <a:gd name="T19" fmla="*/ 5 h 5"/>
                    <a:gd name="T20" fmla="*/ 0 w 35"/>
                    <a:gd name="T21" fmla="*/ 4 h 5"/>
                    <a:gd name="T22" fmla="*/ 1 w 35"/>
                    <a:gd name="T23" fmla="*/ 3 h 5"/>
                    <a:gd name="T24" fmla="*/ 3 w 35"/>
                    <a:gd name="T25" fmla="*/ 1 h 5"/>
                    <a:gd name="T26" fmla="*/ 13 w 35"/>
                    <a:gd name="T27" fmla="*/ 0 h 5"/>
                    <a:gd name="T28" fmla="*/ 22 w 35"/>
                    <a:gd name="T29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5" h="5">
                      <a:moveTo>
                        <a:pt x="22" y="0"/>
                      </a:moveTo>
                      <a:lnTo>
                        <a:pt x="33" y="1"/>
                      </a:lnTo>
                      <a:lnTo>
                        <a:pt x="35" y="3"/>
                      </a:lnTo>
                      <a:lnTo>
                        <a:pt x="35" y="4"/>
                      </a:lnTo>
                      <a:lnTo>
                        <a:pt x="33" y="5"/>
                      </a:lnTo>
                      <a:lnTo>
                        <a:pt x="32" y="5"/>
                      </a:lnTo>
                      <a:lnTo>
                        <a:pt x="22" y="4"/>
                      </a:lnTo>
                      <a:lnTo>
                        <a:pt x="13" y="4"/>
                      </a:lnTo>
                      <a:lnTo>
                        <a:pt x="4" y="5"/>
                      </a:lnTo>
                      <a:lnTo>
                        <a:pt x="1" y="5"/>
                      </a:lnTo>
                      <a:lnTo>
                        <a:pt x="0" y="4"/>
                      </a:lnTo>
                      <a:lnTo>
                        <a:pt x="1" y="3"/>
                      </a:lnTo>
                      <a:lnTo>
                        <a:pt x="3" y="1"/>
                      </a:lnTo>
                      <a:lnTo>
                        <a:pt x="13" y="0"/>
                      </a:lnTo>
                      <a:lnTo>
                        <a:pt x="22" y="0"/>
                      </a:lnTo>
                      <a:close/>
                    </a:path>
                  </a:pathLst>
                </a:custGeom>
                <a:solidFill>
                  <a:srgbClr val="38485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92" name="Freeform 584"/>
                <p:cNvSpPr>
                  <a:spLocks/>
                </p:cNvSpPr>
                <p:nvPr/>
              </p:nvSpPr>
              <p:spPr bwMode="auto">
                <a:xfrm>
                  <a:off x="3409951" y="5319713"/>
                  <a:ext cx="207963" cy="76200"/>
                </a:xfrm>
                <a:custGeom>
                  <a:avLst/>
                  <a:gdLst>
                    <a:gd name="T0" fmla="*/ 66 w 131"/>
                    <a:gd name="T1" fmla="*/ 0 h 48"/>
                    <a:gd name="T2" fmla="*/ 86 w 131"/>
                    <a:gd name="T3" fmla="*/ 3 h 48"/>
                    <a:gd name="T4" fmla="*/ 105 w 131"/>
                    <a:gd name="T5" fmla="*/ 9 h 48"/>
                    <a:gd name="T6" fmla="*/ 118 w 131"/>
                    <a:gd name="T7" fmla="*/ 19 h 48"/>
                    <a:gd name="T8" fmla="*/ 128 w 131"/>
                    <a:gd name="T9" fmla="*/ 32 h 48"/>
                    <a:gd name="T10" fmla="*/ 131 w 131"/>
                    <a:gd name="T11" fmla="*/ 48 h 48"/>
                    <a:gd name="T12" fmla="*/ 0 w 131"/>
                    <a:gd name="T13" fmla="*/ 47 h 48"/>
                    <a:gd name="T14" fmla="*/ 4 w 131"/>
                    <a:gd name="T15" fmla="*/ 32 h 48"/>
                    <a:gd name="T16" fmla="*/ 15 w 131"/>
                    <a:gd name="T17" fmla="*/ 19 h 48"/>
                    <a:gd name="T18" fmla="*/ 28 w 131"/>
                    <a:gd name="T19" fmla="*/ 9 h 48"/>
                    <a:gd name="T20" fmla="*/ 45 w 131"/>
                    <a:gd name="T21" fmla="*/ 3 h 48"/>
                    <a:gd name="T22" fmla="*/ 66 w 131"/>
                    <a:gd name="T23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31" h="48">
                      <a:moveTo>
                        <a:pt x="66" y="0"/>
                      </a:moveTo>
                      <a:lnTo>
                        <a:pt x="86" y="3"/>
                      </a:lnTo>
                      <a:lnTo>
                        <a:pt x="105" y="9"/>
                      </a:lnTo>
                      <a:lnTo>
                        <a:pt x="118" y="19"/>
                      </a:lnTo>
                      <a:lnTo>
                        <a:pt x="128" y="32"/>
                      </a:lnTo>
                      <a:lnTo>
                        <a:pt x="131" y="48"/>
                      </a:lnTo>
                      <a:lnTo>
                        <a:pt x="0" y="47"/>
                      </a:lnTo>
                      <a:lnTo>
                        <a:pt x="4" y="32"/>
                      </a:lnTo>
                      <a:lnTo>
                        <a:pt x="15" y="19"/>
                      </a:lnTo>
                      <a:lnTo>
                        <a:pt x="28" y="9"/>
                      </a:lnTo>
                      <a:lnTo>
                        <a:pt x="45" y="3"/>
                      </a:lnTo>
                      <a:lnTo>
                        <a:pt x="66" y="0"/>
                      </a:lnTo>
                      <a:close/>
                    </a:path>
                  </a:pathLst>
                </a:custGeom>
                <a:solidFill>
                  <a:srgbClr val="B05D3B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93" name="Freeform 585"/>
                <p:cNvSpPr>
                  <a:spLocks/>
                </p:cNvSpPr>
                <p:nvPr/>
              </p:nvSpPr>
              <p:spPr bwMode="auto">
                <a:xfrm>
                  <a:off x="3398838" y="5394325"/>
                  <a:ext cx="238125" cy="33338"/>
                </a:xfrm>
                <a:custGeom>
                  <a:avLst/>
                  <a:gdLst>
                    <a:gd name="T0" fmla="*/ 9 w 150"/>
                    <a:gd name="T1" fmla="*/ 0 h 21"/>
                    <a:gd name="T2" fmla="*/ 141 w 150"/>
                    <a:gd name="T3" fmla="*/ 1 h 21"/>
                    <a:gd name="T4" fmla="*/ 144 w 150"/>
                    <a:gd name="T5" fmla="*/ 1 h 21"/>
                    <a:gd name="T6" fmla="*/ 147 w 150"/>
                    <a:gd name="T7" fmla="*/ 4 h 21"/>
                    <a:gd name="T8" fmla="*/ 148 w 150"/>
                    <a:gd name="T9" fmla="*/ 7 h 21"/>
                    <a:gd name="T10" fmla="*/ 150 w 150"/>
                    <a:gd name="T11" fmla="*/ 11 h 21"/>
                    <a:gd name="T12" fmla="*/ 148 w 150"/>
                    <a:gd name="T13" fmla="*/ 14 h 21"/>
                    <a:gd name="T14" fmla="*/ 147 w 150"/>
                    <a:gd name="T15" fmla="*/ 19 h 21"/>
                    <a:gd name="T16" fmla="*/ 144 w 150"/>
                    <a:gd name="T17" fmla="*/ 20 h 21"/>
                    <a:gd name="T18" fmla="*/ 141 w 150"/>
                    <a:gd name="T19" fmla="*/ 21 h 21"/>
                    <a:gd name="T20" fmla="*/ 9 w 150"/>
                    <a:gd name="T21" fmla="*/ 21 h 21"/>
                    <a:gd name="T22" fmla="*/ 6 w 150"/>
                    <a:gd name="T23" fmla="*/ 20 h 21"/>
                    <a:gd name="T24" fmla="*/ 3 w 150"/>
                    <a:gd name="T25" fmla="*/ 17 h 21"/>
                    <a:gd name="T26" fmla="*/ 1 w 150"/>
                    <a:gd name="T27" fmla="*/ 14 h 21"/>
                    <a:gd name="T28" fmla="*/ 0 w 150"/>
                    <a:gd name="T29" fmla="*/ 10 h 21"/>
                    <a:gd name="T30" fmla="*/ 1 w 150"/>
                    <a:gd name="T31" fmla="*/ 7 h 21"/>
                    <a:gd name="T32" fmla="*/ 3 w 150"/>
                    <a:gd name="T33" fmla="*/ 4 h 21"/>
                    <a:gd name="T34" fmla="*/ 6 w 150"/>
                    <a:gd name="T35" fmla="*/ 1 h 21"/>
                    <a:gd name="T36" fmla="*/ 9 w 150"/>
                    <a:gd name="T37" fmla="*/ 0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50" h="21">
                      <a:moveTo>
                        <a:pt x="9" y="0"/>
                      </a:moveTo>
                      <a:lnTo>
                        <a:pt x="141" y="1"/>
                      </a:lnTo>
                      <a:lnTo>
                        <a:pt x="144" y="1"/>
                      </a:lnTo>
                      <a:lnTo>
                        <a:pt x="147" y="4"/>
                      </a:lnTo>
                      <a:lnTo>
                        <a:pt x="148" y="7"/>
                      </a:lnTo>
                      <a:lnTo>
                        <a:pt x="150" y="11"/>
                      </a:lnTo>
                      <a:lnTo>
                        <a:pt x="148" y="14"/>
                      </a:lnTo>
                      <a:lnTo>
                        <a:pt x="147" y="19"/>
                      </a:lnTo>
                      <a:lnTo>
                        <a:pt x="144" y="20"/>
                      </a:lnTo>
                      <a:lnTo>
                        <a:pt x="141" y="21"/>
                      </a:lnTo>
                      <a:lnTo>
                        <a:pt x="9" y="21"/>
                      </a:lnTo>
                      <a:lnTo>
                        <a:pt x="6" y="20"/>
                      </a:lnTo>
                      <a:lnTo>
                        <a:pt x="3" y="17"/>
                      </a:lnTo>
                      <a:lnTo>
                        <a:pt x="1" y="14"/>
                      </a:lnTo>
                      <a:lnTo>
                        <a:pt x="0" y="10"/>
                      </a:lnTo>
                      <a:lnTo>
                        <a:pt x="1" y="7"/>
                      </a:lnTo>
                      <a:lnTo>
                        <a:pt x="3" y="4"/>
                      </a:lnTo>
                      <a:lnTo>
                        <a:pt x="6" y="1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solidFill>
                  <a:srgbClr val="38485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94" name="Freeform 586"/>
                <p:cNvSpPr>
                  <a:spLocks/>
                </p:cNvSpPr>
                <p:nvPr/>
              </p:nvSpPr>
              <p:spPr bwMode="auto">
                <a:xfrm>
                  <a:off x="3598863" y="5351463"/>
                  <a:ext cx="19050" cy="44450"/>
                </a:xfrm>
                <a:custGeom>
                  <a:avLst/>
                  <a:gdLst>
                    <a:gd name="T0" fmla="*/ 0 w 12"/>
                    <a:gd name="T1" fmla="*/ 0 h 28"/>
                    <a:gd name="T2" fmla="*/ 0 w 12"/>
                    <a:gd name="T3" fmla="*/ 0 h 28"/>
                    <a:gd name="T4" fmla="*/ 9 w 12"/>
                    <a:gd name="T5" fmla="*/ 14 h 28"/>
                    <a:gd name="T6" fmla="*/ 12 w 12"/>
                    <a:gd name="T7" fmla="*/ 28 h 28"/>
                    <a:gd name="T8" fmla="*/ 9 w 12"/>
                    <a:gd name="T9" fmla="*/ 14 h 28"/>
                    <a:gd name="T10" fmla="*/ 0 w 12"/>
                    <a:gd name="T11" fmla="*/ 0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" h="28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9" y="14"/>
                      </a:lnTo>
                      <a:lnTo>
                        <a:pt x="12" y="28"/>
                      </a:lnTo>
                      <a:lnTo>
                        <a:pt x="9" y="1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DCAB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95" name="Freeform 587"/>
                <p:cNvSpPr>
                  <a:spLocks/>
                </p:cNvSpPr>
                <p:nvPr/>
              </p:nvSpPr>
              <p:spPr bwMode="auto">
                <a:xfrm>
                  <a:off x="3578226" y="5335588"/>
                  <a:ext cx="20638" cy="15875"/>
                </a:xfrm>
                <a:custGeom>
                  <a:avLst/>
                  <a:gdLst>
                    <a:gd name="T0" fmla="*/ 0 w 13"/>
                    <a:gd name="T1" fmla="*/ 0 h 10"/>
                    <a:gd name="T2" fmla="*/ 8 w 13"/>
                    <a:gd name="T3" fmla="*/ 6 h 10"/>
                    <a:gd name="T4" fmla="*/ 13 w 13"/>
                    <a:gd name="T5" fmla="*/ 10 h 10"/>
                    <a:gd name="T6" fmla="*/ 13 w 13"/>
                    <a:gd name="T7" fmla="*/ 10 h 10"/>
                    <a:gd name="T8" fmla="*/ 8 w 13"/>
                    <a:gd name="T9" fmla="*/ 6 h 10"/>
                    <a:gd name="T10" fmla="*/ 0 w 13"/>
                    <a:gd name="T11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3" h="10">
                      <a:moveTo>
                        <a:pt x="0" y="0"/>
                      </a:moveTo>
                      <a:lnTo>
                        <a:pt x="8" y="6"/>
                      </a:lnTo>
                      <a:lnTo>
                        <a:pt x="13" y="10"/>
                      </a:lnTo>
                      <a:lnTo>
                        <a:pt x="13" y="10"/>
                      </a:lnTo>
                      <a:lnTo>
                        <a:pt x="8" y="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AA9A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96" name="Freeform 588"/>
                <p:cNvSpPr>
                  <a:spLocks/>
                </p:cNvSpPr>
                <p:nvPr/>
              </p:nvSpPr>
              <p:spPr bwMode="auto">
                <a:xfrm>
                  <a:off x="3535363" y="5322888"/>
                  <a:ext cx="82550" cy="73025"/>
                </a:xfrm>
                <a:custGeom>
                  <a:avLst/>
                  <a:gdLst>
                    <a:gd name="T0" fmla="*/ 0 w 52"/>
                    <a:gd name="T1" fmla="*/ 0 h 46"/>
                    <a:gd name="T2" fmla="*/ 14 w 52"/>
                    <a:gd name="T3" fmla="*/ 2 h 46"/>
                    <a:gd name="T4" fmla="*/ 27 w 52"/>
                    <a:gd name="T5" fmla="*/ 8 h 46"/>
                    <a:gd name="T6" fmla="*/ 27 w 52"/>
                    <a:gd name="T7" fmla="*/ 8 h 46"/>
                    <a:gd name="T8" fmla="*/ 27 w 52"/>
                    <a:gd name="T9" fmla="*/ 8 h 46"/>
                    <a:gd name="T10" fmla="*/ 35 w 52"/>
                    <a:gd name="T11" fmla="*/ 14 h 46"/>
                    <a:gd name="T12" fmla="*/ 40 w 52"/>
                    <a:gd name="T13" fmla="*/ 18 h 46"/>
                    <a:gd name="T14" fmla="*/ 49 w 52"/>
                    <a:gd name="T15" fmla="*/ 32 h 46"/>
                    <a:gd name="T16" fmla="*/ 52 w 52"/>
                    <a:gd name="T17" fmla="*/ 46 h 46"/>
                    <a:gd name="T18" fmla="*/ 30 w 52"/>
                    <a:gd name="T19" fmla="*/ 46 h 46"/>
                    <a:gd name="T20" fmla="*/ 26 w 52"/>
                    <a:gd name="T21" fmla="*/ 46 h 46"/>
                    <a:gd name="T22" fmla="*/ 24 w 52"/>
                    <a:gd name="T23" fmla="*/ 32 h 46"/>
                    <a:gd name="T24" fmla="*/ 20 w 52"/>
                    <a:gd name="T25" fmla="*/ 18 h 46"/>
                    <a:gd name="T26" fmla="*/ 11 w 52"/>
                    <a:gd name="T27" fmla="*/ 8 h 46"/>
                    <a:gd name="T28" fmla="*/ 0 w 52"/>
                    <a:gd name="T29" fmla="*/ 0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52" h="46">
                      <a:moveTo>
                        <a:pt x="0" y="0"/>
                      </a:moveTo>
                      <a:lnTo>
                        <a:pt x="14" y="2"/>
                      </a:lnTo>
                      <a:lnTo>
                        <a:pt x="27" y="8"/>
                      </a:lnTo>
                      <a:lnTo>
                        <a:pt x="27" y="8"/>
                      </a:lnTo>
                      <a:lnTo>
                        <a:pt x="27" y="8"/>
                      </a:lnTo>
                      <a:lnTo>
                        <a:pt x="35" y="14"/>
                      </a:lnTo>
                      <a:lnTo>
                        <a:pt x="40" y="18"/>
                      </a:lnTo>
                      <a:lnTo>
                        <a:pt x="49" y="32"/>
                      </a:lnTo>
                      <a:lnTo>
                        <a:pt x="52" y="46"/>
                      </a:lnTo>
                      <a:lnTo>
                        <a:pt x="30" y="46"/>
                      </a:lnTo>
                      <a:lnTo>
                        <a:pt x="26" y="46"/>
                      </a:lnTo>
                      <a:lnTo>
                        <a:pt x="24" y="32"/>
                      </a:lnTo>
                      <a:lnTo>
                        <a:pt x="20" y="18"/>
                      </a:lnTo>
                      <a:lnTo>
                        <a:pt x="11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05732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97" name="Freeform 589"/>
                <p:cNvSpPr>
                  <a:spLocks/>
                </p:cNvSpPr>
                <p:nvPr/>
              </p:nvSpPr>
              <p:spPr bwMode="auto">
                <a:xfrm>
                  <a:off x="3567113" y="5395913"/>
                  <a:ext cx="69850" cy="31750"/>
                </a:xfrm>
                <a:custGeom>
                  <a:avLst/>
                  <a:gdLst>
                    <a:gd name="T0" fmla="*/ 6 w 44"/>
                    <a:gd name="T1" fmla="*/ 0 h 20"/>
                    <a:gd name="T2" fmla="*/ 10 w 44"/>
                    <a:gd name="T3" fmla="*/ 0 h 20"/>
                    <a:gd name="T4" fmla="*/ 32 w 44"/>
                    <a:gd name="T5" fmla="*/ 0 h 20"/>
                    <a:gd name="T6" fmla="*/ 35 w 44"/>
                    <a:gd name="T7" fmla="*/ 0 h 20"/>
                    <a:gd name="T8" fmla="*/ 38 w 44"/>
                    <a:gd name="T9" fmla="*/ 0 h 20"/>
                    <a:gd name="T10" fmla="*/ 41 w 44"/>
                    <a:gd name="T11" fmla="*/ 3 h 20"/>
                    <a:gd name="T12" fmla="*/ 42 w 44"/>
                    <a:gd name="T13" fmla="*/ 6 h 20"/>
                    <a:gd name="T14" fmla="*/ 44 w 44"/>
                    <a:gd name="T15" fmla="*/ 10 h 20"/>
                    <a:gd name="T16" fmla="*/ 42 w 44"/>
                    <a:gd name="T17" fmla="*/ 13 h 20"/>
                    <a:gd name="T18" fmla="*/ 41 w 44"/>
                    <a:gd name="T19" fmla="*/ 18 h 20"/>
                    <a:gd name="T20" fmla="*/ 38 w 44"/>
                    <a:gd name="T21" fmla="*/ 19 h 20"/>
                    <a:gd name="T22" fmla="*/ 35 w 44"/>
                    <a:gd name="T23" fmla="*/ 20 h 20"/>
                    <a:gd name="T24" fmla="*/ 0 w 44"/>
                    <a:gd name="T25" fmla="*/ 20 h 20"/>
                    <a:gd name="T26" fmla="*/ 3 w 44"/>
                    <a:gd name="T27" fmla="*/ 13 h 20"/>
                    <a:gd name="T28" fmla="*/ 4 w 44"/>
                    <a:gd name="T29" fmla="*/ 6 h 20"/>
                    <a:gd name="T30" fmla="*/ 6 w 44"/>
                    <a:gd name="T31" fmla="*/ 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44" h="20">
                      <a:moveTo>
                        <a:pt x="6" y="0"/>
                      </a:moveTo>
                      <a:lnTo>
                        <a:pt x="10" y="0"/>
                      </a:lnTo>
                      <a:lnTo>
                        <a:pt x="32" y="0"/>
                      </a:lnTo>
                      <a:lnTo>
                        <a:pt x="35" y="0"/>
                      </a:lnTo>
                      <a:lnTo>
                        <a:pt x="38" y="0"/>
                      </a:lnTo>
                      <a:lnTo>
                        <a:pt x="41" y="3"/>
                      </a:lnTo>
                      <a:lnTo>
                        <a:pt x="42" y="6"/>
                      </a:lnTo>
                      <a:lnTo>
                        <a:pt x="44" y="10"/>
                      </a:lnTo>
                      <a:lnTo>
                        <a:pt x="42" y="13"/>
                      </a:lnTo>
                      <a:lnTo>
                        <a:pt x="41" y="18"/>
                      </a:lnTo>
                      <a:lnTo>
                        <a:pt x="38" y="19"/>
                      </a:lnTo>
                      <a:lnTo>
                        <a:pt x="35" y="20"/>
                      </a:lnTo>
                      <a:lnTo>
                        <a:pt x="0" y="20"/>
                      </a:lnTo>
                      <a:lnTo>
                        <a:pt x="3" y="13"/>
                      </a:lnTo>
                      <a:lnTo>
                        <a:pt x="4" y="6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rgbClr val="384349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98" name="Freeform 590"/>
                <p:cNvSpPr>
                  <a:spLocks/>
                </p:cNvSpPr>
                <p:nvPr/>
              </p:nvSpPr>
              <p:spPr bwMode="auto">
                <a:xfrm>
                  <a:off x="3479801" y="5310188"/>
                  <a:ext cx="73025" cy="14288"/>
                </a:xfrm>
                <a:custGeom>
                  <a:avLst/>
                  <a:gdLst>
                    <a:gd name="T0" fmla="*/ 16 w 46"/>
                    <a:gd name="T1" fmla="*/ 0 h 9"/>
                    <a:gd name="T2" fmla="*/ 29 w 46"/>
                    <a:gd name="T3" fmla="*/ 0 h 9"/>
                    <a:gd name="T4" fmla="*/ 45 w 46"/>
                    <a:gd name="T5" fmla="*/ 3 h 9"/>
                    <a:gd name="T6" fmla="*/ 46 w 46"/>
                    <a:gd name="T7" fmla="*/ 5 h 9"/>
                    <a:gd name="T8" fmla="*/ 46 w 46"/>
                    <a:gd name="T9" fmla="*/ 6 h 9"/>
                    <a:gd name="T10" fmla="*/ 46 w 46"/>
                    <a:gd name="T11" fmla="*/ 8 h 9"/>
                    <a:gd name="T12" fmla="*/ 45 w 46"/>
                    <a:gd name="T13" fmla="*/ 9 h 9"/>
                    <a:gd name="T14" fmla="*/ 43 w 46"/>
                    <a:gd name="T15" fmla="*/ 9 h 9"/>
                    <a:gd name="T16" fmla="*/ 42 w 46"/>
                    <a:gd name="T17" fmla="*/ 9 h 9"/>
                    <a:gd name="T18" fmla="*/ 29 w 46"/>
                    <a:gd name="T19" fmla="*/ 6 h 9"/>
                    <a:gd name="T20" fmla="*/ 17 w 46"/>
                    <a:gd name="T21" fmla="*/ 6 h 9"/>
                    <a:gd name="T22" fmla="*/ 4 w 46"/>
                    <a:gd name="T23" fmla="*/ 9 h 9"/>
                    <a:gd name="T24" fmla="*/ 1 w 46"/>
                    <a:gd name="T25" fmla="*/ 9 h 9"/>
                    <a:gd name="T26" fmla="*/ 0 w 46"/>
                    <a:gd name="T27" fmla="*/ 9 h 9"/>
                    <a:gd name="T28" fmla="*/ 0 w 46"/>
                    <a:gd name="T29" fmla="*/ 8 h 9"/>
                    <a:gd name="T30" fmla="*/ 0 w 46"/>
                    <a:gd name="T31" fmla="*/ 6 h 9"/>
                    <a:gd name="T32" fmla="*/ 0 w 46"/>
                    <a:gd name="T33" fmla="*/ 5 h 9"/>
                    <a:gd name="T34" fmla="*/ 1 w 46"/>
                    <a:gd name="T35" fmla="*/ 3 h 9"/>
                    <a:gd name="T36" fmla="*/ 16 w 46"/>
                    <a:gd name="T37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46" h="9">
                      <a:moveTo>
                        <a:pt x="16" y="0"/>
                      </a:moveTo>
                      <a:lnTo>
                        <a:pt x="29" y="0"/>
                      </a:lnTo>
                      <a:lnTo>
                        <a:pt x="45" y="3"/>
                      </a:lnTo>
                      <a:lnTo>
                        <a:pt x="46" y="5"/>
                      </a:lnTo>
                      <a:lnTo>
                        <a:pt x="46" y="6"/>
                      </a:lnTo>
                      <a:lnTo>
                        <a:pt x="46" y="8"/>
                      </a:lnTo>
                      <a:lnTo>
                        <a:pt x="45" y="9"/>
                      </a:lnTo>
                      <a:lnTo>
                        <a:pt x="43" y="9"/>
                      </a:lnTo>
                      <a:lnTo>
                        <a:pt x="42" y="9"/>
                      </a:lnTo>
                      <a:lnTo>
                        <a:pt x="29" y="6"/>
                      </a:lnTo>
                      <a:lnTo>
                        <a:pt x="17" y="6"/>
                      </a:lnTo>
                      <a:lnTo>
                        <a:pt x="4" y="9"/>
                      </a:lnTo>
                      <a:lnTo>
                        <a:pt x="1" y="9"/>
                      </a:lnTo>
                      <a:lnTo>
                        <a:pt x="0" y="9"/>
                      </a:lnTo>
                      <a:lnTo>
                        <a:pt x="0" y="8"/>
                      </a:lnTo>
                      <a:lnTo>
                        <a:pt x="0" y="6"/>
                      </a:lnTo>
                      <a:lnTo>
                        <a:pt x="0" y="5"/>
                      </a:lnTo>
                      <a:lnTo>
                        <a:pt x="1" y="3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solidFill>
                  <a:srgbClr val="38485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699" name="Freeform 591"/>
                <p:cNvSpPr>
                  <a:spLocks/>
                </p:cNvSpPr>
                <p:nvPr/>
              </p:nvSpPr>
              <p:spPr bwMode="auto">
                <a:xfrm>
                  <a:off x="3489326" y="5329238"/>
                  <a:ext cx="58738" cy="14288"/>
                </a:xfrm>
                <a:custGeom>
                  <a:avLst/>
                  <a:gdLst>
                    <a:gd name="T0" fmla="*/ 13 w 37"/>
                    <a:gd name="T1" fmla="*/ 0 h 9"/>
                    <a:gd name="T2" fmla="*/ 23 w 37"/>
                    <a:gd name="T3" fmla="*/ 0 h 9"/>
                    <a:gd name="T4" fmla="*/ 34 w 37"/>
                    <a:gd name="T5" fmla="*/ 3 h 9"/>
                    <a:gd name="T6" fmla="*/ 37 w 37"/>
                    <a:gd name="T7" fmla="*/ 4 h 9"/>
                    <a:gd name="T8" fmla="*/ 37 w 37"/>
                    <a:gd name="T9" fmla="*/ 7 h 9"/>
                    <a:gd name="T10" fmla="*/ 36 w 37"/>
                    <a:gd name="T11" fmla="*/ 9 h 9"/>
                    <a:gd name="T12" fmla="*/ 33 w 37"/>
                    <a:gd name="T13" fmla="*/ 9 h 9"/>
                    <a:gd name="T14" fmla="*/ 23 w 37"/>
                    <a:gd name="T15" fmla="*/ 6 h 9"/>
                    <a:gd name="T16" fmla="*/ 13 w 37"/>
                    <a:gd name="T17" fmla="*/ 6 h 9"/>
                    <a:gd name="T18" fmla="*/ 2 w 37"/>
                    <a:gd name="T19" fmla="*/ 9 h 9"/>
                    <a:gd name="T20" fmla="*/ 0 w 37"/>
                    <a:gd name="T21" fmla="*/ 9 h 9"/>
                    <a:gd name="T22" fmla="*/ 0 w 37"/>
                    <a:gd name="T23" fmla="*/ 7 h 9"/>
                    <a:gd name="T24" fmla="*/ 0 w 37"/>
                    <a:gd name="T25" fmla="*/ 4 h 9"/>
                    <a:gd name="T26" fmla="*/ 1 w 37"/>
                    <a:gd name="T27" fmla="*/ 3 h 9"/>
                    <a:gd name="T28" fmla="*/ 13 w 37"/>
                    <a:gd name="T29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7" h="9">
                      <a:moveTo>
                        <a:pt x="13" y="0"/>
                      </a:moveTo>
                      <a:lnTo>
                        <a:pt x="23" y="0"/>
                      </a:lnTo>
                      <a:lnTo>
                        <a:pt x="34" y="3"/>
                      </a:lnTo>
                      <a:lnTo>
                        <a:pt x="37" y="4"/>
                      </a:lnTo>
                      <a:lnTo>
                        <a:pt x="37" y="7"/>
                      </a:lnTo>
                      <a:lnTo>
                        <a:pt x="36" y="9"/>
                      </a:lnTo>
                      <a:lnTo>
                        <a:pt x="33" y="9"/>
                      </a:lnTo>
                      <a:lnTo>
                        <a:pt x="23" y="6"/>
                      </a:lnTo>
                      <a:lnTo>
                        <a:pt x="13" y="6"/>
                      </a:lnTo>
                      <a:lnTo>
                        <a:pt x="2" y="9"/>
                      </a:lnTo>
                      <a:lnTo>
                        <a:pt x="0" y="9"/>
                      </a:lnTo>
                      <a:lnTo>
                        <a:pt x="0" y="7"/>
                      </a:lnTo>
                      <a:lnTo>
                        <a:pt x="0" y="4"/>
                      </a:lnTo>
                      <a:lnTo>
                        <a:pt x="1" y="3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38485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700" name="Freeform 592"/>
                <p:cNvSpPr>
                  <a:spLocks/>
                </p:cNvSpPr>
                <p:nvPr/>
              </p:nvSpPr>
              <p:spPr bwMode="auto">
                <a:xfrm>
                  <a:off x="3490913" y="5349875"/>
                  <a:ext cx="52388" cy="9525"/>
                </a:xfrm>
                <a:custGeom>
                  <a:avLst/>
                  <a:gdLst>
                    <a:gd name="T0" fmla="*/ 12 w 33"/>
                    <a:gd name="T1" fmla="*/ 0 h 6"/>
                    <a:gd name="T2" fmla="*/ 22 w 33"/>
                    <a:gd name="T3" fmla="*/ 0 h 6"/>
                    <a:gd name="T4" fmla="*/ 32 w 33"/>
                    <a:gd name="T5" fmla="*/ 1 h 6"/>
                    <a:gd name="T6" fmla="*/ 33 w 33"/>
                    <a:gd name="T7" fmla="*/ 3 h 6"/>
                    <a:gd name="T8" fmla="*/ 33 w 33"/>
                    <a:gd name="T9" fmla="*/ 4 h 6"/>
                    <a:gd name="T10" fmla="*/ 32 w 33"/>
                    <a:gd name="T11" fmla="*/ 6 h 6"/>
                    <a:gd name="T12" fmla="*/ 31 w 33"/>
                    <a:gd name="T13" fmla="*/ 6 h 6"/>
                    <a:gd name="T14" fmla="*/ 20 w 33"/>
                    <a:gd name="T15" fmla="*/ 4 h 6"/>
                    <a:gd name="T16" fmla="*/ 13 w 33"/>
                    <a:gd name="T17" fmla="*/ 4 h 6"/>
                    <a:gd name="T18" fmla="*/ 3 w 33"/>
                    <a:gd name="T19" fmla="*/ 6 h 6"/>
                    <a:gd name="T20" fmla="*/ 1 w 33"/>
                    <a:gd name="T21" fmla="*/ 6 h 6"/>
                    <a:gd name="T22" fmla="*/ 0 w 33"/>
                    <a:gd name="T23" fmla="*/ 4 h 6"/>
                    <a:gd name="T24" fmla="*/ 0 w 33"/>
                    <a:gd name="T25" fmla="*/ 3 h 6"/>
                    <a:gd name="T26" fmla="*/ 1 w 33"/>
                    <a:gd name="T27" fmla="*/ 1 h 6"/>
                    <a:gd name="T28" fmla="*/ 12 w 33"/>
                    <a:gd name="T29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3" h="6">
                      <a:moveTo>
                        <a:pt x="12" y="0"/>
                      </a:moveTo>
                      <a:lnTo>
                        <a:pt x="22" y="0"/>
                      </a:lnTo>
                      <a:lnTo>
                        <a:pt x="32" y="1"/>
                      </a:lnTo>
                      <a:lnTo>
                        <a:pt x="33" y="3"/>
                      </a:lnTo>
                      <a:lnTo>
                        <a:pt x="33" y="4"/>
                      </a:lnTo>
                      <a:lnTo>
                        <a:pt x="32" y="6"/>
                      </a:lnTo>
                      <a:lnTo>
                        <a:pt x="31" y="6"/>
                      </a:lnTo>
                      <a:lnTo>
                        <a:pt x="20" y="4"/>
                      </a:lnTo>
                      <a:lnTo>
                        <a:pt x="13" y="4"/>
                      </a:lnTo>
                      <a:lnTo>
                        <a:pt x="3" y="6"/>
                      </a:lnTo>
                      <a:lnTo>
                        <a:pt x="1" y="6"/>
                      </a:lnTo>
                      <a:lnTo>
                        <a:pt x="0" y="4"/>
                      </a:lnTo>
                      <a:lnTo>
                        <a:pt x="0" y="3"/>
                      </a:lnTo>
                      <a:lnTo>
                        <a:pt x="1" y="1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384857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701" name="Rectangle 593"/>
                <p:cNvSpPr>
                  <a:spLocks noChangeArrowheads="1"/>
                </p:cNvSpPr>
                <p:nvPr/>
              </p:nvSpPr>
              <p:spPr bwMode="auto">
                <a:xfrm>
                  <a:off x="4308476" y="4405313"/>
                  <a:ext cx="249238" cy="965200"/>
                </a:xfrm>
                <a:prstGeom prst="rect">
                  <a:avLst/>
                </a:prstGeom>
                <a:solidFill>
                  <a:srgbClr val="FFF0D7"/>
                </a:soli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702" name="Freeform 594"/>
                <p:cNvSpPr>
                  <a:spLocks/>
                </p:cNvSpPr>
                <p:nvPr/>
              </p:nvSpPr>
              <p:spPr bwMode="auto">
                <a:xfrm>
                  <a:off x="4308476" y="4405313"/>
                  <a:ext cx="249238" cy="965200"/>
                </a:xfrm>
                <a:custGeom>
                  <a:avLst/>
                  <a:gdLst>
                    <a:gd name="T0" fmla="*/ 0 w 157"/>
                    <a:gd name="T1" fmla="*/ 0 h 608"/>
                    <a:gd name="T2" fmla="*/ 157 w 157"/>
                    <a:gd name="T3" fmla="*/ 0 h 608"/>
                    <a:gd name="T4" fmla="*/ 157 w 157"/>
                    <a:gd name="T5" fmla="*/ 608 h 608"/>
                    <a:gd name="T6" fmla="*/ 124 w 157"/>
                    <a:gd name="T7" fmla="*/ 608 h 608"/>
                    <a:gd name="T8" fmla="*/ 124 w 157"/>
                    <a:gd name="T9" fmla="*/ 133 h 608"/>
                    <a:gd name="T10" fmla="*/ 121 w 157"/>
                    <a:gd name="T11" fmla="*/ 117 h 608"/>
                    <a:gd name="T12" fmla="*/ 113 w 157"/>
                    <a:gd name="T13" fmla="*/ 105 h 608"/>
                    <a:gd name="T14" fmla="*/ 103 w 157"/>
                    <a:gd name="T15" fmla="*/ 96 h 608"/>
                    <a:gd name="T16" fmla="*/ 92 w 157"/>
                    <a:gd name="T17" fmla="*/ 91 h 608"/>
                    <a:gd name="T18" fmla="*/ 78 w 157"/>
                    <a:gd name="T19" fmla="*/ 89 h 608"/>
                    <a:gd name="T20" fmla="*/ 67 w 157"/>
                    <a:gd name="T21" fmla="*/ 91 h 608"/>
                    <a:gd name="T22" fmla="*/ 55 w 157"/>
                    <a:gd name="T23" fmla="*/ 95 h 608"/>
                    <a:gd name="T24" fmla="*/ 46 w 157"/>
                    <a:gd name="T25" fmla="*/ 102 h 608"/>
                    <a:gd name="T26" fmla="*/ 41 w 157"/>
                    <a:gd name="T27" fmla="*/ 114 h 608"/>
                    <a:gd name="T28" fmla="*/ 38 w 157"/>
                    <a:gd name="T29" fmla="*/ 128 h 608"/>
                    <a:gd name="T30" fmla="*/ 38 w 157"/>
                    <a:gd name="T31" fmla="*/ 608 h 608"/>
                    <a:gd name="T32" fmla="*/ 0 w 157"/>
                    <a:gd name="T33" fmla="*/ 608 h 608"/>
                    <a:gd name="T34" fmla="*/ 0 w 157"/>
                    <a:gd name="T35" fmla="*/ 0 h 6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57" h="608">
                      <a:moveTo>
                        <a:pt x="0" y="0"/>
                      </a:moveTo>
                      <a:lnTo>
                        <a:pt x="157" y="0"/>
                      </a:lnTo>
                      <a:lnTo>
                        <a:pt x="157" y="608"/>
                      </a:lnTo>
                      <a:lnTo>
                        <a:pt x="124" y="608"/>
                      </a:lnTo>
                      <a:lnTo>
                        <a:pt x="124" y="133"/>
                      </a:lnTo>
                      <a:lnTo>
                        <a:pt x="121" y="117"/>
                      </a:lnTo>
                      <a:lnTo>
                        <a:pt x="113" y="105"/>
                      </a:lnTo>
                      <a:lnTo>
                        <a:pt x="103" y="96"/>
                      </a:lnTo>
                      <a:lnTo>
                        <a:pt x="92" y="91"/>
                      </a:lnTo>
                      <a:lnTo>
                        <a:pt x="78" y="89"/>
                      </a:lnTo>
                      <a:lnTo>
                        <a:pt x="67" y="91"/>
                      </a:lnTo>
                      <a:lnTo>
                        <a:pt x="55" y="95"/>
                      </a:lnTo>
                      <a:lnTo>
                        <a:pt x="46" y="102"/>
                      </a:lnTo>
                      <a:lnTo>
                        <a:pt x="41" y="114"/>
                      </a:lnTo>
                      <a:lnTo>
                        <a:pt x="38" y="128"/>
                      </a:lnTo>
                      <a:lnTo>
                        <a:pt x="38" y="608"/>
                      </a:lnTo>
                      <a:lnTo>
                        <a:pt x="0" y="60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E2B5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703" name="Rectangle 595"/>
                <p:cNvSpPr>
                  <a:spLocks noChangeArrowheads="1"/>
                </p:cNvSpPr>
                <p:nvPr/>
              </p:nvSpPr>
              <p:spPr bwMode="auto">
                <a:xfrm>
                  <a:off x="3082926" y="4383088"/>
                  <a:ext cx="2724150" cy="73025"/>
                </a:xfrm>
                <a:prstGeom prst="rect">
                  <a:avLst/>
                </a:prstGeom>
                <a:solidFill>
                  <a:srgbClr val="332F2C"/>
                </a:soli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  <p:sp>
              <p:nvSpPr>
                <p:cNvPr id="704" name="Freeform 596"/>
                <p:cNvSpPr>
                  <a:spLocks/>
                </p:cNvSpPr>
                <p:nvPr/>
              </p:nvSpPr>
              <p:spPr bwMode="auto">
                <a:xfrm>
                  <a:off x="4105276" y="5364163"/>
                  <a:ext cx="654050" cy="82550"/>
                </a:xfrm>
                <a:custGeom>
                  <a:avLst/>
                  <a:gdLst>
                    <a:gd name="T0" fmla="*/ 93 w 412"/>
                    <a:gd name="T1" fmla="*/ 0 h 52"/>
                    <a:gd name="T2" fmla="*/ 141 w 412"/>
                    <a:gd name="T3" fmla="*/ 0 h 52"/>
                    <a:gd name="T4" fmla="*/ 182 w 412"/>
                    <a:gd name="T5" fmla="*/ 0 h 52"/>
                    <a:gd name="T6" fmla="*/ 221 w 412"/>
                    <a:gd name="T7" fmla="*/ 0 h 52"/>
                    <a:gd name="T8" fmla="*/ 263 w 412"/>
                    <a:gd name="T9" fmla="*/ 0 h 52"/>
                    <a:gd name="T10" fmla="*/ 311 w 412"/>
                    <a:gd name="T11" fmla="*/ 0 h 52"/>
                    <a:gd name="T12" fmla="*/ 337 w 412"/>
                    <a:gd name="T13" fmla="*/ 1 h 52"/>
                    <a:gd name="T14" fmla="*/ 359 w 412"/>
                    <a:gd name="T15" fmla="*/ 7 h 52"/>
                    <a:gd name="T16" fmla="*/ 377 w 412"/>
                    <a:gd name="T17" fmla="*/ 13 h 52"/>
                    <a:gd name="T18" fmla="*/ 390 w 412"/>
                    <a:gd name="T19" fmla="*/ 22 h 52"/>
                    <a:gd name="T20" fmla="*/ 398 w 412"/>
                    <a:gd name="T21" fmla="*/ 30 h 52"/>
                    <a:gd name="T22" fmla="*/ 406 w 412"/>
                    <a:gd name="T23" fmla="*/ 39 h 52"/>
                    <a:gd name="T24" fmla="*/ 409 w 412"/>
                    <a:gd name="T25" fmla="*/ 46 h 52"/>
                    <a:gd name="T26" fmla="*/ 412 w 412"/>
                    <a:gd name="T27" fmla="*/ 51 h 52"/>
                    <a:gd name="T28" fmla="*/ 412 w 412"/>
                    <a:gd name="T29" fmla="*/ 52 h 52"/>
                    <a:gd name="T30" fmla="*/ 0 w 412"/>
                    <a:gd name="T31" fmla="*/ 52 h 52"/>
                    <a:gd name="T32" fmla="*/ 1 w 412"/>
                    <a:gd name="T33" fmla="*/ 51 h 52"/>
                    <a:gd name="T34" fmla="*/ 3 w 412"/>
                    <a:gd name="T35" fmla="*/ 46 h 52"/>
                    <a:gd name="T36" fmla="*/ 6 w 412"/>
                    <a:gd name="T37" fmla="*/ 39 h 52"/>
                    <a:gd name="T38" fmla="*/ 12 w 412"/>
                    <a:gd name="T39" fmla="*/ 30 h 52"/>
                    <a:gd name="T40" fmla="*/ 20 w 412"/>
                    <a:gd name="T41" fmla="*/ 22 h 52"/>
                    <a:gd name="T42" fmla="*/ 32 w 412"/>
                    <a:gd name="T43" fmla="*/ 13 h 52"/>
                    <a:gd name="T44" fmla="*/ 48 w 412"/>
                    <a:gd name="T45" fmla="*/ 7 h 52"/>
                    <a:gd name="T46" fmla="*/ 68 w 412"/>
                    <a:gd name="T47" fmla="*/ 1 h 52"/>
                    <a:gd name="T48" fmla="*/ 93 w 412"/>
                    <a:gd name="T49" fmla="*/ 0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412" h="52">
                      <a:moveTo>
                        <a:pt x="93" y="0"/>
                      </a:moveTo>
                      <a:lnTo>
                        <a:pt x="141" y="0"/>
                      </a:lnTo>
                      <a:lnTo>
                        <a:pt x="182" y="0"/>
                      </a:lnTo>
                      <a:lnTo>
                        <a:pt x="221" y="0"/>
                      </a:lnTo>
                      <a:lnTo>
                        <a:pt x="263" y="0"/>
                      </a:lnTo>
                      <a:lnTo>
                        <a:pt x="311" y="0"/>
                      </a:lnTo>
                      <a:lnTo>
                        <a:pt x="337" y="1"/>
                      </a:lnTo>
                      <a:lnTo>
                        <a:pt x="359" y="7"/>
                      </a:lnTo>
                      <a:lnTo>
                        <a:pt x="377" y="13"/>
                      </a:lnTo>
                      <a:lnTo>
                        <a:pt x="390" y="22"/>
                      </a:lnTo>
                      <a:lnTo>
                        <a:pt x="398" y="30"/>
                      </a:lnTo>
                      <a:lnTo>
                        <a:pt x="406" y="39"/>
                      </a:lnTo>
                      <a:lnTo>
                        <a:pt x="409" y="46"/>
                      </a:lnTo>
                      <a:lnTo>
                        <a:pt x="412" y="51"/>
                      </a:lnTo>
                      <a:lnTo>
                        <a:pt x="412" y="52"/>
                      </a:lnTo>
                      <a:lnTo>
                        <a:pt x="0" y="52"/>
                      </a:lnTo>
                      <a:lnTo>
                        <a:pt x="1" y="51"/>
                      </a:lnTo>
                      <a:lnTo>
                        <a:pt x="3" y="46"/>
                      </a:lnTo>
                      <a:lnTo>
                        <a:pt x="6" y="39"/>
                      </a:lnTo>
                      <a:lnTo>
                        <a:pt x="12" y="30"/>
                      </a:lnTo>
                      <a:lnTo>
                        <a:pt x="20" y="22"/>
                      </a:lnTo>
                      <a:lnTo>
                        <a:pt x="32" y="13"/>
                      </a:lnTo>
                      <a:lnTo>
                        <a:pt x="48" y="7"/>
                      </a:lnTo>
                      <a:lnTo>
                        <a:pt x="68" y="1"/>
                      </a:lnTo>
                      <a:lnTo>
                        <a:pt x="93" y="0"/>
                      </a:lnTo>
                      <a:close/>
                    </a:path>
                  </a:pathLst>
                </a:custGeom>
                <a:solidFill>
                  <a:srgbClr val="332F2C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/>
                </a:p>
              </p:txBody>
            </p:sp>
          </p:grpSp>
        </p:grpSp>
      </p:grpSp>
      <p:sp>
        <p:nvSpPr>
          <p:cNvPr id="705" name="Title 1"/>
          <p:cNvSpPr>
            <a:spLocks noGrp="1"/>
          </p:cNvSpPr>
          <p:nvPr>
            <p:ph type="title"/>
          </p:nvPr>
        </p:nvSpPr>
        <p:spPr bwMode="gray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Vertical sales teams: VIP approach institutionalized for key account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678733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5540936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255" name="think-cell Slide" r:id="rId42" imgW="530" imgH="531" progId="TCLayout.ActiveDocument.1">
                  <p:embed/>
                </p:oleObj>
              </mc:Choice>
              <mc:Fallback>
                <p:oleObj name="think-cell Slide" r:id="rId42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/>
          <p:cNvSpPr/>
          <p:nvPr>
            <p:custDataLst>
              <p:tags r:id="rId3"/>
            </p:custDataLst>
          </p:nvPr>
        </p:nvSpPr>
        <p:spPr bwMode="auto"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8" name="Title 1"/>
          <p:cNvSpPr>
            <a:spLocks noGrp="1"/>
          </p:cNvSpPr>
          <p:nvPr>
            <p:ph type="title"/>
          </p:nvPr>
        </p:nvSpPr>
        <p:spPr bwMode="gray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US" dirty="0"/>
              <a:t>Value selling illustrated through Vertical sales teams</a:t>
            </a:r>
            <a:endParaRPr lang="en-GB" dirty="0"/>
          </a:p>
        </p:txBody>
      </p:sp>
      <p:sp>
        <p:nvSpPr>
          <p:cNvPr id="86" name="Rectangle 85"/>
          <p:cNvSpPr/>
          <p:nvPr/>
        </p:nvSpPr>
        <p:spPr>
          <a:xfrm>
            <a:off x="1777276" y="2523214"/>
            <a:ext cx="3527588" cy="920716"/>
          </a:xfrm>
          <a:prstGeom prst="rect">
            <a:avLst/>
          </a:prstGeom>
          <a:gradFill>
            <a:gsLst>
              <a:gs pos="0">
                <a:schemeClr val="accent2">
                  <a:lumMod val="40000"/>
                  <a:lumOff val="60000"/>
                </a:schemeClr>
              </a:gs>
              <a:gs pos="100000">
                <a:schemeClr val="accent3">
                  <a:lumMod val="20000"/>
                  <a:lumOff val="80000"/>
                </a:scheme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Rectangle 3"/>
          <p:cNvSpPr>
            <a:spLocks/>
          </p:cNvSpPr>
          <p:nvPr/>
        </p:nvSpPr>
        <p:spPr>
          <a:xfrm>
            <a:off x="5307656" y="745789"/>
            <a:ext cx="6342994" cy="5118445"/>
          </a:xfrm>
          <a:prstGeom prst="rect">
            <a:avLst/>
          </a:prstGeom>
          <a:noFill/>
          <a:ln w="19050" cap="flat" cmpd="sng" algn="ctr">
            <a:solidFill>
              <a:schemeClr val="accent4"/>
            </a:solidFill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8" name="Freeform 47"/>
          <p:cNvSpPr/>
          <p:nvPr/>
        </p:nvSpPr>
        <p:spPr>
          <a:xfrm>
            <a:off x="4368327" y="1626917"/>
            <a:ext cx="930683" cy="4167376"/>
          </a:xfrm>
          <a:custGeom>
            <a:avLst/>
            <a:gdLst>
              <a:gd name="connsiteX0" fmla="*/ 14991 w 742013"/>
              <a:gd name="connsiteY0" fmla="*/ 966865 h 4691921"/>
              <a:gd name="connsiteX1" fmla="*/ 742013 w 742013"/>
              <a:gd name="connsiteY1" fmla="*/ 0 h 4691921"/>
              <a:gd name="connsiteX2" fmla="*/ 742013 w 742013"/>
              <a:gd name="connsiteY2" fmla="*/ 4691921 h 4691921"/>
              <a:gd name="connsiteX3" fmla="*/ 0 w 742013"/>
              <a:gd name="connsiteY3" fmla="*/ 2518347 h 4691921"/>
              <a:gd name="connsiteX4" fmla="*/ 14991 w 742013"/>
              <a:gd name="connsiteY4" fmla="*/ 966865 h 4691921"/>
              <a:gd name="connsiteX0" fmla="*/ 7466 w 734488"/>
              <a:gd name="connsiteY0" fmla="*/ 966865 h 4691921"/>
              <a:gd name="connsiteX1" fmla="*/ 734488 w 734488"/>
              <a:gd name="connsiteY1" fmla="*/ 0 h 4691921"/>
              <a:gd name="connsiteX2" fmla="*/ 734488 w 734488"/>
              <a:gd name="connsiteY2" fmla="*/ 4691921 h 4691921"/>
              <a:gd name="connsiteX3" fmla="*/ 0 w 734488"/>
              <a:gd name="connsiteY3" fmla="*/ 2057219 h 4691921"/>
              <a:gd name="connsiteX4" fmla="*/ 7466 w 734488"/>
              <a:gd name="connsiteY4" fmla="*/ 966865 h 4691921"/>
              <a:gd name="connsiteX0" fmla="*/ 7466 w 734488"/>
              <a:gd name="connsiteY0" fmla="*/ 1020485 h 4691921"/>
              <a:gd name="connsiteX1" fmla="*/ 734488 w 734488"/>
              <a:gd name="connsiteY1" fmla="*/ 0 h 4691921"/>
              <a:gd name="connsiteX2" fmla="*/ 734488 w 734488"/>
              <a:gd name="connsiteY2" fmla="*/ 4691921 h 4691921"/>
              <a:gd name="connsiteX3" fmla="*/ 0 w 734488"/>
              <a:gd name="connsiteY3" fmla="*/ 2057219 h 4691921"/>
              <a:gd name="connsiteX4" fmla="*/ 7466 w 734488"/>
              <a:gd name="connsiteY4" fmla="*/ 1020485 h 4691921"/>
              <a:gd name="connsiteX0" fmla="*/ 711 w 735258"/>
              <a:gd name="connsiteY0" fmla="*/ 1009761 h 4691921"/>
              <a:gd name="connsiteX1" fmla="*/ 735258 w 735258"/>
              <a:gd name="connsiteY1" fmla="*/ 0 h 4691921"/>
              <a:gd name="connsiteX2" fmla="*/ 735258 w 735258"/>
              <a:gd name="connsiteY2" fmla="*/ 4691921 h 4691921"/>
              <a:gd name="connsiteX3" fmla="*/ 770 w 735258"/>
              <a:gd name="connsiteY3" fmla="*/ 2057219 h 4691921"/>
              <a:gd name="connsiteX4" fmla="*/ 711 w 735258"/>
              <a:gd name="connsiteY4" fmla="*/ 1009761 h 4691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5258" h="4691921">
                <a:moveTo>
                  <a:pt x="711" y="1009761"/>
                </a:moveTo>
                <a:lnTo>
                  <a:pt x="735258" y="0"/>
                </a:lnTo>
                <a:lnTo>
                  <a:pt x="735258" y="4691921"/>
                </a:lnTo>
                <a:lnTo>
                  <a:pt x="770" y="2057219"/>
                </a:lnTo>
                <a:cubicBezTo>
                  <a:pt x="3259" y="1693768"/>
                  <a:pt x="-1778" y="1373212"/>
                  <a:pt x="711" y="1009761"/>
                </a:cubicBezTo>
                <a:close/>
              </a:path>
            </a:pathLst>
          </a:custGeom>
          <a:gradFill>
            <a:gsLst>
              <a:gs pos="0">
                <a:schemeClr val="accent2">
                  <a:lumMod val="40000"/>
                  <a:lumOff val="60000"/>
                </a:schemeClr>
              </a:gs>
              <a:gs pos="100000">
                <a:schemeClr val="accent3">
                  <a:lumMod val="20000"/>
                  <a:lumOff val="80000"/>
                </a:scheme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0" name="Rectangle 89"/>
          <p:cNvSpPr>
            <a:spLocks/>
          </p:cNvSpPr>
          <p:nvPr/>
        </p:nvSpPr>
        <p:spPr>
          <a:xfrm>
            <a:off x="158759" y="745789"/>
            <a:ext cx="4175614" cy="5118445"/>
          </a:xfrm>
          <a:prstGeom prst="rect">
            <a:avLst/>
          </a:prstGeom>
          <a:noFill/>
          <a:ln w="19050" cap="flat" cmpd="sng" algn="ctr">
            <a:solidFill>
              <a:schemeClr val="accent4"/>
            </a:solidFill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5" name="Rectangle 94"/>
          <p:cNvSpPr>
            <a:spLocks/>
          </p:cNvSpPr>
          <p:nvPr/>
        </p:nvSpPr>
        <p:spPr>
          <a:xfrm>
            <a:off x="167852" y="745789"/>
            <a:ext cx="4166522" cy="601563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>
              <a:spcBef>
                <a:spcPts val="0"/>
              </a:spcBef>
            </a:pPr>
            <a:r>
              <a:rPr lang="en-US" b="1" dirty="0">
                <a:solidFill>
                  <a:schemeClr val="bg1"/>
                </a:solidFill>
              </a:rPr>
              <a:t>Value generation levers for Key Account</a:t>
            </a:r>
          </a:p>
        </p:txBody>
      </p:sp>
      <p:sp>
        <p:nvSpPr>
          <p:cNvPr id="96" name="Rectangle 95"/>
          <p:cNvSpPr>
            <a:spLocks/>
          </p:cNvSpPr>
          <p:nvPr/>
        </p:nvSpPr>
        <p:spPr>
          <a:xfrm>
            <a:off x="5304865" y="745789"/>
            <a:ext cx="6345784" cy="601563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>
              <a:spcBef>
                <a:spcPts val="0"/>
              </a:spcBef>
            </a:pPr>
            <a:r>
              <a:rPr lang="en-US" b="1" dirty="0">
                <a:solidFill>
                  <a:schemeClr val="bg1"/>
                </a:solidFill>
              </a:rPr>
              <a:t>Break down of value to customer by applying standard </a:t>
            </a:r>
            <a:r>
              <a:rPr lang="en-US" b="1" dirty="0" smtClean="0">
                <a:solidFill>
                  <a:schemeClr val="bg1"/>
                </a:solidFill>
              </a:rPr>
              <a:t/>
            </a:r>
            <a:br>
              <a:rPr lang="en-US" b="1" dirty="0" smtClean="0">
                <a:solidFill>
                  <a:schemeClr val="bg1"/>
                </a:solidFill>
              </a:rPr>
            </a:br>
            <a:r>
              <a:rPr lang="en-US" b="1" dirty="0" smtClean="0">
                <a:solidFill>
                  <a:schemeClr val="bg1"/>
                </a:solidFill>
              </a:rPr>
              <a:t>value </a:t>
            </a:r>
            <a:r>
              <a:rPr lang="en-US" b="1" dirty="0">
                <a:solidFill>
                  <a:schemeClr val="bg1"/>
                </a:solidFill>
              </a:rPr>
              <a:t>process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282348" y="1405540"/>
            <a:ext cx="3937530" cy="268250"/>
            <a:chOff x="1833953" y="1485434"/>
            <a:chExt cx="2174299" cy="225221"/>
          </a:xfrm>
        </p:grpSpPr>
        <p:sp>
          <p:nvSpPr>
            <p:cNvPr id="106" name="TextBox 105"/>
            <p:cNvSpPr txBox="1">
              <a:spLocks/>
            </p:cNvSpPr>
            <p:nvPr/>
          </p:nvSpPr>
          <p:spPr>
            <a:xfrm>
              <a:off x="1833953" y="1485434"/>
              <a:ext cx="2174299" cy="200055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1600" b="1" dirty="0">
                  <a:solidFill>
                    <a:schemeClr val="tx2"/>
                  </a:solidFill>
                </a:rPr>
                <a:t>Value to customer, </a:t>
              </a:r>
              <a:r>
                <a:rPr lang="en-GB" sz="1600" dirty="0">
                  <a:solidFill>
                    <a:schemeClr val="bg1">
                      <a:lumMod val="50000"/>
                    </a:schemeClr>
                  </a:solidFill>
                </a:rPr>
                <a:t>(INR/ton)</a:t>
              </a:r>
            </a:p>
          </p:txBody>
        </p:sp>
        <p:cxnSp>
          <p:nvCxnSpPr>
            <p:cNvPr id="107" name="Straight Connector 106"/>
            <p:cNvCxnSpPr>
              <a:cxnSpLocks/>
            </p:cNvCxnSpPr>
            <p:nvPr/>
          </p:nvCxnSpPr>
          <p:spPr>
            <a:xfrm>
              <a:off x="1833953" y="1710655"/>
              <a:ext cx="2174299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5" name="TextBox 114"/>
          <p:cNvSpPr txBox="1">
            <a:spLocks/>
          </p:cNvSpPr>
          <p:nvPr/>
        </p:nvSpPr>
        <p:spPr>
          <a:xfrm>
            <a:off x="5399661" y="1435514"/>
            <a:ext cx="6156193" cy="23827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600" dirty="0">
                <a:solidFill>
                  <a:schemeClr val="bg1">
                    <a:lumMod val="50000"/>
                  </a:schemeClr>
                </a:solidFill>
              </a:rPr>
              <a:t>(INR/ton)</a:t>
            </a:r>
          </a:p>
        </p:txBody>
      </p:sp>
      <p:sp>
        <p:nvSpPr>
          <p:cNvPr id="74" name="Rectangle 4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58759" y="5956301"/>
            <a:ext cx="11491891" cy="417344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>
            <a:noAutofit/>
          </a:bodyPr>
          <a:lstStyle>
            <a:defPPr>
              <a:defRPr lang="en-US"/>
            </a:defPPr>
            <a:lvl1pPr>
              <a:defRPr sz="1400" b="1">
                <a:solidFill>
                  <a:prstClr val="white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algn="ctr"/>
            <a:r>
              <a:rPr lang="en-GB" sz="1600" dirty="0"/>
              <a:t>Opportunity to generate additional ~$1 million EBITDA through key account identified</a:t>
            </a:r>
          </a:p>
        </p:txBody>
      </p:sp>
      <p:cxnSp>
        <p:nvCxnSpPr>
          <p:cNvPr id="83" name="Straight Connector 82"/>
          <p:cNvCxnSpPr/>
          <p:nvPr>
            <p:custDataLst>
              <p:tags r:id="rId5"/>
            </p:custDataLst>
          </p:nvPr>
        </p:nvCxnSpPr>
        <p:spPr bwMode="gray">
          <a:xfrm>
            <a:off x="2020888" y="2457450"/>
            <a:ext cx="0" cy="225425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>
            <p:custDataLst>
              <p:tags r:id="rId6"/>
            </p:custDataLst>
          </p:nvPr>
        </p:nvCxnSpPr>
        <p:spPr bwMode="gray">
          <a:xfrm>
            <a:off x="2379663" y="3249613"/>
            <a:ext cx="0" cy="225425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/>
          <p:nvPr>
            <p:custDataLst>
              <p:tags r:id="rId7"/>
            </p:custDataLst>
          </p:nvPr>
        </p:nvCxnSpPr>
        <p:spPr bwMode="gray">
          <a:xfrm>
            <a:off x="2674938" y="4043363"/>
            <a:ext cx="0" cy="225425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/>
          <p:cNvCxnSpPr/>
          <p:nvPr>
            <p:custDataLst>
              <p:tags r:id="rId8"/>
            </p:custDataLst>
          </p:nvPr>
        </p:nvCxnSpPr>
        <p:spPr bwMode="gray">
          <a:xfrm>
            <a:off x="3606800" y="4835525"/>
            <a:ext cx="0" cy="225425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47" name="Chart 146"/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41954874"/>
              </p:ext>
            </p:extLst>
          </p:nvPr>
        </p:nvGraphicFramePr>
        <p:xfrm>
          <a:off x="1312863" y="1695450"/>
          <a:ext cx="2428875" cy="4127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4"/>
          </a:graphicData>
        </a:graphic>
      </p:graphicFrame>
      <p:sp useBgFill="1">
        <p:nvSpPr>
          <p:cNvPr id="143" name="Freeform 142"/>
          <p:cNvSpPr/>
          <p:nvPr>
            <p:custDataLst>
              <p:tags r:id="rId10"/>
            </p:custDataLst>
          </p:nvPr>
        </p:nvSpPr>
        <p:spPr bwMode="auto">
          <a:xfrm>
            <a:off x="2405063" y="3409950"/>
            <a:ext cx="244476" cy="698501"/>
          </a:xfrm>
          <a:custGeom>
            <a:avLst/>
            <a:gdLst/>
            <a:ahLst/>
            <a:cxnLst/>
            <a:rect l="0" t="0" r="0" b="0"/>
            <a:pathLst>
              <a:path w="244476" h="698501">
                <a:moveTo>
                  <a:pt x="244475" y="0"/>
                </a:moveTo>
                <a:lnTo>
                  <a:pt x="57150" y="698500"/>
                </a:lnTo>
                <a:lnTo>
                  <a:pt x="0" y="698500"/>
                </a:lnTo>
                <a:lnTo>
                  <a:pt x="187325" y="0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 useBgFill="1">
        <p:nvSpPr>
          <p:cNvPr id="146" name="Freeform 145"/>
          <p:cNvSpPr/>
          <p:nvPr>
            <p:custDataLst>
              <p:tags r:id="rId11"/>
            </p:custDataLst>
          </p:nvPr>
        </p:nvSpPr>
        <p:spPr bwMode="auto">
          <a:xfrm>
            <a:off x="2405063" y="4995863"/>
            <a:ext cx="244476" cy="696913"/>
          </a:xfrm>
          <a:custGeom>
            <a:avLst/>
            <a:gdLst/>
            <a:ahLst/>
            <a:cxnLst/>
            <a:rect l="0" t="0" r="0" b="0"/>
            <a:pathLst>
              <a:path w="244476" h="696913">
                <a:moveTo>
                  <a:pt x="244475" y="0"/>
                </a:moveTo>
                <a:lnTo>
                  <a:pt x="57150" y="696912"/>
                </a:lnTo>
                <a:lnTo>
                  <a:pt x="0" y="696912"/>
                </a:lnTo>
                <a:lnTo>
                  <a:pt x="187325" y="0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41" name="Freeform 140"/>
          <p:cNvSpPr/>
          <p:nvPr>
            <p:custDataLst>
              <p:tags r:id="rId12"/>
            </p:custDataLst>
          </p:nvPr>
        </p:nvSpPr>
        <p:spPr bwMode="auto">
          <a:xfrm>
            <a:off x="2405063" y="3409950"/>
            <a:ext cx="187326" cy="698501"/>
          </a:xfrm>
          <a:custGeom>
            <a:avLst/>
            <a:gdLst/>
            <a:ahLst/>
            <a:cxnLst/>
            <a:rect l="0" t="0" r="0" b="0"/>
            <a:pathLst>
              <a:path w="187326" h="698501">
                <a:moveTo>
                  <a:pt x="187325" y="0"/>
                </a:moveTo>
                <a:lnTo>
                  <a:pt x="0" y="698500"/>
                </a:lnTo>
              </a:path>
            </a:pathLst>
          </a:cu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2" name="Freeform 141"/>
          <p:cNvSpPr/>
          <p:nvPr>
            <p:custDataLst>
              <p:tags r:id="rId13"/>
            </p:custDataLst>
          </p:nvPr>
        </p:nvSpPr>
        <p:spPr bwMode="auto">
          <a:xfrm>
            <a:off x="2462213" y="3409950"/>
            <a:ext cx="187326" cy="698501"/>
          </a:xfrm>
          <a:custGeom>
            <a:avLst/>
            <a:gdLst/>
            <a:ahLst/>
            <a:cxnLst/>
            <a:rect l="0" t="0" r="0" b="0"/>
            <a:pathLst>
              <a:path w="187326" h="698501">
                <a:moveTo>
                  <a:pt x="187325" y="0"/>
                </a:moveTo>
                <a:lnTo>
                  <a:pt x="0" y="698500"/>
                </a:lnTo>
              </a:path>
            </a:pathLst>
          </a:cu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4" name="Freeform 143"/>
          <p:cNvSpPr/>
          <p:nvPr>
            <p:custDataLst>
              <p:tags r:id="rId14"/>
            </p:custDataLst>
          </p:nvPr>
        </p:nvSpPr>
        <p:spPr bwMode="auto">
          <a:xfrm>
            <a:off x="2405063" y="4995863"/>
            <a:ext cx="187326" cy="696913"/>
          </a:xfrm>
          <a:custGeom>
            <a:avLst/>
            <a:gdLst/>
            <a:ahLst/>
            <a:cxnLst/>
            <a:rect l="0" t="0" r="0" b="0"/>
            <a:pathLst>
              <a:path w="187326" h="696913">
                <a:moveTo>
                  <a:pt x="187325" y="0"/>
                </a:moveTo>
                <a:lnTo>
                  <a:pt x="0" y="696912"/>
                </a:lnTo>
              </a:path>
            </a:pathLst>
          </a:cu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5" name="Freeform 144"/>
          <p:cNvSpPr/>
          <p:nvPr>
            <p:custDataLst>
              <p:tags r:id="rId15"/>
            </p:custDataLst>
          </p:nvPr>
        </p:nvSpPr>
        <p:spPr bwMode="auto">
          <a:xfrm>
            <a:off x="2462213" y="4995863"/>
            <a:ext cx="187326" cy="696913"/>
          </a:xfrm>
          <a:custGeom>
            <a:avLst/>
            <a:gdLst/>
            <a:ahLst/>
            <a:cxnLst/>
            <a:rect l="0" t="0" r="0" b="0"/>
            <a:pathLst>
              <a:path w="187326" h="696913">
                <a:moveTo>
                  <a:pt x="187325" y="0"/>
                </a:moveTo>
                <a:lnTo>
                  <a:pt x="0" y="696912"/>
                </a:lnTo>
              </a:path>
            </a:pathLst>
          </a:cu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9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31788" y="2051050"/>
            <a:ext cx="36195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4615418C-8519-4466-A82E-0378F0D997B3}" type="datetime'V''''''''''''''''M''''''''I'''''''''''''''">
              <a:rPr lang="en-GB" altLang="en-US" sz="1600" smtClean="0">
                <a:sym typeface="+mn-lt"/>
              </a:rPr>
              <a:pPr/>
              <a:t>VMI</a:t>
            </a:fld>
            <a:endParaRPr lang="en-GB" sz="1600" dirty="0">
              <a:sym typeface="+mn-lt"/>
            </a:endParaRPr>
          </a:p>
        </p:txBody>
      </p:sp>
      <p:sp>
        <p:nvSpPr>
          <p:cNvPr id="105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331788" y="2720975"/>
            <a:ext cx="979488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6D51FF04-4082-42D3-AE3D-9E8BC437C76C}" type="datetime'''''St''''''''d''''. V''''a''lue &#10;''p''r''oc''''''e''''ss'''">
              <a:rPr lang="en-GB" altLang="en-US" sz="1600" smtClean="0">
                <a:sym typeface="+mn-lt"/>
              </a:rPr>
              <a:pPr/>
              <a:t>Std. Value 
process</a:t>
            </a:fld>
            <a:endParaRPr lang="en-GB" sz="1600" dirty="0">
              <a:sym typeface="+mn-lt"/>
            </a:endParaRPr>
          </a:p>
        </p:txBody>
      </p:sp>
      <p:sp>
        <p:nvSpPr>
          <p:cNvPr id="104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333625" y="3636963"/>
            <a:ext cx="388938" cy="244475"/>
          </a:xfrm>
          <a:prstGeom prst="rect">
            <a:avLst/>
          </a:prstGeom>
          <a:solidFill>
            <a:schemeClr val="accent1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D1ACF9CD-89EB-4C81-9FFB-FC92C45C63AB}" type="datetime'''''''''''''''5''''''''''''''''''00'''''''''''''''">
              <a:rPr lang="en-GB" altLang="en-US" sz="1600" smtClean="0">
                <a:sym typeface="+mn-lt"/>
              </a:rPr>
              <a:pPr algn="ctr"/>
              <a:t>500</a:t>
            </a:fld>
            <a:endParaRPr lang="en-GB" sz="1600" dirty="0">
              <a:sym typeface="+mn-lt"/>
            </a:endParaRPr>
          </a:p>
        </p:txBody>
      </p:sp>
      <p:sp>
        <p:nvSpPr>
          <p:cNvPr id="102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31788" y="3514725"/>
            <a:ext cx="923925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84211D04-C451-40BC-8A4D-2E2D025908A6}" type="datetime'''''''''''''N''''''o''''''n-''''std ''''''&#10;''d''imensio''n'">
              <a:rPr lang="en-GB" altLang="en-US" sz="1600" smtClean="0">
                <a:sym typeface="+mn-lt"/>
              </a:rPr>
              <a:pPr/>
              <a:t>Non-std 
dimension</a:t>
            </a:fld>
            <a:endParaRPr lang="en-GB" sz="1600" dirty="0">
              <a:sym typeface="+mn-lt"/>
            </a:endParaRPr>
          </a:p>
        </p:txBody>
      </p:sp>
      <p:sp>
        <p:nvSpPr>
          <p:cNvPr id="98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331788" y="4306888"/>
            <a:ext cx="914400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612946C2-3C5E-4464-A9CE-C03D3454CC40}" type="datetime'''''Mo''''U'''''''''''''''' ''cash&#10;b''''''''ac''k'''">
              <a:rPr lang="en-GB" altLang="en-US" sz="1600" smtClean="0">
                <a:sym typeface="+mn-lt"/>
              </a:rPr>
              <a:pPr/>
              <a:t>MoU cash
back</a:t>
            </a:fld>
            <a:endParaRPr lang="en-GB" sz="1600" dirty="0">
              <a:sym typeface="+mn-lt"/>
            </a:endParaRPr>
          </a:p>
        </p:txBody>
      </p:sp>
      <p:sp>
        <p:nvSpPr>
          <p:cNvPr id="103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331788" y="5221288"/>
            <a:ext cx="428625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21CBCF81-CE63-4186-B639-03227E358EC4}" type="datetime'''''T''o''''''t''''''''a''''''''''''''''''''''''''''''''''l'''">
              <a:rPr lang="en-GB" altLang="en-US" sz="1600" smtClean="0">
                <a:sym typeface="+mn-lt"/>
              </a:rPr>
              <a:pPr/>
              <a:t>Total</a:t>
            </a:fld>
            <a:endParaRPr lang="en-GB" sz="1600" dirty="0">
              <a:sym typeface="+mn-lt"/>
            </a:endParaRPr>
          </a:p>
        </p:txBody>
      </p:sp>
      <p:sp>
        <p:nvSpPr>
          <p:cNvPr id="100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632200" y="5221288"/>
            <a:ext cx="55880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8B738DF3-6965-4E57-9BCA-52D0FBE3A081}" type="datetime'''''''''''''''''''''''''1,1''5''''''''''''0'''''''''''''''">
              <a:rPr lang="en-GB" altLang="en-US" sz="1600" smtClean="0">
                <a:sym typeface="+mn-lt"/>
              </a:rPr>
              <a:pPr/>
              <a:t>1,150</a:t>
            </a:fld>
            <a:endParaRPr lang="en-GB" sz="1600" dirty="0">
              <a:sym typeface="+mn-lt"/>
            </a:endParaRPr>
          </a:p>
        </p:txBody>
      </p:sp>
      <p:cxnSp>
        <p:nvCxnSpPr>
          <p:cNvPr id="150" name="Straight Connector 149"/>
          <p:cNvCxnSpPr/>
          <p:nvPr>
            <p:custDataLst>
              <p:tags r:id="rId23"/>
            </p:custDataLst>
          </p:nvPr>
        </p:nvCxnSpPr>
        <p:spPr bwMode="gray">
          <a:xfrm>
            <a:off x="11468100" y="3665538"/>
            <a:ext cx="0" cy="187325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151"/>
          <p:cNvCxnSpPr/>
          <p:nvPr>
            <p:custDataLst>
              <p:tags r:id="rId24"/>
            </p:custDataLst>
          </p:nvPr>
        </p:nvCxnSpPr>
        <p:spPr bwMode="gray">
          <a:xfrm>
            <a:off x="8970963" y="2344738"/>
            <a:ext cx="0" cy="187325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/>
          <p:cNvCxnSpPr/>
          <p:nvPr>
            <p:custDataLst>
              <p:tags r:id="rId25"/>
            </p:custDataLst>
          </p:nvPr>
        </p:nvCxnSpPr>
        <p:spPr bwMode="gray">
          <a:xfrm>
            <a:off x="10787063" y="3005138"/>
            <a:ext cx="0" cy="187325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/>
          <p:cNvCxnSpPr/>
          <p:nvPr>
            <p:custDataLst>
              <p:tags r:id="rId26"/>
            </p:custDataLst>
          </p:nvPr>
        </p:nvCxnSpPr>
        <p:spPr bwMode="gray">
          <a:xfrm>
            <a:off x="11468100" y="4325938"/>
            <a:ext cx="0" cy="187325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150"/>
          <p:cNvCxnSpPr/>
          <p:nvPr>
            <p:custDataLst>
              <p:tags r:id="rId27"/>
            </p:custDataLst>
          </p:nvPr>
        </p:nvCxnSpPr>
        <p:spPr bwMode="gray">
          <a:xfrm>
            <a:off x="8062913" y="4986338"/>
            <a:ext cx="0" cy="187325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03" name="Chart 202"/>
          <p:cNvGraphicFramePr/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771217056"/>
              </p:ext>
            </p:extLst>
          </p:nvPr>
        </p:nvGraphicFramePr>
        <p:xfrm>
          <a:off x="7413625" y="1695450"/>
          <a:ext cx="4137025" cy="4127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sp>
        <p:nvSpPr>
          <p:cNvPr id="157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5419725" y="3306763"/>
            <a:ext cx="1120775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DCA14F76-A91A-415F-9587-40D196760207}" type="datetime'Ot''h''''''''''''''er ''''c''''o''''s''t''''''''s''''''''''*'">
              <a:rPr lang="en-GB" altLang="en-US" sz="1600" smtClean="0">
                <a:sym typeface="+mn-lt"/>
              </a:rPr>
              <a:pPr/>
              <a:t>Other costs*</a:t>
            </a:fld>
            <a:endParaRPr lang="en-GB" sz="1600" dirty="0">
              <a:sym typeface="+mn-lt"/>
            </a:endParaRPr>
          </a:p>
        </p:txBody>
      </p:sp>
      <p:sp>
        <p:nvSpPr>
          <p:cNvPr id="163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9482138" y="2646363"/>
            <a:ext cx="79533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B9EB02E-175B-4F34-8F40-D91A4B959D70}" type="datetime'4''''''''''''''''''0''''''''''''''''''''0'''''''''''''''''''">
              <a:rPr lang="en-GB" altLang="en-US" sz="1600" smtClean="0">
                <a:solidFill>
                  <a:schemeClr val="bg1"/>
                </a:solidFill>
                <a:sym typeface="+mn-lt"/>
              </a:rPr>
              <a:pPr/>
              <a:t>400</a:t>
            </a:fld>
            <a:r>
              <a:rPr lang="en-GB" altLang="en-US" sz="1600" dirty="0" smtClean="0">
                <a:solidFill>
                  <a:schemeClr val="bg1"/>
                </a:solidFill>
                <a:sym typeface="+mn-lt"/>
              </a:rPr>
              <a:t>-500</a:t>
            </a:r>
            <a:endParaRPr lang="en-GB" sz="16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59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7835900" y="1985963"/>
            <a:ext cx="79533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 sz="1600" dirty="0">
                <a:solidFill>
                  <a:schemeClr val="bg1"/>
                </a:solidFill>
                <a:sym typeface="+mn-lt"/>
              </a:rPr>
              <a:t>300-350</a:t>
            </a:r>
          </a:p>
        </p:txBody>
      </p:sp>
      <p:sp>
        <p:nvSpPr>
          <p:cNvPr id="160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9367838" y="4627563"/>
            <a:ext cx="79533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 altLang="en-US" sz="1600" dirty="0">
                <a:solidFill>
                  <a:schemeClr val="bg1"/>
                </a:solidFill>
                <a:sym typeface="+mn-lt"/>
              </a:rPr>
              <a:t>700-750</a:t>
            </a:r>
            <a:endParaRPr lang="en-GB" sz="16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62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5419725" y="1863725"/>
            <a:ext cx="779463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 sz="1600" dirty="0" smtClean="0">
                <a:sym typeface="+mn-lt"/>
              </a:rPr>
              <a:t>Material </a:t>
            </a:r>
            <a:br>
              <a:rPr lang="en-GB" sz="1600" dirty="0" smtClean="0">
                <a:sym typeface="+mn-lt"/>
              </a:rPr>
            </a:br>
            <a:r>
              <a:rPr lang="en-GB" sz="1600" dirty="0" smtClean="0">
                <a:sym typeface="+mn-lt"/>
              </a:rPr>
              <a:t>wastage</a:t>
            </a:r>
            <a:endParaRPr lang="en-GB" sz="1600" dirty="0">
              <a:sym typeface="+mn-lt"/>
            </a:endParaRPr>
          </a:p>
        </p:txBody>
      </p:sp>
      <p:sp>
        <p:nvSpPr>
          <p:cNvPr id="164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5419725" y="2646363"/>
            <a:ext cx="1268413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EF13FEAB-3CA1-48DE-9394-28980BC13FB2}" type="datetime'''''T''r''''i''mm''''''ing'''' ''co''''s''''''''t'''''">
              <a:rPr lang="en-GB" altLang="en-US" sz="1600" smtClean="0">
                <a:sym typeface="+mn-lt"/>
              </a:rPr>
              <a:pPr/>
              <a:t>Trimming cost</a:t>
            </a:fld>
            <a:endParaRPr lang="en-GB" sz="1600" dirty="0">
              <a:sym typeface="+mn-lt"/>
            </a:endParaRPr>
          </a:p>
        </p:txBody>
      </p:sp>
      <p:sp>
        <p:nvSpPr>
          <p:cNvPr id="158" name="Text Placeholder 2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5419725" y="3844925"/>
            <a:ext cx="1063625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C7D86F6-A063-4B20-884D-EE6DDD4B653C}" type="datetime'T''''o''''ta''''''''''l C''ost &#10;to'''' custom''''e''r'''">
              <a:rPr lang="en-GB" altLang="en-US" sz="1600" smtClean="0">
                <a:sym typeface="+mn-lt"/>
              </a:rPr>
              <a:pPr/>
              <a:t>Total Cost 
to customer</a:t>
            </a:fld>
            <a:endParaRPr lang="en-GB" sz="1600" dirty="0">
              <a:sym typeface="+mn-lt"/>
            </a:endParaRPr>
          </a:p>
        </p:txBody>
      </p:sp>
      <p:sp>
        <p:nvSpPr>
          <p:cNvPr id="161" name="Text Placeholder 2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9085263" y="3967163"/>
            <a:ext cx="79533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 altLang="en-US" sz="1600" dirty="0">
                <a:solidFill>
                  <a:schemeClr val="bg1"/>
                </a:solidFill>
                <a:sym typeface="+mn-lt"/>
              </a:rPr>
              <a:t>850-900</a:t>
            </a:r>
            <a:endParaRPr lang="en-GB" sz="16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55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5419725" y="4505325"/>
            <a:ext cx="1806575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600" b="1" dirty="0">
                <a:solidFill>
                  <a:schemeClr val="tx2"/>
                </a:solidFill>
                <a:sym typeface="+mn-lt"/>
              </a:rPr>
              <a:t>Additional Charge </a:t>
            </a:r>
          </a:p>
          <a:p>
            <a:r>
              <a:rPr lang="en-US" sz="1600" b="1" dirty="0">
                <a:solidFill>
                  <a:schemeClr val="tx2"/>
                </a:solidFill>
                <a:sym typeface="+mn-lt"/>
              </a:rPr>
              <a:t>to customer</a:t>
            </a:r>
            <a:endParaRPr lang="en-GB" sz="1600" b="1" dirty="0">
              <a:solidFill>
                <a:schemeClr val="tx2"/>
              </a:solidFill>
              <a:sym typeface="+mn-lt"/>
            </a:endParaRPr>
          </a:p>
        </p:txBody>
      </p:sp>
      <p:sp>
        <p:nvSpPr>
          <p:cNvPr id="156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7381875" y="5287963"/>
            <a:ext cx="795338" cy="244475"/>
          </a:xfrm>
          <a:prstGeom prst="rect">
            <a:avLst/>
          </a:prstGeom>
          <a:solidFill>
            <a:schemeClr val="accent1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 altLang="en-US" sz="1600" dirty="0">
                <a:sym typeface="+mn-lt"/>
              </a:rPr>
              <a:t>100-125</a:t>
            </a:r>
            <a:endParaRPr lang="en-GB" sz="1600" dirty="0">
              <a:sym typeface="+mn-lt"/>
            </a:endParaRPr>
          </a:p>
        </p:txBody>
      </p:sp>
      <p:sp>
        <p:nvSpPr>
          <p:cNvPr id="154" name="Text Placeholder 2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5419725" y="5287963"/>
            <a:ext cx="155733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770533B-8CBB-4832-B4ED-1D1C86DE922C}" type="datetime'''''C''u''''s''t''''o''m''e''''r ''''''''''S''a''''''ving'''">
              <a:rPr lang="en-GB" altLang="en-US" sz="1600" smtClean="0">
                <a:sym typeface="+mn-lt"/>
              </a:rPr>
              <a:pPr/>
              <a:t>Customer Saving</a:t>
            </a:fld>
            <a:endParaRPr lang="en-GB" sz="160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61660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/>
        </p:nvSpPr>
        <p:spPr>
          <a:xfrm>
            <a:off x="3661968" y="2021731"/>
            <a:ext cx="1568793" cy="341156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400" dirty="0" err="1">
              <a:solidFill>
                <a:srgbClr val="0065BD"/>
              </a:solidFill>
              <a:latin typeface="Arial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6526147" y="2021731"/>
            <a:ext cx="1568793" cy="341156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400" dirty="0" err="1">
              <a:solidFill>
                <a:srgbClr val="0065BD"/>
              </a:solidFill>
              <a:latin typeface="Arial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3661968" y="3651813"/>
            <a:ext cx="1568793" cy="341156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400" dirty="0" err="1">
              <a:solidFill>
                <a:srgbClr val="0065BD"/>
              </a:solidFill>
              <a:latin typeface="Arial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6526147" y="3651813"/>
            <a:ext cx="2641800" cy="341156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400" dirty="0" err="1">
              <a:solidFill>
                <a:srgbClr val="0065BD"/>
              </a:solidFill>
              <a:latin typeface="Arial"/>
            </a:endParaRPr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1877529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55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/>
          <p:cNvSpPr/>
          <p:nvPr>
            <p:custDataLst>
              <p:tags r:id="rId3"/>
            </p:custDataLst>
          </p:nvPr>
        </p:nvSpPr>
        <p:spPr bwMode="auto"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8" name="Title 1"/>
          <p:cNvSpPr>
            <a:spLocks noGrp="1"/>
          </p:cNvSpPr>
          <p:nvPr>
            <p:ph type="title"/>
          </p:nvPr>
        </p:nvSpPr>
        <p:spPr bwMode="gray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For more details, please reach out to…</a:t>
            </a:r>
            <a:endParaRPr lang="en-GB" dirty="0"/>
          </a:p>
        </p:txBody>
      </p:sp>
      <p:grpSp>
        <p:nvGrpSpPr>
          <p:cNvPr id="12" name="Group 11"/>
          <p:cNvGrpSpPr/>
          <p:nvPr/>
        </p:nvGrpSpPr>
        <p:grpSpPr>
          <a:xfrm>
            <a:off x="2484960" y="1859789"/>
            <a:ext cx="6839488" cy="3387501"/>
            <a:chOff x="2638813" y="1823926"/>
            <a:chExt cx="6839488" cy="3387501"/>
          </a:xfrm>
        </p:grpSpPr>
        <p:sp>
          <p:nvSpPr>
            <p:cNvPr id="83" name="Rectangle 82">
              <a:extLst>
                <a:ext uri="{FF2B5EF4-FFF2-40B4-BE49-F238E27FC236}">
                  <a16:creationId xmlns="" xmlns:a16="http://schemas.microsoft.com/office/drawing/2014/main" id="{2FAF9F10-61BF-49A7-8737-3D4240C3FE82}"/>
                </a:ext>
              </a:extLst>
            </p:cNvPr>
            <p:cNvSpPr/>
            <p:nvPr/>
          </p:nvSpPr>
          <p:spPr>
            <a:xfrm>
              <a:off x="2638813" y="1823926"/>
              <a:ext cx="6839488" cy="3387501"/>
            </a:xfrm>
            <a:prstGeom prst="rect">
              <a:avLst/>
            </a:prstGeom>
            <a:noFill/>
            <a:ln w="19050" cap="flat" cmpd="sng" algn="ctr">
              <a:solidFill>
                <a:schemeClr val="accent4"/>
              </a:solidFill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dirty="0">
                <a:solidFill>
                  <a:schemeClr val="tx1"/>
                </a:solidFill>
              </a:endParaRPr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2778973" y="1988795"/>
              <a:ext cx="6559168" cy="3038100"/>
              <a:chOff x="2778973" y="1640727"/>
              <a:chExt cx="6559168" cy="3038100"/>
            </a:xfrm>
          </p:grpSpPr>
          <p:sp>
            <p:nvSpPr>
              <p:cNvPr id="5" name="TextBox 4">
                <a:extLst>
                  <a:ext uri="{FF2B5EF4-FFF2-40B4-BE49-F238E27FC236}">
                    <a16:creationId xmlns="" xmlns:a16="http://schemas.microsoft.com/office/drawing/2014/main" id="{42B3E2DE-8E87-43E9-94EC-65EE8C2EBA1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941428" y="1998619"/>
                <a:ext cx="1557672" cy="55399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lang="x-none"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x-none"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x-none"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x-none"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9pPr>
              </a:lstStyle>
              <a:p>
                <a:r>
                  <a:rPr lang="en-US" sz="1800" dirty="0"/>
                  <a:t>Partner</a:t>
                </a:r>
              </a:p>
              <a:p>
                <a:r>
                  <a:rPr lang="en-US" sz="1800" dirty="0"/>
                  <a:t>Delhi</a:t>
                </a:r>
              </a:p>
            </p:txBody>
          </p:sp>
          <p:grpSp>
            <p:nvGrpSpPr>
              <p:cNvPr id="8" name="Group 7"/>
              <p:cNvGrpSpPr/>
              <p:nvPr/>
            </p:nvGrpSpPr>
            <p:grpSpPr>
              <a:xfrm>
                <a:off x="2800282" y="1640727"/>
                <a:ext cx="2698818" cy="1378645"/>
                <a:chOff x="2800282" y="1640727"/>
                <a:chExt cx="2698818" cy="1378645"/>
              </a:xfrm>
            </p:grpSpPr>
            <p:pic>
              <p:nvPicPr>
                <p:cNvPr id="3" name="Picture 2">
                  <a:extLst>
                    <a:ext uri="{FF2B5EF4-FFF2-40B4-BE49-F238E27FC236}">
                      <a16:creationId xmlns="" xmlns:a16="http://schemas.microsoft.com/office/drawing/2014/main" id="{FAFF06F7-0650-4B52-98EE-DD6A22DA097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800282" y="1640727"/>
                  <a:ext cx="1033984" cy="1378645"/>
                </a:xfrm>
                <a:prstGeom prst="rect">
                  <a:avLst/>
                </a:prstGeom>
              </p:spPr>
            </p:pic>
            <p:sp>
              <p:nvSpPr>
                <p:cNvPr id="57" name="TextBox 56">
                  <a:extLst>
                    <a:ext uri="{FF2B5EF4-FFF2-40B4-BE49-F238E27FC236}">
                      <a16:creationId xmlns="" xmlns:a16="http://schemas.microsoft.com/office/drawing/2014/main" id="{9C7B45A6-B553-45F8-B479-4E202D7930AE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3941428" y="1660389"/>
                  <a:ext cx="1557672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>
                  <a:spAutoFit/>
                </a:bodyPr>
                <a:lstStyle>
                  <a:lvl1pPr marL="0" lvl="0" indent="0" defTabSz="895350" eaLnBrk="1" latinLnBrk="0" hangingPunct="1">
                    <a:buClr>
                      <a:schemeClr val="tx2"/>
                    </a:buClr>
                    <a:buSzPct val="100000"/>
                    <a:defRPr lang="x-none" sz="1400" baseline="0">
                      <a:latin typeface="+mn-lt"/>
                    </a:defRPr>
                  </a:lvl1pPr>
                  <a:lvl2pPr marL="193675" lvl="1" indent="-192088" defTabSz="895350" eaLnBrk="1" latinLnBrk="0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lang="x-none" sz="1400" baseline="0">
                      <a:latin typeface="+mn-lt"/>
                    </a:defRPr>
                  </a:lvl2pPr>
                  <a:lvl3pPr marL="457200" lvl="2" indent="-261938" defTabSz="895350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lang="x-none" sz="1400" baseline="0">
                      <a:latin typeface="+mn-lt"/>
                    </a:defRPr>
                  </a:lvl3pPr>
                  <a:lvl4pPr marL="614363" lvl="3" indent="-155575" defTabSz="895350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lang="x-none" sz="1400" baseline="0">
                      <a:latin typeface="+mn-lt"/>
                    </a:defRPr>
                  </a:lvl4pPr>
                  <a:lvl5pPr marL="749808" lvl="4" indent="-130175" defTabSz="895350" eaLnBrk="1" latinLnBrk="0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sz="1400" baseline="0">
                      <a:latin typeface="+mn-lt"/>
                    </a:defRPr>
                  </a:lvl5pPr>
                  <a:lvl6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baseline="0">
                      <a:latin typeface="+mn-lt"/>
                    </a:defRPr>
                  </a:lvl6pPr>
                  <a:lvl7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baseline="0">
                      <a:latin typeface="+mn-lt"/>
                    </a:defRPr>
                  </a:lvl7pPr>
                  <a:lvl8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baseline="0">
                      <a:latin typeface="+mn-lt"/>
                    </a:defRPr>
                  </a:lvl8pPr>
                  <a:lvl9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baseline="0">
                      <a:latin typeface="+mn-lt"/>
                    </a:defRPr>
                  </a:lvl9pPr>
                </a:lstStyle>
                <a:p>
                  <a:r>
                    <a:rPr lang="en-US" sz="1800" b="1" dirty="0">
                      <a:solidFill>
                        <a:schemeClr val="bg1"/>
                      </a:solidFill>
                      <a:cs typeface="Dubai Medium" panose="020B0604020202020204" pitchFamily="34" charset="-78"/>
                    </a:rPr>
                    <a:t>Ankit Gupta</a:t>
                  </a:r>
                </a:p>
              </p:txBody>
            </p:sp>
          </p:grpSp>
          <p:sp>
            <p:nvSpPr>
              <p:cNvPr id="78" name="TextBox 77">
                <a:extLst>
                  <a:ext uri="{FF2B5EF4-FFF2-40B4-BE49-F238E27FC236}">
                    <a16:creationId xmlns="" xmlns:a16="http://schemas.microsoft.com/office/drawing/2014/main" id="{8AB9514B-0BD8-46A2-A360-4E7EC1B07EF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941428" y="3629527"/>
                <a:ext cx="1557672" cy="55399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lang="x-none"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x-none"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x-none"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x-none"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9pPr>
              </a:lstStyle>
              <a:p>
                <a:r>
                  <a:rPr lang="en-US" sz="1800" dirty="0"/>
                  <a:t>Expert</a:t>
                </a:r>
              </a:p>
              <a:p>
                <a:r>
                  <a:rPr lang="en-US" sz="1800" dirty="0"/>
                  <a:t>Gurgaon</a:t>
                </a:r>
              </a:p>
            </p:txBody>
          </p:sp>
          <p:sp>
            <p:nvSpPr>
              <p:cNvPr id="79" name="TextBox 78">
                <a:extLst>
                  <a:ext uri="{FF2B5EF4-FFF2-40B4-BE49-F238E27FC236}">
                    <a16:creationId xmlns="" xmlns:a16="http://schemas.microsoft.com/office/drawing/2014/main" id="{A18EBB69-6BC4-4C16-B4D0-1742A78A20D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941428" y="3300178"/>
                <a:ext cx="1557672" cy="2769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lang="x-none"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x-none"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x-none"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x-none"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9pPr>
              </a:lstStyle>
              <a:p>
                <a:r>
                  <a:rPr lang="en-US" sz="1800" b="1" dirty="0">
                    <a:solidFill>
                      <a:schemeClr val="bg1"/>
                    </a:solidFill>
                    <a:cs typeface="Dubai Medium" panose="020B0604020202020204" pitchFamily="34" charset="-78"/>
                  </a:rPr>
                  <a:t>Rohan Gadi</a:t>
                </a:r>
              </a:p>
            </p:txBody>
          </p:sp>
          <p:pic>
            <p:nvPicPr>
              <p:cNvPr id="9" name="Picture 8">
                <a:extLst>
                  <a:ext uri="{FF2B5EF4-FFF2-40B4-BE49-F238E27FC236}">
                    <a16:creationId xmlns="" xmlns:a16="http://schemas.microsoft.com/office/drawing/2014/main" id="{E98BD23D-9B2A-4650-A997-399CD62FBDF6}"/>
                  </a:ext>
                </a:extLst>
              </p:cNvPr>
              <p:cNvPicPr>
                <a:picLocks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501" t="2501" r="2501" b="2501"/>
              <a:stretch/>
            </p:blipFill>
            <p:spPr>
              <a:xfrm>
                <a:off x="2800282" y="3270684"/>
                <a:ext cx="1033984" cy="1378645"/>
              </a:xfrm>
              <a:prstGeom prst="rect">
                <a:avLst/>
              </a:prstGeom>
            </p:spPr>
          </p:pic>
          <p:sp>
            <p:nvSpPr>
              <p:cNvPr id="75" name="TextBox 74">
                <a:extLst>
                  <a:ext uri="{FF2B5EF4-FFF2-40B4-BE49-F238E27FC236}">
                    <a16:creationId xmlns="" xmlns:a16="http://schemas.microsoft.com/office/drawing/2014/main" id="{806C5D61-C040-4239-BB40-4BA51A31B39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925930" y="1998619"/>
                <a:ext cx="2395870" cy="55399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lang="x-none"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x-none"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x-none"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x-none"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9pPr>
              </a:lstStyle>
              <a:p>
                <a:r>
                  <a:rPr lang="en-US" sz="1800" dirty="0"/>
                  <a:t>Engagement manager</a:t>
                </a:r>
              </a:p>
              <a:p>
                <a:r>
                  <a:rPr lang="en-US" sz="1800" dirty="0"/>
                  <a:t>Delhi</a:t>
                </a:r>
              </a:p>
            </p:txBody>
          </p:sp>
          <p:sp>
            <p:nvSpPr>
              <p:cNvPr id="76" name="TextBox 75">
                <a:extLst>
                  <a:ext uri="{FF2B5EF4-FFF2-40B4-BE49-F238E27FC236}">
                    <a16:creationId xmlns="" xmlns:a16="http://schemas.microsoft.com/office/drawing/2014/main" id="{27C10512-9E49-414E-90C8-0443E540775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925930" y="1660391"/>
                <a:ext cx="2395870" cy="2769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lang="x-none"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x-none"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x-none"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x-none"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9pPr>
              </a:lstStyle>
              <a:p>
                <a:r>
                  <a:rPr lang="en-US" sz="1800" b="1" dirty="0">
                    <a:solidFill>
                      <a:schemeClr val="bg1"/>
                    </a:solidFill>
                    <a:cs typeface="Dubai Medium" panose="020B0604020202020204" pitchFamily="34" charset="-78"/>
                  </a:rPr>
                  <a:t>Akhil Ravi</a:t>
                </a:r>
              </a:p>
            </p:txBody>
          </p:sp>
          <p:pic>
            <p:nvPicPr>
              <p:cNvPr id="7" name="Picture 6">
                <a:extLst>
                  <a:ext uri="{FF2B5EF4-FFF2-40B4-BE49-F238E27FC236}">
                    <a16:creationId xmlns="" xmlns:a16="http://schemas.microsoft.com/office/drawing/2014/main" id="{A0294806-D04C-4E83-A7C1-96E0672873F9}"/>
                  </a:ext>
                </a:extLst>
              </p:cNvPr>
              <p:cNvPicPr>
                <a:picLocks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50313" y="1640729"/>
                <a:ext cx="1033984" cy="1378645"/>
              </a:xfrm>
              <a:prstGeom prst="rect">
                <a:avLst/>
              </a:prstGeom>
            </p:spPr>
          </p:pic>
          <p:sp>
            <p:nvSpPr>
              <p:cNvPr id="80" name="TextBox 79">
                <a:extLst>
                  <a:ext uri="{FF2B5EF4-FFF2-40B4-BE49-F238E27FC236}">
                    <a16:creationId xmlns="" xmlns:a16="http://schemas.microsoft.com/office/drawing/2014/main" id="{CC966E8D-433D-41A0-B4ED-6F818393A8C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925930" y="3629529"/>
                <a:ext cx="2395870" cy="55399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lang="x-none"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x-none"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x-none"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x-none"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9pPr>
              </a:lstStyle>
              <a:p>
                <a:r>
                  <a:rPr lang="en-US" sz="1800" dirty="0"/>
                  <a:t>Engagement manager</a:t>
                </a:r>
              </a:p>
              <a:p>
                <a:r>
                  <a:rPr lang="en-US" sz="1800" dirty="0"/>
                  <a:t>Chennai</a:t>
                </a:r>
              </a:p>
            </p:txBody>
          </p:sp>
          <p:sp>
            <p:nvSpPr>
              <p:cNvPr id="81" name="TextBox 80">
                <a:extLst>
                  <a:ext uri="{FF2B5EF4-FFF2-40B4-BE49-F238E27FC236}">
                    <a16:creationId xmlns="" xmlns:a16="http://schemas.microsoft.com/office/drawing/2014/main" id="{C718B2F1-99DC-4DB4-857E-37BF6D82CD7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925930" y="3300182"/>
                <a:ext cx="2395870" cy="2769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lang="x-none"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x-none"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x-none"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x-none"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baseline="0">
                    <a:latin typeface="+mn-lt"/>
                  </a:defRPr>
                </a:lvl9pPr>
              </a:lstStyle>
              <a:p>
                <a:r>
                  <a:rPr lang="en-US" sz="1800" b="1" dirty="0">
                    <a:solidFill>
                      <a:schemeClr val="bg1"/>
                    </a:solidFill>
                    <a:cs typeface="Dubai Medium" panose="020B0604020202020204" pitchFamily="34" charset="-78"/>
                  </a:rPr>
                  <a:t>Praveen Arivazhagan</a:t>
                </a:r>
              </a:p>
            </p:txBody>
          </p:sp>
          <p:pic>
            <p:nvPicPr>
              <p:cNvPr id="11" name="Picture 10">
                <a:extLst>
                  <a:ext uri="{FF2B5EF4-FFF2-40B4-BE49-F238E27FC236}">
                    <a16:creationId xmlns="" xmlns:a16="http://schemas.microsoft.com/office/drawing/2014/main" id="{C338B0A8-D96D-46A3-9085-F24780793731}"/>
                  </a:ext>
                </a:extLst>
              </p:cNvPr>
              <p:cNvPicPr>
                <a:picLocks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50313" y="3270686"/>
                <a:ext cx="1033984" cy="1378645"/>
              </a:xfrm>
              <a:prstGeom prst="rect">
                <a:avLst/>
              </a:prstGeom>
            </p:spPr>
          </p:pic>
          <p:cxnSp>
            <p:nvCxnSpPr>
              <p:cNvPr id="4" name="Straight Connector 3"/>
              <p:cNvCxnSpPr>
                <a:cxnSpLocks/>
              </p:cNvCxnSpPr>
              <p:nvPr/>
            </p:nvCxnSpPr>
            <p:spPr>
              <a:xfrm>
                <a:off x="5624707" y="1660391"/>
                <a:ext cx="0" cy="3018436"/>
              </a:xfrm>
              <a:prstGeom prst="line">
                <a:avLst/>
              </a:prstGeom>
              <a:ln>
                <a:solidFill>
                  <a:schemeClr val="accent6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/>
              <p:cNvCxnSpPr>
                <a:cxnSpLocks/>
              </p:cNvCxnSpPr>
              <p:nvPr/>
            </p:nvCxnSpPr>
            <p:spPr>
              <a:xfrm rot="16200000">
                <a:off x="6058557" y="-109974"/>
                <a:ext cx="0" cy="6559168"/>
              </a:xfrm>
              <a:prstGeom prst="line">
                <a:avLst/>
              </a:prstGeom>
              <a:ln>
                <a:solidFill>
                  <a:schemeClr val="accent6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349713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14"/>
  <p:tag name="ISNEWSLIDENUMBER" val="True"/>
  <p:tag name="NEWNAMES" val="True"/>
  <p:tag name="THINKCELLPRESENTATIONDONOTDELETE" val="&lt;?xml version=&quot;1.0&quot; encoding=&quot;UTF-16&quot; standalone=&quot;yes&quot;?&gt;&lt;root reqver=&quot;23045&quot;&gt;&lt;version val=&quot;251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9&quot;&gt;&lt;elem m_fUsage=&quot;1.89116192293290019677E+00&quot;&gt;&lt;m_msothmcolidx val=&quot;0&quot;/&gt;&lt;m_rgb r=&quot;8A&quot; g=&quot;A2&quot; b=&quot;FF&quot;/&gt;&lt;m_nBrightness val=&quot;0&quot;/&gt;&lt;/elem&gt;&lt;elem m_fUsage=&quot;1.65610000000000012754E+00&quot;&gt;&lt;m_msothmcolidx val=&quot;0&quot;/&gt;&lt;m_rgb r=&quot;FF&quot; g=&quot;7D&quot; b=&quot;87&quot;/&gt;&lt;m_nBrightness val=&quot;0&quot;/&gt;&lt;/elem&gt;&lt;elem m_fUsage=&quot;1.36535834209464912448E+00&quot;&gt;&lt;m_msothmcolidx val=&quot;0&quot;/&gt;&lt;m_rgb r=&quot;FB&quot; g=&quot;ED&quot; b=&quot;8E&quot;/&gt;&lt;m_nBrightness val=&quot;0&quot;/&gt;&lt;/elem&gt;&lt;elem m_fUsage=&quot;1.01809753738366515208E+00&quot;&gt;&lt;m_msothmcolidx val=&quot;0&quot;/&gt;&lt;m_rgb r=&quot;F2&quot; g=&quot;7F&quot; b=&quot;00&quot;/&gt;&lt;m_nBrightness val=&quot;0&quot;/&gt;&lt;/elem&gt;&lt;elem m_fUsage=&quot;9.00000000000000022204E-01&quot;&gt;&lt;m_msothmcolidx val=&quot;0&quot;/&gt;&lt;m_rgb r=&quot;9D&quot; g=&quot;EA&quot; b=&quot;99&quot;/&gt;&lt;m_nBrightness val=&quot;0&quot;/&gt;&lt;/elem&gt;&lt;elem m_fUsage=&quot;8.15220109103545254037E-01&quot;&gt;&lt;m_msothmcolidx val=&quot;0&quot;/&gt;&lt;m_rgb r=&quot;A3&quot; g=&quot;B3&quot; b=&quot;00&quot;/&gt;&lt;m_nBrightness val=&quot;0&quot;/&gt;&lt;/elem&gt;&lt;elem m_fUsage=&quot;6.99908989131512560000E-01&quot;&gt;&lt;m_msothmcolidx val=&quot;0&quot;/&gt;&lt;m_rgb r=&quot;CD&quot; g=&quot;20&quot; b=&quot;2C&quot;/&gt;&lt;m_nBrightness val=&quot;0&quot;/&gt;&lt;/elem&gt;&lt;elem m_fUsage=&quot;5.11197461030610145194E-01&quot;&gt;&lt;m_msothmcolidx val=&quot;0&quot;/&gt;&lt;m_rgb r=&quot;FF&quot; g=&quot;B0&quot; b=&quot;8A&quot;/&gt;&lt;m_nBrightness val=&quot;0&quot;/&gt;&lt;/elem&gt;&lt;elem m_fUsage=&quot;3.45291207554393686507E-01&quot;&gt;&lt;m_msothmcolidx val=&quot;0&quot;/&gt;&lt;m_rgb r=&quot;66&quot; g=&quot;66&quot; b=&quot;66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MTBTACCENT" val="Accent4"/>
  <p:tag name="THINKCELLUNDODONOTDELETE" val="0"/>
  <p:tag name="PREVIOUSNAME" val="C:\Users\Krishnakumar Thangar\Desktop\26-Nov-2018\1810-1110744\B series\BAS004_Growth based RTS approach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GEjKkMi06raK0hzMtEyA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TmF9meOU68hE1c_ymCdA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48"/>
  <p:tag name="2LEVEL" val="0.24"/>
  <p:tag name="3LEVEL" val="0.12"/>
  <p:tag name="4LEVEL" val="0.06"/>
  <p:tag name="5LEVEL" val="0.03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48"/>
  <p:tag name="2LEVEL" val="0.24"/>
  <p:tag name="3LEVEL" val="0.12"/>
  <p:tag name="4LEVEL" val="0.06"/>
  <p:tag name="5LEVEL" val="0.03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e32Sw2Rc6J_7sgyfaqnw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i5KCF1Q92ZKDqD0lbHaA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VU8E.ukE.bIALVgMxzVA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rYDChKNU2zdQQT6nHM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.6OR7gmfUm9tkouLjn.Sg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VU8E.ukE.bIALVgMxzVA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rYDChKNU2zdQQT6nHMaw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.6OR7gmfUm9tkouLjn.Sg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VU8E.ukE.bIALVgMxzVA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rYDChKNU2zdQQT6nHMaw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.6OR7gmfUm9tkouLjn.Sg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VU8E.ukE.bIALVgMxzVA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rYDChKNU2zdQQT6nHMaw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.6OR7gmfUm9tkouLjn.S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VU8E.ukE.bIALVgMxzVA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rYDChKNU2zdQQT6nHMaw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.6OR7gmfUm9tkouLjn.Sg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nV734dQA2kW6xpdeZIug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GlDbwOSYaxcPFWo0WXOw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ssBWkoQta0RwXVcl.8eQ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JxNvdOQHaQSChKB1lXfw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TvM8B2SwK9LuTaGxgKJ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BToh53Qruqq5gMsGQHUw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RUkcgqSvSyO82V9MzKoA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MgEMNITXuiZKW9GLGxxg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85yrmIQTm2mRMp7qCumQ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WvndgRTemmv3d7AJAPkw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8Vh.NKQU69I5DJ3mOP.g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Se8jxuSBWTvilEkzBgUw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yU7HjzTc.6yNN0GRNiyA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4Gq38GTw.vTC2DSorlXg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wQSPiwTWqBmsTRdcQJi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tvaXwnTSi1rt2P50M3jA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mYdLtxSeuvrluLXKGL8Q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Mut_i5QsyhHqULwujriQ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qLKZqOTLqu9el9.Xs_NA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oCmTk_TdqWe9Se.CoLvg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rg6nG1QF.YITjls0XN5Q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9gWhprTQublFCnWxkxJw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uzHJSGQDuTqtE7myEg0g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.9pXDr8RK2IDJEERi83Dw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6myH88TPqa3OSgu9MTb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FnZFcXQPK8nlrJ.6LXig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R3tmS.QtyJ1H_X5I6j5A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erMd_NTaaxTJ9sNxzT6A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QBfneVQW21mTuzPSussg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idZWAZSR2Ag9_thNT7kw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0fJpYyRZ.zOUmX1_JavQ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W_SLRkQqaN_f8LVw62WA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IBkjRAShyy9gMMnJtvVA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BWBu9ZQ.uTiANWzJN_Uw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4rT1zpSbCyY.nNE8WRa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1OWIc2QNSIevHqovSX4g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ZWn2vASwaOtZ00ZEalIA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GlDbwOSYaxcPFWo0WXO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heme/theme1.xml><?xml version="1.0" encoding="utf-8"?>
<a:theme xmlns:a="http://schemas.openxmlformats.org/drawingml/2006/main" name="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0.xml><?xml version="1.0" encoding="utf-8"?>
<a:theme xmlns:a="http://schemas.openxmlformats.org/drawingml/2006/main" name="9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1.xml><?xml version="1.0" encoding="utf-8"?>
<a:theme xmlns:a="http://schemas.openxmlformats.org/drawingml/2006/main" name="10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2.xml><?xml version="1.0" encoding="utf-8"?>
<a:theme xmlns:a="http://schemas.openxmlformats.org/drawingml/2006/main" name="1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3.xml><?xml version="1.0" encoding="utf-8"?>
<a:theme xmlns:a="http://schemas.openxmlformats.org/drawingml/2006/main" name="1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4.xml><?xml version="1.0" encoding="utf-8"?>
<a:theme xmlns:a="http://schemas.openxmlformats.org/drawingml/2006/main" name="1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5.xml><?xml version="1.0" encoding="utf-8"?>
<a:theme xmlns:a="http://schemas.openxmlformats.org/drawingml/2006/main" name="1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6.xml><?xml version="1.0" encoding="utf-8"?>
<a:theme xmlns:a="http://schemas.openxmlformats.org/drawingml/2006/main" name="1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7.xml><?xml version="1.0" encoding="utf-8"?>
<a:theme xmlns:a="http://schemas.openxmlformats.org/drawingml/2006/main" name="1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8.xml><?xml version="1.0" encoding="utf-8"?>
<a:theme xmlns:a="http://schemas.openxmlformats.org/drawingml/2006/main" name="1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9.xml><?xml version="1.0" encoding="utf-8"?>
<a:theme xmlns:a="http://schemas.openxmlformats.org/drawingml/2006/main" name="18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.xml><?xml version="1.0" encoding="utf-8"?>
<a:theme xmlns:a="http://schemas.openxmlformats.org/drawingml/2006/main" name="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0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21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2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8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4.xml><?xml version="1.0" encoding="utf-8"?>
<a:theme xmlns:a="http://schemas.openxmlformats.org/drawingml/2006/main" name="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5.xml><?xml version="1.0" encoding="utf-8"?>
<a:theme xmlns:a="http://schemas.openxmlformats.org/drawingml/2006/main" name="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6.xml><?xml version="1.0" encoding="utf-8"?>
<a:theme xmlns:a="http://schemas.openxmlformats.org/drawingml/2006/main" name="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7.xml><?xml version="1.0" encoding="utf-8"?>
<a:theme xmlns:a="http://schemas.openxmlformats.org/drawingml/2006/main" name="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8.xml><?xml version="1.0" encoding="utf-8"?>
<a:theme xmlns:a="http://schemas.openxmlformats.org/drawingml/2006/main" name="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9.xml><?xml version="1.0" encoding="utf-8"?>
<a:theme xmlns:a="http://schemas.openxmlformats.org/drawingml/2006/main" name="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809</Words>
  <Application>Microsoft Macintosh PowerPoint</Application>
  <PresentationFormat>Custom</PresentationFormat>
  <Paragraphs>134</Paragraphs>
  <Slides>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34" baseType="lpstr">
      <vt:lpstr>Arial</vt:lpstr>
      <vt:lpstr>Arial Unicode MS</vt:lpstr>
      <vt:lpstr>Dubai Medium</vt:lpstr>
      <vt:lpstr>Georgia</vt:lpstr>
      <vt:lpstr>MS PGothic</vt:lpstr>
      <vt:lpstr>Times New Roman</vt:lpstr>
      <vt:lpstr>Firm Format - template_Blue</vt:lpstr>
      <vt:lpstr>1_Firm Format - template_Blue</vt:lpstr>
      <vt:lpstr>8_Firm Format - template_Blue</vt:lpstr>
      <vt:lpstr>2_Firm Format - template_Blue</vt:lpstr>
      <vt:lpstr>3_Firm Format - template_Blue</vt:lpstr>
      <vt:lpstr>4_Firm Format - template_Blue</vt:lpstr>
      <vt:lpstr>5_Firm Format - template_Blue</vt:lpstr>
      <vt:lpstr>6_Firm Format - template_Blue</vt:lpstr>
      <vt:lpstr>7_Firm Format - template_Blue</vt:lpstr>
      <vt:lpstr>9_Firm Format - template_Blue</vt:lpstr>
      <vt:lpstr>10_Firm Format - template_Blue</vt:lpstr>
      <vt:lpstr>11_Firm Format - template_Blue</vt:lpstr>
      <vt:lpstr>12_Firm Format - template_Blue</vt:lpstr>
      <vt:lpstr>13_Firm Format - template_Blue</vt:lpstr>
      <vt:lpstr>14_Firm Format - template_Blue</vt:lpstr>
      <vt:lpstr>15_Firm Format - template_Blue</vt:lpstr>
      <vt:lpstr>16_Firm Format - template_Blue</vt:lpstr>
      <vt:lpstr>17_Firm Format - template_Blue</vt:lpstr>
      <vt:lpstr>18_Firm Format - template_Blue</vt:lpstr>
      <vt:lpstr>M&amp;S Theme</vt:lpstr>
      <vt:lpstr>Firm Format - template_Grey</vt:lpstr>
      <vt:lpstr>think-cell Slide</vt:lpstr>
      <vt:lpstr>Growth based RTS approach</vt:lpstr>
      <vt:lpstr>Tailored RTS recipe: TO architecture and Academy approach combined to accelerate timelines for impact</vt:lpstr>
      <vt:lpstr>Sales playbook : Five key pillars defined and executed upon to  deliver commercial and technical excellence to customers</vt:lpstr>
      <vt:lpstr>Vertical sales teams: VIP approach institutionalized for key accounts</vt:lpstr>
      <vt:lpstr>Value selling illustrated through Vertical sales teams</vt:lpstr>
      <vt:lpstr>For more details, please reach out to…</vt:lpstr>
    </vt:vector>
  </TitlesOfParts>
  <Manager/>
  <Company/>
  <LinksUpToDate>false</LinksUpToDate>
  <SharedDoc>false</SharedDoc>
  <HyperlinkBase/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18-01-23T08:17:27Z</dcterms:created>
  <dcterms:modified xsi:type="dcterms:W3CDTF">2019-05-01T18:33:32Z</dcterms:modified>
  <cp:category/>
  <cp:contentStatus/>
  <dc:language/>
  <cp:version/>
</cp:coreProperties>
</file>